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5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6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7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8.xml" ContentType="application/vnd.openxmlformats-officedocument.presentationml.notesSl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829" r:id="rId4"/>
  </p:sldMasterIdLst>
  <p:notesMasterIdLst>
    <p:notesMasterId r:id="rId29"/>
  </p:notesMasterIdLst>
  <p:handoutMasterIdLst>
    <p:handoutMasterId r:id="rId30"/>
  </p:handoutMasterIdLst>
  <p:sldIdLst>
    <p:sldId id="2147473451" r:id="rId5"/>
    <p:sldId id="2147473452" r:id="rId6"/>
    <p:sldId id="2147473453" r:id="rId7"/>
    <p:sldId id="2147473480" r:id="rId8"/>
    <p:sldId id="2147473476" r:id="rId9"/>
    <p:sldId id="2147473477" r:id="rId10"/>
    <p:sldId id="2147473460" r:id="rId11"/>
    <p:sldId id="2147473478" r:id="rId12"/>
    <p:sldId id="2147473493" r:id="rId13"/>
    <p:sldId id="2147473462" r:id="rId14"/>
    <p:sldId id="2147473494" r:id="rId15"/>
    <p:sldId id="2147473463" r:id="rId16"/>
    <p:sldId id="2147473466" r:id="rId17"/>
    <p:sldId id="2147473467" r:id="rId18"/>
    <p:sldId id="2147473468" r:id="rId19"/>
    <p:sldId id="2147473500" r:id="rId20"/>
    <p:sldId id="2147473483" r:id="rId21"/>
    <p:sldId id="2147473484" r:id="rId22"/>
    <p:sldId id="2147473471" r:id="rId23"/>
    <p:sldId id="2147473485" r:id="rId24"/>
    <p:sldId id="2147473498" r:id="rId25"/>
    <p:sldId id="2147473487" r:id="rId26"/>
    <p:sldId id="2147473497" r:id="rId27"/>
    <p:sldId id="2147473474" r:id="rId28"/>
  </p:sldIdLst>
  <p:sldSz cx="12192000" cy="6858000"/>
  <p:notesSz cx="12192000" cy="6858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UGUST" id="{366A2D25-FA18-47CE-B3BB-8DE4AA43A38F}">
          <p14:sldIdLst>
            <p14:sldId id="2147473451"/>
            <p14:sldId id="2147473452"/>
          </p14:sldIdLst>
        </p14:section>
        <p14:section name="OPERATIONAL OVERVIEW" id="{FB86FD95-E5E0-4844-8DC5-288AB758C908}">
          <p14:sldIdLst>
            <p14:sldId id="2147473453"/>
            <p14:sldId id="2147473480"/>
            <p14:sldId id="2147473476"/>
            <p14:sldId id="2147473477"/>
            <p14:sldId id="2147473460"/>
            <p14:sldId id="2147473478"/>
            <p14:sldId id="2147473493"/>
          </p14:sldIdLst>
        </p14:section>
        <p14:section name="FINANCIAL PERFORMANCE" id="{682E3912-57F2-49C2-B4F6-2805693C1C5F}">
          <p14:sldIdLst>
            <p14:sldId id="2147473462"/>
            <p14:sldId id="2147473494"/>
            <p14:sldId id="2147473463"/>
            <p14:sldId id="2147473466"/>
            <p14:sldId id="2147473467"/>
            <p14:sldId id="2147473468"/>
            <p14:sldId id="2147473500"/>
            <p14:sldId id="2147473483"/>
            <p14:sldId id="2147473484"/>
            <p14:sldId id="2147473471"/>
            <p14:sldId id="2147473485"/>
            <p14:sldId id="2147473498"/>
            <p14:sldId id="2147473487"/>
            <p14:sldId id="2147473497"/>
            <p14:sldId id="2147473474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userDrawn="1">
          <p15:clr>
            <a:srgbClr val="A4A3A4"/>
          </p15:clr>
        </p15:guide>
        <p15:guide id="3" pos="768" userDrawn="1">
          <p15:clr>
            <a:srgbClr val="A4A3A4"/>
          </p15:clr>
        </p15:guide>
        <p15:guide id="4" orient="horz" pos="2640" userDrawn="1">
          <p15:clr>
            <a:srgbClr val="A4A3A4"/>
          </p15:clr>
        </p15:guide>
        <p15:guide id="5" orient="horz" pos="4176" userDrawn="1">
          <p15:clr>
            <a:srgbClr val="A4A3A4"/>
          </p15:clr>
        </p15:guide>
        <p15:guide id="6" pos="39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1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2D3A"/>
    <a:srgbClr val="FFFFFF"/>
    <a:srgbClr val="7F7F7F"/>
    <a:srgbClr val="6A7F90"/>
    <a:srgbClr val="3D6C89"/>
    <a:srgbClr val="52463E"/>
    <a:srgbClr val="1F3645"/>
    <a:srgbClr val="BFBFBF"/>
    <a:srgbClr val="CAB9A7"/>
    <a:srgbClr val="7DAA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56950F-E14D-391D-6B8F-0035E63BA9D2}" v="33" dt="2024-08-29T09:48:10.177"/>
    <p1510:client id="{295E434A-B8DE-42F9-8C19-D3F310CABC01}" v="914" dt="2024-08-29T12:14:52.697"/>
    <p1510:client id="{9DD6F5EE-9774-4A03-A04A-A5A161C84222}" v="104" dt="2024-08-29T11:43:26.038"/>
    <p1510:client id="{D4722999-CA8F-EBD2-B3C4-818B5CD3C778}" v="46" dt="2024-08-29T09:40:42.32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0" d="100"/>
          <a:sy n="50" d="100"/>
        </p:scale>
        <p:origin x="931" y="29"/>
      </p:cViewPr>
      <p:guideLst>
        <p:guide orient="horz"/>
        <p:guide pos="768"/>
        <p:guide orient="horz" pos="2640"/>
        <p:guide orient="horz" pos="4176"/>
        <p:guide pos="39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RESENTATIONISTS\PROJECTS%202010%20AB\Purple%20Frog%20AB\230301%20BIHL\waterfall%202023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04230870008064"/>
          <c:y val="7.9076330981398324E-2"/>
          <c:w val="0.6536575069870818"/>
          <c:h val="0.72356174208179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Jun-24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Profit attributable to shareholders</c:v>
                </c:pt>
                <c:pt idx="1">
                  <c:v>Associates share of profit</c:v>
                </c:pt>
                <c:pt idx="2">
                  <c:v>Value of new business</c:v>
                </c:pt>
              </c:strCache>
            </c:strRef>
          </c:cat>
          <c:val>
            <c:numRef>
              <c:f>Sheet1!$B$2:$D$2</c:f>
              <c:numCache>
                <c:formatCode>#,##0</c:formatCode>
                <c:ptCount val="3"/>
                <c:pt idx="0">
                  <c:v>89</c:v>
                </c:pt>
                <c:pt idx="1">
                  <c:v>79</c:v>
                </c:pt>
                <c:pt idx="2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78-46BA-BC56-CF61E89B618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Jun-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B678-46BA-BC56-CF61E89B61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Profit attributable to shareholders</c:v>
                </c:pt>
                <c:pt idx="1">
                  <c:v>Associates share of profit</c:v>
                </c:pt>
                <c:pt idx="2">
                  <c:v>Value of new business</c:v>
                </c:pt>
              </c:strCache>
            </c:strRef>
          </c:cat>
          <c:val>
            <c:numRef>
              <c:f>Sheet1!$B$3:$D$3</c:f>
              <c:numCache>
                <c:formatCode>#,##0</c:formatCode>
                <c:ptCount val="3"/>
                <c:pt idx="0">
                  <c:v>495</c:v>
                </c:pt>
                <c:pt idx="1">
                  <c:v>129</c:v>
                </c:pt>
                <c:pt idx="2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78-46BA-BC56-CF61E89B61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7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lnSpc>
                <a:spcPct val="90000"/>
              </a:lnSpc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1907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937556966242823"/>
          <c:y val="0.94487845529892467"/>
          <c:w val="0.65905510437398829"/>
          <c:h val="5.512154470107529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633654241363322E-2"/>
          <c:y val="0.15374716444695374"/>
          <c:w val="0.82877257717385544"/>
          <c:h val="0.57162571707985921"/>
        </c:manualLayout>
      </c:layout>
      <c:lineChart>
        <c:grouping val="standard"/>
        <c:varyColors val="0"/>
        <c:ser>
          <c:idx val="3"/>
          <c:order val="0"/>
          <c:tx>
            <c:strRef>
              <c:f>Sheet1!$E$1</c:f>
              <c:strCache>
                <c:ptCount val="1"/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Jun 2020</c:v>
                </c:pt>
                <c:pt idx="1">
                  <c:v>Jun 2021</c:v>
                </c:pt>
                <c:pt idx="2">
                  <c:v>Jun 2022</c:v>
                </c:pt>
                <c:pt idx="3">
                  <c:v>Jun 2023</c:v>
                </c:pt>
                <c:pt idx="4">
                  <c:v>Jun 2024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059-45B3-91BF-E9DD89905737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Jun 2020</c:v>
                </c:pt>
                <c:pt idx="1">
                  <c:v>Jun 2021</c:v>
                </c:pt>
                <c:pt idx="2">
                  <c:v>Jun 2022</c:v>
                </c:pt>
                <c:pt idx="3">
                  <c:v>Jun 2023</c:v>
                </c:pt>
                <c:pt idx="4">
                  <c:v>Jun 202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59-45B3-91BF-E9DD89905737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Jun 2020</c:v>
                </c:pt>
                <c:pt idx="1">
                  <c:v>Jun 2021</c:v>
                </c:pt>
                <c:pt idx="2">
                  <c:v>Jun 2022</c:v>
                </c:pt>
                <c:pt idx="3">
                  <c:v>Jun 2023</c:v>
                </c:pt>
                <c:pt idx="4">
                  <c:v>Jun 202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059-45B3-91BF-E9DD89905737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Total Dividend</c:v>
                </c:pt>
              </c:strCache>
            </c:strRef>
          </c:tx>
          <c:spPr>
            <a:ln w="50800" cap="rnd">
              <a:solidFill>
                <a:schemeClr val="tx2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spPr>
              <a:ln w="50800" cap="rnd">
                <a:solidFill>
                  <a:schemeClr val="tx2"/>
                </a:solidFill>
                <a:rou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A059-45B3-91BF-E9DD89905737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-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676D-4807-B2DB-93FB7933DC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Jun 2020</c:v>
                </c:pt>
                <c:pt idx="1">
                  <c:v>Jun 2021</c:v>
                </c:pt>
                <c:pt idx="2">
                  <c:v>Jun 2022</c:v>
                </c:pt>
                <c:pt idx="3">
                  <c:v>Jun 2023</c:v>
                </c:pt>
                <c:pt idx="4">
                  <c:v>Jun 2024</c:v>
                </c:pt>
              </c:strCache>
            </c:strRef>
          </c:cat>
          <c:val>
            <c:numRef>
              <c:f>Sheet1!$B$2:$B$6</c:f>
              <c:numCache>
                <c:formatCode>#,##0</c:formatCode>
                <c:ptCount val="5"/>
                <c:pt idx="0">
                  <c:v>57</c:v>
                </c:pt>
                <c:pt idx="1">
                  <c:v>0</c:v>
                </c:pt>
                <c:pt idx="2">
                  <c:v>65</c:v>
                </c:pt>
                <c:pt idx="3">
                  <c:v>70</c:v>
                </c:pt>
                <c:pt idx="4">
                  <c:v>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059-45B3-91BF-E9DD899057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1419072"/>
        <c:axId val="1151431552"/>
      </c:line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  <c:max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1907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633654241363322E-2"/>
          <c:y val="0.15374716444695374"/>
          <c:w val="0.82877257717385544"/>
          <c:h val="0.5869906338532267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E$1</c:f>
              <c:strCache>
                <c:ptCount val="1"/>
                <c:pt idx="0">
                  <c:v>Dividend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Dec 2020</c:v>
                </c:pt>
                <c:pt idx="1">
                  <c:v>Dec 2021</c:v>
                </c:pt>
                <c:pt idx="2">
                  <c:v>Dec 2022</c:v>
                </c:pt>
                <c:pt idx="3">
                  <c:v>Dec 2023</c:v>
                </c:pt>
                <c:pt idx="4">
                  <c:v>Jun 2024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0-00D7-42F4-9486-0BE0A547D2CD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Interim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ec 2020</c:v>
                </c:pt>
                <c:pt idx="1">
                  <c:v>Dec 2021</c:v>
                </c:pt>
                <c:pt idx="2">
                  <c:v>Dec 2022</c:v>
                </c:pt>
                <c:pt idx="3">
                  <c:v>Dec 2023</c:v>
                </c:pt>
                <c:pt idx="4">
                  <c:v>Jun 2024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 formatCode="#,##0">
                  <c:v>57</c:v>
                </c:pt>
                <c:pt idx="2" formatCode="#,##0">
                  <c:v>65</c:v>
                </c:pt>
                <c:pt idx="3" formatCode="#,##0">
                  <c:v>70</c:v>
                </c:pt>
                <c:pt idx="4" formatCode="#,##0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0D7-42F4-9486-0BE0A547D2CD}"/>
            </c:ext>
          </c:extLst>
        </c:ser>
        <c:ser>
          <c:idx val="1"/>
          <c:order val="2"/>
          <c:tx>
            <c:strRef>
              <c:f>Sheet1!$C$1</c:f>
              <c:strCache>
                <c:ptCount val="1"/>
                <c:pt idx="0">
                  <c:v>Final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221-4B69-AA59-150DEF462EF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ec 2020</c:v>
                </c:pt>
                <c:pt idx="1">
                  <c:v>Dec 2021</c:v>
                </c:pt>
                <c:pt idx="2">
                  <c:v>Dec 2022</c:v>
                </c:pt>
                <c:pt idx="3">
                  <c:v>Dec 2023</c:v>
                </c:pt>
                <c:pt idx="4">
                  <c:v>Jun 2024</c:v>
                </c:pt>
              </c:strCache>
            </c:strRef>
          </c:cat>
          <c:val>
            <c:numRef>
              <c:f>Sheet1!$C$2:$C$6</c:f>
              <c:numCache>
                <c:formatCode>#,##0</c:formatCode>
                <c:ptCount val="5"/>
                <c:pt idx="0">
                  <c:v>65</c:v>
                </c:pt>
                <c:pt idx="1">
                  <c:v>71</c:v>
                </c:pt>
                <c:pt idx="2">
                  <c:v>101</c:v>
                </c:pt>
                <c:pt idx="3">
                  <c:v>11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0D7-42F4-9486-0BE0A547D2CD}"/>
            </c:ext>
          </c:extLst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Special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00D7-42F4-9486-0BE0A547D2CD}"/>
              </c:ext>
            </c:extLst>
          </c:dPt>
          <c:dLbls>
            <c:dLbl>
              <c:idx val="0"/>
              <c:layout>
                <c:manualLayout>
                  <c:x val="0"/>
                  <c:y val="-6.14596670934699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0D7-42F4-9486-0BE0A547D2CD}"/>
                </c:ext>
              </c:extLst>
            </c:dLbl>
            <c:dLbl>
              <c:idx val="3"/>
              <c:layout>
                <c:manualLayout>
                  <c:x val="2.160118714681661E-3"/>
                  <c:y val="-4.609475032010243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221-4B69-AA59-150DEF462EF2}"/>
                </c:ext>
              </c:extLst>
            </c:dLbl>
            <c:dLbl>
              <c:idx val="4"/>
              <c:layout>
                <c:manualLayout>
                  <c:x val="0"/>
                  <c:y val="-5.631826751489610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0D7-42F4-9486-0BE0A547D2C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ec 2020</c:v>
                </c:pt>
                <c:pt idx="1">
                  <c:v>Dec 2021</c:v>
                </c:pt>
                <c:pt idx="2">
                  <c:v>Dec 2022</c:v>
                </c:pt>
                <c:pt idx="3">
                  <c:v>Dec 2023</c:v>
                </c:pt>
                <c:pt idx="4">
                  <c:v>Jun 202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2" formatCode="#,##0">
                  <c:v>91</c:v>
                </c:pt>
                <c:pt idx="3" formatCode="#,##0">
                  <c:v>7</c:v>
                </c:pt>
                <c:pt idx="4" formatCode="#,##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0D7-42F4-9486-0BE0A547D2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1907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.39549554016277261"/>
          <c:y val="0.8848470061600815"/>
          <c:w val="0.20900891967445481"/>
          <c:h val="0.1100313549154627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299005928675425E-2"/>
          <c:y val="7.8635911370604036E-2"/>
          <c:w val="0.82914413460158964"/>
          <c:h val="0.72356174208179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#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0026-43B9-A8A1-3D593C3A86B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2DEF-4D14-B959-7FC85100356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2DEF-4D14-B959-7FC85100356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2DEF-4D14-B959-7FC851003564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8-AF17-4608-A8D3-85443BE1226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Jun 2020</c:v>
                </c:pt>
                <c:pt idx="1">
                  <c:v>Jun 2021</c:v>
                </c:pt>
                <c:pt idx="2">
                  <c:v>Jun 2022</c:v>
                </c:pt>
                <c:pt idx="3">
                  <c:v>Jun 2023</c:v>
                </c:pt>
                <c:pt idx="4">
                  <c:v>Jun 2024</c:v>
                </c:pt>
              </c:strCache>
            </c:strRef>
          </c:cat>
          <c:val>
            <c:numRef>
              <c:f>Sheet1!$B$2:$B$6</c:f>
              <c:numCache>
                <c:formatCode>#,##0</c:formatCode>
                <c:ptCount val="5"/>
                <c:pt idx="0">
                  <c:v>66</c:v>
                </c:pt>
                <c:pt idx="1">
                  <c:v>94</c:v>
                </c:pt>
                <c:pt idx="2">
                  <c:v>71</c:v>
                </c:pt>
                <c:pt idx="3">
                  <c:v>63</c:v>
                </c:pt>
                <c:pt idx="4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026-43B9-A8A1-3D593C3A86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  <c:max val="12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299005928675425E-2"/>
          <c:y val="7.6070164096710496E-2"/>
          <c:w val="0.82914413460158964"/>
          <c:h val="0.7261274893556842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hareholders net asset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ec 2020</c:v>
                </c:pt>
                <c:pt idx="1">
                  <c:v>Dec 2021</c:v>
                </c:pt>
                <c:pt idx="2">
                  <c:v>Dec 2022</c:v>
                </c:pt>
                <c:pt idx="3">
                  <c:v>Dec 2023</c:v>
                </c:pt>
                <c:pt idx="4">
                  <c:v>Jun 2024</c:v>
                </c:pt>
              </c:strCache>
            </c:strRef>
          </c:cat>
          <c:val>
            <c:numRef>
              <c:f>Sheet1!$B$2:$B$6</c:f>
              <c:numCache>
                <c:formatCode>#,##0</c:formatCode>
                <c:ptCount val="5"/>
                <c:pt idx="0">
                  <c:v>2911</c:v>
                </c:pt>
                <c:pt idx="1">
                  <c:v>3281</c:v>
                </c:pt>
                <c:pt idx="2">
                  <c:v>3465</c:v>
                </c:pt>
                <c:pt idx="3">
                  <c:v>3213</c:v>
                </c:pt>
                <c:pt idx="4">
                  <c:v>29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61-44CD-911A-6030736006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alue of inforce busines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Dec 2020</c:v>
                </c:pt>
                <c:pt idx="1">
                  <c:v>Dec 2021</c:v>
                </c:pt>
                <c:pt idx="2">
                  <c:v>Dec 2022</c:v>
                </c:pt>
                <c:pt idx="3">
                  <c:v>Dec 2023</c:v>
                </c:pt>
                <c:pt idx="4">
                  <c:v>Jun 2024</c:v>
                </c:pt>
              </c:strCache>
            </c:strRef>
          </c:cat>
          <c:val>
            <c:numRef>
              <c:f>Sheet1!$C$2:$C$6</c:f>
              <c:numCache>
                <c:formatCode>#,##0</c:formatCode>
                <c:ptCount val="5"/>
                <c:pt idx="0">
                  <c:v>1871</c:v>
                </c:pt>
                <c:pt idx="1">
                  <c:v>2011</c:v>
                </c:pt>
                <c:pt idx="2">
                  <c:v>2295</c:v>
                </c:pt>
                <c:pt idx="3">
                  <c:v>2166</c:v>
                </c:pt>
                <c:pt idx="4">
                  <c:v>23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461-44CD-911A-6030736006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299767413044379"/>
          <c:y val="0.94487845529892467"/>
          <c:w val="0.45400465173911242"/>
          <c:h val="5.512154470107529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299005928675425E-2"/>
          <c:y val="7.8635911370604036E-2"/>
          <c:w val="0.82914413460158964"/>
          <c:h val="0.7235617420817908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Dec 2020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Group Equity Value</c:v>
                </c:pt>
              </c:strCache>
            </c:strRef>
          </c:cat>
          <c:val>
            <c:numRef>
              <c:f>Sheet1!$B$2:$D$2</c:f>
              <c:numCache>
                <c:formatCode>0.0</c:formatCode>
                <c:ptCount val="3"/>
                <c:pt idx="0">
                  <c:v>30.3</c:v>
                </c:pt>
                <c:pt idx="1">
                  <c:v>17.079999999999998</c:v>
                </c:pt>
                <c:pt idx="2">
                  <c:v>4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F-4CBB-B8ED-1B725A703B17}"/>
            </c:ext>
          </c:extLst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Dec 202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Group Equity Value</c:v>
                </c:pt>
              </c:strCache>
            </c:strRef>
          </c:cat>
          <c:val>
            <c:numRef>
              <c:f>Sheet1!$B$3:$D$3</c:f>
              <c:numCache>
                <c:formatCode>0.0</c:formatCode>
                <c:ptCount val="3"/>
                <c:pt idx="0">
                  <c:v>36</c:v>
                </c:pt>
                <c:pt idx="1">
                  <c:v>18.13</c:v>
                </c:pt>
                <c:pt idx="2">
                  <c:v>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AF-4CBB-B8ED-1B725A703B1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Dec 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Group Equity Value</c:v>
                </c:pt>
              </c:strCache>
            </c:strRef>
          </c:cat>
          <c:val>
            <c:numRef>
              <c:f>Sheet1!$B$4:$D$4</c:f>
              <c:numCache>
                <c:formatCode>0.0</c:formatCode>
                <c:ptCount val="3"/>
                <c:pt idx="0">
                  <c:v>38.5</c:v>
                </c:pt>
                <c:pt idx="1">
                  <c:v>18.5</c:v>
                </c:pt>
                <c:pt idx="2">
                  <c:v>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9AF-4CBB-B8ED-1B725A703B1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Dec 20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Group Equity Value</c:v>
                </c:pt>
              </c:strCache>
            </c:strRef>
          </c:cat>
          <c:val>
            <c:numRef>
              <c:f>Sheet1!$B$5:$D$5</c:f>
              <c:numCache>
                <c:formatCode>0.0</c:formatCode>
                <c:ptCount val="3"/>
                <c:pt idx="0">
                  <c:v>41.1</c:v>
                </c:pt>
                <c:pt idx="1">
                  <c:v>17.3</c:v>
                </c:pt>
                <c:pt idx="2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9AF-4CBB-B8ED-1B725A703B1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Jun 2024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AUM</c:v>
                </c:pt>
                <c:pt idx="1">
                  <c:v>Total assets</c:v>
                </c:pt>
                <c:pt idx="2">
                  <c:v>Group Equity Value</c:v>
                </c:pt>
              </c:strCache>
            </c:strRef>
          </c:cat>
          <c:val>
            <c:numRef>
              <c:f>Sheet1!$B$6:$D$6</c:f>
              <c:numCache>
                <c:formatCode>0.0</c:formatCode>
                <c:ptCount val="3"/>
                <c:pt idx="0">
                  <c:v>48.2</c:v>
                </c:pt>
                <c:pt idx="1">
                  <c:v>19.899999999999999</c:v>
                </c:pt>
                <c:pt idx="2">
                  <c:v>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9AF-4CBB-B8ED-1B725A703B1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15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02226980341984"/>
          <c:y val="0.94487845529892467"/>
          <c:w val="0.47955451888755929"/>
          <c:h val="5.512154470107529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943785291683647"/>
          <c:y val="7.6972418216805644E-2"/>
          <c:w val="0.52495664242032625"/>
          <c:h val="0.725516356638871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2024'!$C$1</c:f>
              <c:strCache>
                <c:ptCount val="1"/>
                <c:pt idx="0">
                  <c:v>Ends</c:v>
                </c:pt>
              </c:strCache>
            </c:strRef>
          </c:tx>
          <c:spPr>
            <a:solidFill>
              <a:schemeClr val="tx2"/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0C2D3A"/>
              </a:solidFill>
              <a:ln w="254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34-3DDD-4B63-A243-F1A42F9648EE}"/>
              </c:ext>
            </c:extLst>
          </c:dPt>
          <c:dPt>
            <c:idx val="11"/>
            <c:invertIfNegative val="0"/>
            <c:bubble3D val="0"/>
            <c:spPr>
              <a:solidFill>
                <a:srgbClr val="0C2D3A"/>
              </a:solidFill>
              <a:ln w="254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35-3DDD-4B63-A243-F1A42F9648EE}"/>
              </c:ext>
            </c:extLst>
          </c:dPt>
          <c:dPt>
            <c:idx val="13"/>
            <c:invertIfNegative val="0"/>
            <c:bubble3D val="0"/>
            <c:spPr>
              <a:solidFill>
                <a:srgbClr val="0C2D3A"/>
              </a:solidFill>
              <a:ln w="254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36-3DDD-4B63-A243-F1A42F9648EE}"/>
              </c:ext>
            </c:extLst>
          </c:dPt>
          <c:cat>
            <c:strRef>
              <c:f>'2024'!$A$2:$A$15</c:f>
              <c:strCache>
                <c:ptCount val="14"/>
                <c:pt idx="0">
                  <c:v>Opening GEV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ation changes</c:v>
                </c:pt>
                <c:pt idx="6">
                  <c:v>Investment variances</c:v>
                </c:pt>
                <c:pt idx="7">
                  <c:v>Non-Life + BLIL excess capital earnings </c:v>
                </c:pt>
                <c:pt idx="8">
                  <c:v>Change in FV adjustments</c:v>
                </c:pt>
                <c:pt idx="9">
                  <c:v>Movement in other reserves</c:v>
                </c:pt>
                <c:pt idx="10">
                  <c:v>Restatement</c:v>
                </c:pt>
                <c:pt idx="11">
                  <c:v>Closing GEV before dividends</c:v>
                </c:pt>
                <c:pt idx="12">
                  <c:v>Dividends</c:v>
                </c:pt>
                <c:pt idx="13">
                  <c:v>Closing GEV </c:v>
                </c:pt>
              </c:strCache>
            </c:strRef>
          </c:cat>
          <c:val>
            <c:numRef>
              <c:f>'2024'!$C$2:$C$15</c:f>
              <c:numCache>
                <c:formatCode>#\ ##0;\-#\ ##0;;</c:formatCode>
                <c:ptCount val="14"/>
                <c:pt idx="0">
                  <c:v>5379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5593</c:v>
                </c:pt>
                <c:pt idx="12">
                  <c:v>0</c:v>
                </c:pt>
                <c:pt idx="13">
                  <c:v>52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DD-4B63-A243-F1A42F9648EE}"/>
            </c:ext>
          </c:extLst>
        </c:ser>
        <c:ser>
          <c:idx val="1"/>
          <c:order val="1"/>
          <c:tx>
            <c:strRef>
              <c:f>'2024'!$D$1</c:f>
              <c:strCache>
                <c:ptCount val="1"/>
                <c:pt idx="0">
                  <c:v>Blank</c:v>
                </c:pt>
              </c:strCache>
            </c:strRef>
          </c:tx>
          <c:spPr>
            <a:noFill/>
            <a:ln w="25400">
              <a:noFill/>
            </a:ln>
            <a:effectLst/>
          </c:spPr>
          <c:invertIfNegative val="0"/>
          <c:cat>
            <c:strRef>
              <c:f>'2024'!$A$2:$A$15</c:f>
              <c:strCache>
                <c:ptCount val="14"/>
                <c:pt idx="0">
                  <c:v>Opening GEV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ation changes</c:v>
                </c:pt>
                <c:pt idx="6">
                  <c:v>Investment variances</c:v>
                </c:pt>
                <c:pt idx="7">
                  <c:v>Non-Life + BLIL excess capital earnings </c:v>
                </c:pt>
                <c:pt idx="8">
                  <c:v>Change in FV adjustments</c:v>
                </c:pt>
                <c:pt idx="9">
                  <c:v>Movement in other reserves</c:v>
                </c:pt>
                <c:pt idx="10">
                  <c:v>Restatement</c:v>
                </c:pt>
                <c:pt idx="11">
                  <c:v>Closing GEV before dividends</c:v>
                </c:pt>
                <c:pt idx="12">
                  <c:v>Dividends</c:v>
                </c:pt>
                <c:pt idx="13">
                  <c:v>Closing GEV </c:v>
                </c:pt>
              </c:strCache>
            </c:strRef>
          </c:cat>
          <c:val>
            <c:numRef>
              <c:f>'2024'!$D$2:$D$15</c:f>
              <c:numCache>
                <c:formatCode>#\ ##0;\-#\ ##0;;</c:formatCode>
                <c:ptCount val="14"/>
                <c:pt idx="0">
                  <c:v>0</c:v>
                </c:pt>
                <c:pt idx="1">
                  <c:v>5379</c:v>
                </c:pt>
                <c:pt idx="2">
                  <c:v>5473</c:v>
                </c:pt>
                <c:pt idx="3">
                  <c:v>5529</c:v>
                </c:pt>
                <c:pt idx="4">
                  <c:v>5452</c:v>
                </c:pt>
                <c:pt idx="5">
                  <c:v>5452</c:v>
                </c:pt>
                <c:pt idx="6">
                  <c:v>5536</c:v>
                </c:pt>
                <c:pt idx="7">
                  <c:v>5459</c:v>
                </c:pt>
                <c:pt idx="8">
                  <c:v>5459</c:v>
                </c:pt>
                <c:pt idx="9">
                  <c:v>5517</c:v>
                </c:pt>
                <c:pt idx="10">
                  <c:v>5517</c:v>
                </c:pt>
                <c:pt idx="11">
                  <c:v>0</c:v>
                </c:pt>
                <c:pt idx="12">
                  <c:v>5267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DD-4B63-A243-F1A42F9648EE}"/>
            </c:ext>
          </c:extLst>
        </c:ser>
        <c:ser>
          <c:idx val="2"/>
          <c:order val="2"/>
          <c:tx>
            <c:strRef>
              <c:f>'2024'!$E$1</c:f>
              <c:strCache>
                <c:ptCount val="1"/>
                <c:pt idx="0">
                  <c:v>NegLoss</c:v>
                </c:pt>
              </c:strCache>
            </c:strRef>
          </c:tx>
          <c:spPr>
            <a:solidFill>
              <a:srgbClr val="E41A1C"/>
            </a:solidFill>
            <a:ln w="25400">
              <a:noFill/>
            </a:ln>
            <a:effectLst/>
          </c:spPr>
          <c:invertIfNegative val="0"/>
          <c:cat>
            <c:strRef>
              <c:f>'2024'!$A$2:$A$15</c:f>
              <c:strCache>
                <c:ptCount val="14"/>
                <c:pt idx="0">
                  <c:v>Opening GEV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ation changes</c:v>
                </c:pt>
                <c:pt idx="6">
                  <c:v>Investment variances</c:v>
                </c:pt>
                <c:pt idx="7">
                  <c:v>Non-Life + BLIL excess capital earnings </c:v>
                </c:pt>
                <c:pt idx="8">
                  <c:v>Change in FV adjustments</c:v>
                </c:pt>
                <c:pt idx="9">
                  <c:v>Movement in other reserves</c:v>
                </c:pt>
                <c:pt idx="10">
                  <c:v>Restatement</c:v>
                </c:pt>
                <c:pt idx="11">
                  <c:v>Closing GEV before dividends</c:v>
                </c:pt>
                <c:pt idx="12">
                  <c:v>Dividends</c:v>
                </c:pt>
                <c:pt idx="13">
                  <c:v>Closing GEV </c:v>
                </c:pt>
              </c:strCache>
            </c:strRef>
          </c:cat>
          <c:val>
            <c:numRef>
              <c:f>'2024'!$E$2:$E$15</c:f>
              <c:numCache>
                <c:formatCode>#\ ##0;\-#\ ##0;;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DD-4B63-A243-F1A42F9648EE}"/>
            </c:ext>
          </c:extLst>
        </c:ser>
        <c:ser>
          <c:idx val="3"/>
          <c:order val="3"/>
          <c:tx>
            <c:strRef>
              <c:f>'2024'!$F$1</c:f>
              <c:strCache>
                <c:ptCount val="1"/>
                <c:pt idx="0">
                  <c:v>NegGain</c:v>
                </c:pt>
              </c:strCache>
            </c:strRef>
          </c:tx>
          <c:spPr>
            <a:solidFill>
              <a:srgbClr val="2CA02C"/>
            </a:solidFill>
            <a:ln w="25400">
              <a:noFill/>
            </a:ln>
            <a:effectLst/>
          </c:spPr>
          <c:invertIfNegative val="0"/>
          <c:cat>
            <c:strRef>
              <c:f>'2024'!$A$2:$A$15</c:f>
              <c:strCache>
                <c:ptCount val="14"/>
                <c:pt idx="0">
                  <c:v>Opening GEV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ation changes</c:v>
                </c:pt>
                <c:pt idx="6">
                  <c:v>Investment variances</c:v>
                </c:pt>
                <c:pt idx="7">
                  <c:v>Non-Life + BLIL excess capital earnings </c:v>
                </c:pt>
                <c:pt idx="8">
                  <c:v>Change in FV adjustments</c:v>
                </c:pt>
                <c:pt idx="9">
                  <c:v>Movement in other reserves</c:v>
                </c:pt>
                <c:pt idx="10">
                  <c:v>Restatement</c:v>
                </c:pt>
                <c:pt idx="11">
                  <c:v>Closing GEV before dividends</c:v>
                </c:pt>
                <c:pt idx="12">
                  <c:v>Dividends</c:v>
                </c:pt>
                <c:pt idx="13">
                  <c:v>Closing GEV </c:v>
                </c:pt>
              </c:strCache>
            </c:strRef>
          </c:cat>
          <c:val>
            <c:numRef>
              <c:f>'2024'!$F$2:$F$15</c:f>
              <c:numCache>
                <c:formatCode>#\ ##0;\-#\ ##0;;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DDD-4B63-A243-F1A42F9648EE}"/>
            </c:ext>
          </c:extLst>
        </c:ser>
        <c:ser>
          <c:idx val="4"/>
          <c:order val="4"/>
          <c:tx>
            <c:strRef>
              <c:f>'2024'!$G$1</c:f>
              <c:strCache>
                <c:ptCount val="1"/>
                <c:pt idx="0">
                  <c:v>PosLoss</c:v>
                </c:pt>
              </c:strCache>
            </c:strRef>
          </c:tx>
          <c:spPr>
            <a:solidFill>
              <a:schemeClr val="accent2"/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12"/>
            <c:invertIfNegative val="0"/>
            <c:bubble3D val="0"/>
            <c:spPr>
              <a:solidFill>
                <a:schemeClr val="accent6"/>
              </a:solidFill>
              <a:ln w="254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37-3DDD-4B63-A243-F1A42F9648EE}"/>
              </c:ext>
            </c:extLst>
          </c:dPt>
          <c:cat>
            <c:strRef>
              <c:f>'2024'!$A$2:$A$15</c:f>
              <c:strCache>
                <c:ptCount val="14"/>
                <c:pt idx="0">
                  <c:v>Opening GEV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ation changes</c:v>
                </c:pt>
                <c:pt idx="6">
                  <c:v>Investment variances</c:v>
                </c:pt>
                <c:pt idx="7">
                  <c:v>Non-Life + BLIL excess capital earnings </c:v>
                </c:pt>
                <c:pt idx="8">
                  <c:v>Change in FV adjustments</c:v>
                </c:pt>
                <c:pt idx="9">
                  <c:v>Movement in other reserves</c:v>
                </c:pt>
                <c:pt idx="10">
                  <c:v>Restatement</c:v>
                </c:pt>
                <c:pt idx="11">
                  <c:v>Closing GEV before dividends</c:v>
                </c:pt>
                <c:pt idx="12">
                  <c:v>Dividends</c:v>
                </c:pt>
                <c:pt idx="13">
                  <c:v>Closing GEV </c:v>
                </c:pt>
              </c:strCache>
            </c:strRef>
          </c:cat>
          <c:val>
            <c:numRef>
              <c:f>'2024'!$G$2:$G$15</c:f>
              <c:numCache>
                <c:formatCode>#\ ##0;\-#\ ##0;;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38</c:v>
                </c:pt>
                <c:pt idx="5">
                  <c:v>0</c:v>
                </c:pt>
                <c:pt idx="6">
                  <c:v>0</c:v>
                </c:pt>
                <c:pt idx="7">
                  <c:v>90</c:v>
                </c:pt>
                <c:pt idx="8">
                  <c:v>0</c:v>
                </c:pt>
                <c:pt idx="9">
                  <c:v>109</c:v>
                </c:pt>
                <c:pt idx="10">
                  <c:v>0</c:v>
                </c:pt>
                <c:pt idx="11">
                  <c:v>0</c:v>
                </c:pt>
                <c:pt idx="12">
                  <c:v>326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DD-4B63-A243-F1A42F9648EE}"/>
            </c:ext>
          </c:extLst>
        </c:ser>
        <c:ser>
          <c:idx val="5"/>
          <c:order val="5"/>
          <c:tx>
            <c:strRef>
              <c:f>'2024'!$H$1</c:f>
              <c:strCache>
                <c:ptCount val="1"/>
                <c:pt idx="0">
                  <c:v>PosGain</c:v>
                </c:pt>
              </c:strCache>
            </c:strRef>
          </c:tx>
          <c:spPr>
            <a:solidFill>
              <a:schemeClr val="accent6"/>
            </a:solidFill>
            <a:ln w="254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'2024'!$A$2:$A$15</c:f>
              <c:strCache>
                <c:ptCount val="14"/>
                <c:pt idx="0">
                  <c:v>Opening GEV</c:v>
                </c:pt>
                <c:pt idx="1">
                  <c:v>Expected return</c:v>
                </c:pt>
                <c:pt idx="2">
                  <c:v>New business</c:v>
                </c:pt>
                <c:pt idx="3">
                  <c:v>Operating variances</c:v>
                </c:pt>
                <c:pt idx="4">
                  <c:v>Assumption changes</c:v>
                </c:pt>
                <c:pt idx="5">
                  <c:v>Economic assumpation changes</c:v>
                </c:pt>
                <c:pt idx="6">
                  <c:v>Investment variances</c:v>
                </c:pt>
                <c:pt idx="7">
                  <c:v>Non-Life + BLIL excess capital earnings </c:v>
                </c:pt>
                <c:pt idx="8">
                  <c:v>Change in FV adjustments</c:v>
                </c:pt>
                <c:pt idx="9">
                  <c:v>Movement in other reserves</c:v>
                </c:pt>
                <c:pt idx="10">
                  <c:v>Restatement</c:v>
                </c:pt>
                <c:pt idx="11">
                  <c:v>Closing GEV before dividends</c:v>
                </c:pt>
                <c:pt idx="12">
                  <c:v>Dividends</c:v>
                </c:pt>
                <c:pt idx="13">
                  <c:v>Closing GEV </c:v>
                </c:pt>
              </c:strCache>
            </c:strRef>
          </c:cat>
          <c:val>
            <c:numRef>
              <c:f>'2024'!$H$2:$H$15</c:f>
              <c:numCache>
                <c:formatCode>#\ ##0;\-#\ ##0;;</c:formatCode>
                <c:ptCount val="14"/>
                <c:pt idx="0">
                  <c:v>0</c:v>
                </c:pt>
                <c:pt idx="1">
                  <c:v>94</c:v>
                </c:pt>
                <c:pt idx="2">
                  <c:v>56</c:v>
                </c:pt>
                <c:pt idx="3">
                  <c:v>61</c:v>
                </c:pt>
                <c:pt idx="4">
                  <c:v>0</c:v>
                </c:pt>
                <c:pt idx="5">
                  <c:v>84</c:v>
                </c:pt>
                <c:pt idx="6">
                  <c:v>13</c:v>
                </c:pt>
                <c:pt idx="7">
                  <c:v>0</c:v>
                </c:pt>
                <c:pt idx="8">
                  <c:v>167</c:v>
                </c:pt>
                <c:pt idx="9">
                  <c:v>0</c:v>
                </c:pt>
                <c:pt idx="10">
                  <c:v>76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DD-4B63-A243-F1A42F9648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881131040"/>
        <c:axId val="881132480"/>
      </c:barChart>
      <c:scatterChart>
        <c:scatterStyle val="lineMarker"/>
        <c:varyColors val="0"/>
        <c:ser>
          <c:idx val="6"/>
          <c:order val="6"/>
          <c:tx>
            <c:strRef>
              <c:f>'2024'!$K$1</c:f>
              <c:strCache>
                <c:ptCount val="1"/>
                <c:pt idx="0">
                  <c:v>Left X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fld id="{AB2D316F-9923-4E91-BF56-F718226E292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DDD-4B63-A243-F1A42F9648E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350351CC-4756-4ABE-BB1A-1C81AEE9708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3DDD-4B63-A243-F1A42F9648E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EC4AE96-F612-40A4-B9DD-3764D8555FA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3DDD-4B63-A243-F1A42F9648E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9EFCE9EB-0086-4CCC-B514-73F85159007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3DDD-4B63-A243-F1A42F9648E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3544FB26-4D1E-4642-B703-9B510B4426A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3DDD-4B63-A243-F1A42F9648E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A3A32E0-1311-4658-B903-452143DCC44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3DDD-4B63-A243-F1A42F9648EE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5A5D4E2A-589C-4DBE-9272-9163F8BCFB5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3DDD-4B63-A243-F1A42F9648E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C73AC41C-7445-4014-ADD3-1A75C7138E0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3DDD-4B63-A243-F1A42F9648EE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72D128EC-C326-41F4-98B2-7D900B1D51C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3DDD-4B63-A243-F1A42F9648EE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4158C425-565D-41A0-A491-74AF3185EB7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3DDD-4B63-A243-F1A42F9648EE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D881A849-8505-47A7-A390-BBC2AB89F44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3DDD-4B63-A243-F1A42F9648EE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D6670A8D-9ACF-4706-9BA7-0691D8BAC58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3DDD-4B63-A243-F1A42F9648EE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A10729FD-401B-4AE8-BE8C-84972FBE306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3DDD-4B63-A243-F1A42F9648EE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EF4EBD37-0FAE-4824-A119-596B66CD7DF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l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3DDD-4B63-A243-F1A42F9648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l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'2024'!$K$2:$K$15</c:f>
              <c:numCache>
                <c:formatCode>#\ ##0;\-#\ ##0;;</c:formatCode>
                <c:ptCount val="14"/>
                <c:pt idx="0">
                  <c:v>0</c:v>
                </c:pt>
                <c:pt idx="1">
                  <c:v>5379</c:v>
                </c:pt>
                <c:pt idx="2">
                  <c:v>5473</c:v>
                </c:pt>
                <c:pt idx="3">
                  <c:v>5529</c:v>
                </c:pt>
                <c:pt idx="4">
                  <c:v>5452</c:v>
                </c:pt>
                <c:pt idx="5">
                  <c:v>5452</c:v>
                </c:pt>
                <c:pt idx="6">
                  <c:v>5536</c:v>
                </c:pt>
                <c:pt idx="7">
                  <c:v>5459</c:v>
                </c:pt>
                <c:pt idx="8">
                  <c:v>5459</c:v>
                </c:pt>
                <c:pt idx="9">
                  <c:v>5517</c:v>
                </c:pt>
                <c:pt idx="10">
                  <c:v>5517</c:v>
                </c:pt>
                <c:pt idx="11">
                  <c:v>0</c:v>
                </c:pt>
                <c:pt idx="12">
                  <c:v>5267</c:v>
                </c:pt>
                <c:pt idx="13">
                  <c:v>0</c:v>
                </c:pt>
              </c:numCache>
            </c:numRef>
          </c:xVal>
          <c:yVal>
            <c:numRef>
              <c:f>'2024'!$N$2:$N$15</c:f>
              <c:numCache>
                <c:formatCode>General</c:formatCode>
                <c:ptCount val="14"/>
                <c:pt idx="0">
                  <c:v>3.5714285714285712E-2</c:v>
                </c:pt>
                <c:pt idx="1">
                  <c:v>0.10714285714285714</c:v>
                </c:pt>
                <c:pt idx="2">
                  <c:v>0.17857142857142858</c:v>
                </c:pt>
                <c:pt idx="3">
                  <c:v>0.25</c:v>
                </c:pt>
                <c:pt idx="4">
                  <c:v>0.32142857142857145</c:v>
                </c:pt>
                <c:pt idx="5">
                  <c:v>0.39285714285714285</c:v>
                </c:pt>
                <c:pt idx="6">
                  <c:v>0.4642857142857143</c:v>
                </c:pt>
                <c:pt idx="7">
                  <c:v>0.5357142857142857</c:v>
                </c:pt>
                <c:pt idx="8">
                  <c:v>0.6071428571428571</c:v>
                </c:pt>
                <c:pt idx="9">
                  <c:v>0.6785714285714286</c:v>
                </c:pt>
                <c:pt idx="10">
                  <c:v>0.75</c:v>
                </c:pt>
                <c:pt idx="11">
                  <c:v>0.8214285714285714</c:v>
                </c:pt>
                <c:pt idx="12">
                  <c:v>0.8928571428571429</c:v>
                </c:pt>
                <c:pt idx="13">
                  <c:v>0.9642857142857143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2024'!$O$2:$O$15</c15:f>
                <c15:dlblRangeCache>
                  <c:ptCount val="14"/>
                  <c:pt idx="4">
                    <c:v>-138</c:v>
                  </c:pt>
                  <c:pt idx="7">
                    <c:v>-90</c:v>
                  </c:pt>
                  <c:pt idx="9">
                    <c:v>-109</c:v>
                  </c:pt>
                  <c:pt idx="12">
                    <c:v>-326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4-3DDD-4B63-A243-F1A42F9648EE}"/>
            </c:ext>
          </c:extLst>
        </c:ser>
        <c:ser>
          <c:idx val="7"/>
          <c:order val="7"/>
          <c:tx>
            <c:strRef>
              <c:f>'2024'!$L$1</c:f>
              <c:strCache>
                <c:ptCount val="1"/>
                <c:pt idx="0">
                  <c:v>Center X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/>
                  <a:lstStyle/>
                  <a:p>
                    <a:fld id="{3358FBBB-E11A-494D-AAFA-866EA789C02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3DDD-4B63-A243-F1A42F9648E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2F9644C-0E0D-4CCB-9CDF-164C5EFDE81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3DDD-4B63-A243-F1A42F9648E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1FB9E9B-430D-4197-A766-F8CC79E4988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3DDD-4B63-A243-F1A42F9648E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1A47DA3-722C-4D7E-94FF-01D203B249C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3DDD-4B63-A243-F1A42F9648E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54A91AB-5D88-47C0-83A2-D34A8CE74E3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3DDD-4B63-A243-F1A42F9648E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72056E32-3268-45FE-B7EB-AC098E5DBD6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3DDD-4B63-A243-F1A42F9648EE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73BD6D91-5F68-4486-ADAE-3ACC71DBC09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B-3DDD-4B63-A243-F1A42F9648E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2586DB1-297D-4673-B702-51044FCE167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3DDD-4B63-A243-F1A42F9648EE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BB6315BF-8C36-4340-A6C8-E832EFD5073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3DDD-4B63-A243-F1A42F9648EE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C8DC0F29-C530-43A7-96A5-7DDA7BAE091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3DDD-4B63-A243-F1A42F9648EE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F8F6F80D-747A-4142-9993-9ED8BC2C5C6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3DDD-4B63-A243-F1A42F9648EE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0DDE438C-D375-4A58-AACF-B15C99AE3F4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3DDD-4B63-A243-F1A42F9648EE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C9285AF0-368F-40EF-BA5C-CD60958F9AD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3DDD-4B63-A243-F1A42F9648EE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0F3396BE-58BD-4865-8B49-867A94EC8D4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3DDD-4B63-A243-F1A42F9648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'2024'!$L$2:$L$15</c:f>
              <c:numCache>
                <c:formatCode>#\ ##0;\-#\ ##0;;</c:formatCode>
                <c:ptCount val="14"/>
                <c:pt idx="0">
                  <c:v>2689.5</c:v>
                </c:pt>
                <c:pt idx="1">
                  <c:v>5426</c:v>
                </c:pt>
                <c:pt idx="2">
                  <c:v>5501</c:v>
                </c:pt>
                <c:pt idx="3">
                  <c:v>5559.5</c:v>
                </c:pt>
                <c:pt idx="4">
                  <c:v>5521</c:v>
                </c:pt>
                <c:pt idx="5">
                  <c:v>5494</c:v>
                </c:pt>
                <c:pt idx="6">
                  <c:v>5542.5</c:v>
                </c:pt>
                <c:pt idx="7">
                  <c:v>5504</c:v>
                </c:pt>
                <c:pt idx="8">
                  <c:v>5542.5</c:v>
                </c:pt>
                <c:pt idx="9">
                  <c:v>5571.5</c:v>
                </c:pt>
                <c:pt idx="10">
                  <c:v>5555</c:v>
                </c:pt>
                <c:pt idx="11">
                  <c:v>2796.5</c:v>
                </c:pt>
                <c:pt idx="12">
                  <c:v>5430</c:v>
                </c:pt>
                <c:pt idx="13">
                  <c:v>2633.5</c:v>
                </c:pt>
              </c:numCache>
            </c:numRef>
          </c:xVal>
          <c:yVal>
            <c:numRef>
              <c:f>'2024'!$N$2:$N$15</c:f>
              <c:numCache>
                <c:formatCode>General</c:formatCode>
                <c:ptCount val="14"/>
                <c:pt idx="0">
                  <c:v>3.5714285714285712E-2</c:v>
                </c:pt>
                <c:pt idx="1">
                  <c:v>0.10714285714285714</c:v>
                </c:pt>
                <c:pt idx="2">
                  <c:v>0.17857142857142858</c:v>
                </c:pt>
                <c:pt idx="3">
                  <c:v>0.25</c:v>
                </c:pt>
                <c:pt idx="4">
                  <c:v>0.32142857142857145</c:v>
                </c:pt>
                <c:pt idx="5">
                  <c:v>0.39285714285714285</c:v>
                </c:pt>
                <c:pt idx="6">
                  <c:v>0.4642857142857143</c:v>
                </c:pt>
                <c:pt idx="7">
                  <c:v>0.5357142857142857</c:v>
                </c:pt>
                <c:pt idx="8">
                  <c:v>0.6071428571428571</c:v>
                </c:pt>
                <c:pt idx="9">
                  <c:v>0.6785714285714286</c:v>
                </c:pt>
                <c:pt idx="10">
                  <c:v>0.75</c:v>
                </c:pt>
                <c:pt idx="11">
                  <c:v>0.8214285714285714</c:v>
                </c:pt>
                <c:pt idx="12">
                  <c:v>0.8928571428571429</c:v>
                </c:pt>
                <c:pt idx="13">
                  <c:v>0.9642857142857143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2024'!$P$2:$P$15</c15:f>
                <c15:dlblRangeCache>
                  <c:ptCount val="14"/>
                </c15:dlblRangeCache>
              </c15:datalabelsRange>
            </c:ext>
            <c:ext xmlns:c16="http://schemas.microsoft.com/office/drawing/2014/chart" uri="{C3380CC4-5D6E-409C-BE32-E72D297353CC}">
              <c16:uniqueId val="{00000023-3DDD-4B63-A243-F1A42F9648EE}"/>
            </c:ext>
          </c:extLst>
        </c:ser>
        <c:ser>
          <c:idx val="8"/>
          <c:order val="8"/>
          <c:tx>
            <c:strRef>
              <c:f>'2024'!$M$1</c:f>
              <c:strCache>
                <c:ptCount val="1"/>
                <c:pt idx="0">
                  <c:v>Right X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B14BCD0-7A6C-4E29-BE94-BD73EF001127}" type="CELLRANGE">
                      <a:rPr lang="en-US"/>
                      <a:pPr>
                        <a:defRPr sz="1200" b="1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4-3DDD-4B63-A243-F1A42F9648E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F277409-5253-4BF7-BECA-5E0C4371349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5-3DDD-4B63-A243-F1A42F9648E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6254EFD-F25F-4368-80A8-BBC498B9B0B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6-3DDD-4B63-A243-F1A42F9648E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131B779-9591-457D-AA59-A2AE90F8FA9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7-3DDD-4B63-A243-F1A42F9648E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2D41A9F-2050-4AA7-9384-600112B635C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3DDD-4B63-A243-F1A42F9648E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1CBC5110-C03A-4903-852F-322D175EB12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9-3DDD-4B63-A243-F1A42F9648EE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AD274F3F-8C8C-465F-A352-03520EF71C2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A-3DDD-4B63-A243-F1A42F9648E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FEA92FB-E72D-4458-AA3E-50B20126993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3DDD-4B63-A243-F1A42F9648EE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A7770729-BE5C-463B-AFC6-E5B4F05653D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C-3DDD-4B63-A243-F1A42F9648EE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AE00B887-A9F1-4161-B5C1-3463064BA1C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3DDD-4B63-A243-F1A42F9648EE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A80E183-22FC-4969-A1D6-CDEB98C833E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E-3DDD-4B63-A243-F1A42F9648EE}"/>
                </c:ext>
              </c:extLst>
            </c:dLbl>
            <c:dLbl>
              <c:idx val="1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931CB15-AE0C-490C-96F3-6A1394FA038F}" type="CELLRANGE">
                      <a:rPr lang="en-US"/>
                      <a:pPr>
                        <a:defRPr sz="1200" b="1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2F-3DDD-4B63-A243-F1A42F9648EE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FA517EFF-B08E-487B-81BF-74FA48EA96C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3DDD-4B63-A243-F1A42F9648EE}"/>
                </c:ext>
              </c:extLst>
            </c:dLbl>
            <c:dLbl>
              <c:idx val="13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E009E97-3489-4C8F-A2E9-318FA09F8160}" type="CELLRANGE">
                      <a:rPr lang="en-US"/>
                      <a:pPr>
                        <a:defRPr sz="1200" b="1"/>
                      </a:pPr>
                      <a:t>[CELLRAN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31-3DDD-4B63-A243-F1A42F9648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xVal>
            <c:numRef>
              <c:f>'2024'!$M$2:$M$15</c:f>
              <c:numCache>
                <c:formatCode>#\ ##0;\-#\ ##0;;</c:formatCode>
                <c:ptCount val="14"/>
                <c:pt idx="0">
                  <c:v>5379</c:v>
                </c:pt>
                <c:pt idx="1">
                  <c:v>5473</c:v>
                </c:pt>
                <c:pt idx="2">
                  <c:v>5529</c:v>
                </c:pt>
                <c:pt idx="3">
                  <c:v>5590</c:v>
                </c:pt>
                <c:pt idx="4">
                  <c:v>5590</c:v>
                </c:pt>
                <c:pt idx="5">
                  <c:v>5536</c:v>
                </c:pt>
                <c:pt idx="6">
                  <c:v>5549</c:v>
                </c:pt>
                <c:pt idx="7">
                  <c:v>5549</c:v>
                </c:pt>
                <c:pt idx="8">
                  <c:v>5626</c:v>
                </c:pt>
                <c:pt idx="9">
                  <c:v>5626</c:v>
                </c:pt>
                <c:pt idx="10">
                  <c:v>5593</c:v>
                </c:pt>
                <c:pt idx="11">
                  <c:v>5593</c:v>
                </c:pt>
                <c:pt idx="12">
                  <c:v>5593</c:v>
                </c:pt>
                <c:pt idx="13">
                  <c:v>5267</c:v>
                </c:pt>
              </c:numCache>
            </c:numRef>
          </c:xVal>
          <c:yVal>
            <c:numRef>
              <c:f>'2024'!$N$2:$N$15</c:f>
              <c:numCache>
                <c:formatCode>General</c:formatCode>
                <c:ptCount val="14"/>
                <c:pt idx="0">
                  <c:v>3.5714285714285712E-2</c:v>
                </c:pt>
                <c:pt idx="1">
                  <c:v>0.10714285714285714</c:v>
                </c:pt>
                <c:pt idx="2">
                  <c:v>0.17857142857142858</c:v>
                </c:pt>
                <c:pt idx="3">
                  <c:v>0.25</c:v>
                </c:pt>
                <c:pt idx="4">
                  <c:v>0.32142857142857145</c:v>
                </c:pt>
                <c:pt idx="5">
                  <c:v>0.39285714285714285</c:v>
                </c:pt>
                <c:pt idx="6">
                  <c:v>0.4642857142857143</c:v>
                </c:pt>
                <c:pt idx="7">
                  <c:v>0.5357142857142857</c:v>
                </c:pt>
                <c:pt idx="8">
                  <c:v>0.6071428571428571</c:v>
                </c:pt>
                <c:pt idx="9">
                  <c:v>0.6785714285714286</c:v>
                </c:pt>
                <c:pt idx="10">
                  <c:v>0.75</c:v>
                </c:pt>
                <c:pt idx="11">
                  <c:v>0.8214285714285714</c:v>
                </c:pt>
                <c:pt idx="12">
                  <c:v>0.8928571428571429</c:v>
                </c:pt>
                <c:pt idx="13">
                  <c:v>0.9642857142857143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2024'!$Q$2:$Q$15</c15:f>
                <c15:dlblRangeCache>
                  <c:ptCount val="14"/>
                  <c:pt idx="0">
                    <c:v>5 379</c:v>
                  </c:pt>
                  <c:pt idx="1">
                    <c:v>94</c:v>
                  </c:pt>
                  <c:pt idx="2">
                    <c:v>56</c:v>
                  </c:pt>
                  <c:pt idx="3">
                    <c:v>61</c:v>
                  </c:pt>
                  <c:pt idx="5">
                    <c:v>84</c:v>
                  </c:pt>
                  <c:pt idx="6">
                    <c:v>13</c:v>
                  </c:pt>
                  <c:pt idx="8">
                    <c:v>167</c:v>
                  </c:pt>
                  <c:pt idx="10">
                    <c:v>76</c:v>
                  </c:pt>
                  <c:pt idx="11">
                    <c:v>5 593</c:v>
                  </c:pt>
                  <c:pt idx="13">
                    <c:v>5 267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32-3DDD-4B63-A243-F1A42F9648EE}"/>
            </c:ext>
          </c:extLst>
        </c:ser>
        <c:ser>
          <c:idx val="9"/>
          <c:order val="9"/>
          <c:tx>
            <c:strRef>
              <c:f>'2024'!$I$1</c:f>
              <c:strCache>
                <c:ptCount val="1"/>
                <c:pt idx="0">
                  <c:v>Line Y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xVal>
            <c:numRef>
              <c:f>'2024'!$J$2:$J$15</c:f>
              <c:numCache>
                <c:formatCode>#\ ##0;\-#\ ##0;;</c:formatCode>
                <c:ptCount val="14"/>
                <c:pt idx="0">
                  <c:v>5379</c:v>
                </c:pt>
                <c:pt idx="1">
                  <c:v>5473</c:v>
                </c:pt>
                <c:pt idx="2">
                  <c:v>5529</c:v>
                </c:pt>
                <c:pt idx="3">
                  <c:v>5590</c:v>
                </c:pt>
                <c:pt idx="4">
                  <c:v>5452</c:v>
                </c:pt>
                <c:pt idx="5">
                  <c:v>5536</c:v>
                </c:pt>
                <c:pt idx="6">
                  <c:v>5549</c:v>
                </c:pt>
                <c:pt idx="7">
                  <c:v>5459</c:v>
                </c:pt>
                <c:pt idx="8">
                  <c:v>5626</c:v>
                </c:pt>
                <c:pt idx="9">
                  <c:v>5517</c:v>
                </c:pt>
                <c:pt idx="10">
                  <c:v>5593</c:v>
                </c:pt>
                <c:pt idx="11">
                  <c:v>5593</c:v>
                </c:pt>
                <c:pt idx="12">
                  <c:v>5267</c:v>
                </c:pt>
                <c:pt idx="13">
                  <c:v>5267</c:v>
                </c:pt>
              </c:numCache>
            </c:numRef>
          </c:xVal>
          <c:yVal>
            <c:numRef>
              <c:f>'2024'!$I$2:$I$15</c:f>
              <c:numCache>
                <c:formatCode>General</c:formatCode>
                <c:ptCount val="14"/>
                <c:pt idx="0">
                  <c:v>7.1428571428571425E-2</c:v>
                </c:pt>
                <c:pt idx="1">
                  <c:v>0.14285714285714285</c:v>
                </c:pt>
                <c:pt idx="2">
                  <c:v>0.21428571428571427</c:v>
                </c:pt>
                <c:pt idx="3">
                  <c:v>0.2857142857142857</c:v>
                </c:pt>
                <c:pt idx="4">
                  <c:v>0.35714285714285715</c:v>
                </c:pt>
                <c:pt idx="5">
                  <c:v>0.42857142857142855</c:v>
                </c:pt>
                <c:pt idx="6">
                  <c:v>0.5</c:v>
                </c:pt>
                <c:pt idx="7">
                  <c:v>0.5714285714285714</c:v>
                </c:pt>
                <c:pt idx="8">
                  <c:v>0.6428571428571429</c:v>
                </c:pt>
                <c:pt idx="9">
                  <c:v>0.7142857142857143</c:v>
                </c:pt>
                <c:pt idx="10">
                  <c:v>0.7857142857142857</c:v>
                </c:pt>
                <c:pt idx="11">
                  <c:v>0.8571428571428571</c:v>
                </c:pt>
                <c:pt idx="12">
                  <c:v>0.9285714285714286</c:v>
                </c:pt>
                <c:pt idx="13">
                  <c:v>#N/A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33-3DDD-4B63-A243-F1A42F9648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1134880"/>
        <c:axId val="881153120"/>
      </c:scatterChart>
      <c:catAx>
        <c:axId val="88113104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A6A6A6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1132480"/>
        <c:crosses val="autoZero"/>
        <c:auto val="0"/>
        <c:lblAlgn val="ctr"/>
        <c:lblOffset val="100"/>
        <c:tickLblSkip val="1"/>
        <c:noMultiLvlLbl val="0"/>
      </c:catAx>
      <c:valAx>
        <c:axId val="881132480"/>
        <c:scaling>
          <c:orientation val="minMax"/>
          <c:max val="5800"/>
          <c:min val="45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;\-#\ ##0;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1131040"/>
        <c:crosses val="max"/>
        <c:crossBetween val="between"/>
        <c:majorUnit val="200"/>
      </c:valAx>
      <c:valAx>
        <c:axId val="881153120"/>
        <c:scaling>
          <c:orientation val="maxMin"/>
          <c:max val="1"/>
          <c:min val="0"/>
        </c:scaling>
        <c:delete val="0"/>
        <c:axPos val="r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>
                <a:noFill/>
              </a14:hiddenLine>
            </a:ext>
          </a:extLst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1134880"/>
        <c:crosses val="max"/>
        <c:crossBetween val="midCat"/>
      </c:valAx>
      <c:valAx>
        <c:axId val="881134880"/>
        <c:scaling>
          <c:orientation val="minMax"/>
        </c:scaling>
        <c:delete val="1"/>
        <c:axPos val="t"/>
        <c:numFmt formatCode="#\ ##0;\-#\ ##0;;" sourceLinked="1"/>
        <c:majorTickMark val="out"/>
        <c:minorTickMark val="none"/>
        <c:tickLblPos val="nextTo"/>
        <c:crossAx val="8811531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417387237763501E-2"/>
          <c:y val="7.8635911370604036E-2"/>
          <c:w val="0.82964717012116973"/>
          <c:h val="0.7235617420817908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RoGEV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dLbl>
              <c:idx val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5DF-4EBF-B0B4-DCDBA4B9302C}"/>
                </c:ext>
              </c:extLst>
            </c:dLbl>
            <c:dLbl>
              <c:idx val="1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A7B-416C-8569-97E67CDC85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BIHL Group</c:v>
                </c:pt>
                <c:pt idx="1">
                  <c:v>BLIL</c:v>
                </c:pt>
                <c:pt idx="2">
                  <c:v>Bifm Holdings</c:v>
                </c:pt>
                <c:pt idx="3">
                  <c:v>LAHL</c:v>
                </c:pt>
                <c:pt idx="4">
                  <c:v>*BIC</c:v>
                </c:pt>
                <c:pt idx="5">
                  <c:v>NICO</c:v>
                </c:pt>
              </c:strCache>
            </c:strRef>
          </c:cat>
          <c:val>
            <c:numRef>
              <c:f>Sheet1!$B$2:$G$2</c:f>
              <c:numCache>
                <c:formatCode>0.0%</c:formatCode>
                <c:ptCount val="6"/>
                <c:pt idx="0">
                  <c:v>9.4E-2</c:v>
                </c:pt>
                <c:pt idx="1">
                  <c:v>0.14799999999999999</c:v>
                </c:pt>
                <c:pt idx="2">
                  <c:v>0.39800000000000002</c:v>
                </c:pt>
                <c:pt idx="3">
                  <c:v>-0.29399999999999998</c:v>
                </c:pt>
                <c:pt idx="4">
                  <c:v>0.51800000000000002</c:v>
                </c:pt>
                <c:pt idx="5">
                  <c:v>1.328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46-4B07-88D6-6E293AC22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151419072"/>
        <c:axId val="1151431552"/>
      </c:barChart>
      <c:lineChart>
        <c:grouping val="standard"/>
        <c:varyColors val="0"/>
        <c:ser>
          <c:idx val="0"/>
          <c:order val="1"/>
          <c:tx>
            <c:strRef>
              <c:f>Sheet1!$A$3</c:f>
              <c:strCache>
                <c:ptCount val="1"/>
                <c:pt idx="0">
                  <c:v>Target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9717875739255981E-2"/>
                  <c:y val="-5.36305828993955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A7B-416C-8569-97E67CDC85A4}"/>
                </c:ext>
              </c:extLst>
            </c:dLbl>
            <c:dLbl>
              <c:idx val="1"/>
              <c:layout>
                <c:manualLayout>
                  <c:x val="-3.1697105772594096E-2"/>
                  <c:y val="-4.11802437459910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B48-4E5E-9C75-FA993E6142A8}"/>
                </c:ext>
              </c:extLst>
            </c:dLbl>
            <c:spPr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G$1</c:f>
              <c:strCache>
                <c:ptCount val="6"/>
                <c:pt idx="0">
                  <c:v>BIHL Group</c:v>
                </c:pt>
                <c:pt idx="1">
                  <c:v>BLIL</c:v>
                </c:pt>
                <c:pt idx="2">
                  <c:v>Bifm Holdings</c:v>
                </c:pt>
                <c:pt idx="3">
                  <c:v>LAHL</c:v>
                </c:pt>
                <c:pt idx="4">
                  <c:v>*BIC</c:v>
                </c:pt>
                <c:pt idx="5">
                  <c:v>NICO</c:v>
                </c:pt>
              </c:strCache>
            </c:strRef>
          </c:cat>
          <c:val>
            <c:numRef>
              <c:f>Sheet1!$B$3:$G$3</c:f>
              <c:numCache>
                <c:formatCode>0.0%</c:formatCode>
                <c:ptCount val="6"/>
                <c:pt idx="0">
                  <c:v>0.14499999999999999</c:v>
                </c:pt>
                <c:pt idx="1">
                  <c:v>0.22</c:v>
                </c:pt>
                <c:pt idx="2">
                  <c:v>0.17399999999999999</c:v>
                </c:pt>
                <c:pt idx="3">
                  <c:v>0.158</c:v>
                </c:pt>
                <c:pt idx="4">
                  <c:v>0.16500000000000001</c:v>
                </c:pt>
                <c:pt idx="5">
                  <c:v>0.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498-419A-A470-111F8F3C5C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51594831"/>
        <c:axId val="156194432"/>
      </c:line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  <c:max val="1.5"/>
          <c:min val="-0.5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19072"/>
        <c:crosses val="autoZero"/>
        <c:crossBetween val="between"/>
      </c:valAx>
      <c:valAx>
        <c:axId val="156194432"/>
        <c:scaling>
          <c:orientation val="minMax"/>
          <c:max val="1.5"/>
          <c:min val="-0.5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1594831"/>
        <c:crosses val="max"/>
        <c:crossBetween val="between"/>
      </c:valAx>
      <c:catAx>
        <c:axId val="85159483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619443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1696388851304145"/>
          <c:y val="0.94487845529892467"/>
          <c:w val="0.16607222297391708"/>
          <c:h val="5.512154470107529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04230870008064"/>
          <c:y val="7.9076330981398324E-2"/>
          <c:w val="0.6536575069870818"/>
          <c:h val="0.72356174208179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Jun-24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Profit attributable to shareholders</c:v>
                </c:pt>
                <c:pt idx="1">
                  <c:v>Associates share of profit</c:v>
                </c:pt>
                <c:pt idx="2">
                  <c:v>Value of new business</c:v>
                </c:pt>
              </c:strCache>
            </c:strRef>
          </c:cat>
          <c:val>
            <c:numRef>
              <c:f>Sheet1!$B$2:$D$2</c:f>
              <c:numCache>
                <c:formatCode>#,##0</c:formatCode>
                <c:ptCount val="3"/>
                <c:pt idx="0">
                  <c:v>89</c:v>
                </c:pt>
                <c:pt idx="1">
                  <c:v>79</c:v>
                </c:pt>
                <c:pt idx="2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78-46BA-BC56-CF61E89B618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Jun-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B678-46BA-BC56-CF61E89B61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Profit attributable to shareholders</c:v>
                </c:pt>
                <c:pt idx="1">
                  <c:v>Associates share of profit</c:v>
                </c:pt>
                <c:pt idx="2">
                  <c:v>Value of new business</c:v>
                </c:pt>
              </c:strCache>
            </c:strRef>
          </c:cat>
          <c:val>
            <c:numRef>
              <c:f>Sheet1!$B$3:$D$3</c:f>
              <c:numCache>
                <c:formatCode>#,##0</c:formatCode>
                <c:ptCount val="3"/>
                <c:pt idx="0">
                  <c:v>495</c:v>
                </c:pt>
                <c:pt idx="1">
                  <c:v>129</c:v>
                </c:pt>
                <c:pt idx="2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78-46BA-BC56-CF61E89B61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7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lnSpc>
                <a:spcPct val="90000"/>
              </a:lnSpc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1907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937556966242823"/>
          <c:y val="0.94487845529892467"/>
          <c:w val="0.65905510437398829"/>
          <c:h val="5.512154470107529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04230870008064"/>
          <c:y val="7.9076330981398324E-2"/>
          <c:w val="0.65146392340904302"/>
          <c:h val="0.72356174208179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Jun-24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Profit attributable to shareholders</c:v>
                </c:pt>
                <c:pt idx="1">
                  <c:v>Associates share of profit</c:v>
                </c:pt>
                <c:pt idx="2">
                  <c:v>Value of new business</c:v>
                </c:pt>
              </c:strCache>
            </c:strRef>
          </c:cat>
          <c:val>
            <c:numRef>
              <c:f>Sheet1!$B$2:$D$2</c:f>
              <c:numCache>
                <c:formatCode>#,##0</c:formatCode>
                <c:ptCount val="3"/>
                <c:pt idx="0">
                  <c:v>278</c:v>
                </c:pt>
                <c:pt idx="1">
                  <c:v>79</c:v>
                </c:pt>
                <c:pt idx="2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00-4ACE-93F2-773D0F28757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Jun-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2A00-4ACE-93F2-773D0F2875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Profit attributable to shareholders</c:v>
                </c:pt>
                <c:pt idx="1">
                  <c:v>Associates share of profit</c:v>
                </c:pt>
                <c:pt idx="2">
                  <c:v>Value of new business</c:v>
                </c:pt>
              </c:strCache>
            </c:strRef>
          </c:cat>
          <c:val>
            <c:numRef>
              <c:f>Sheet1!$B$3:$D$3</c:f>
              <c:numCache>
                <c:formatCode>#,##0</c:formatCode>
                <c:ptCount val="3"/>
                <c:pt idx="0">
                  <c:v>353</c:v>
                </c:pt>
                <c:pt idx="1">
                  <c:v>129</c:v>
                </c:pt>
                <c:pt idx="2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A00-4ACE-93F2-773D0F2875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7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lnSpc>
                <a:spcPct val="90000"/>
              </a:lnSpc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1907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718198608438942"/>
          <c:y val="0.94487845529892467"/>
          <c:w val="0.65905510437398829"/>
          <c:h val="5.512154470107529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04230870008064"/>
          <c:y val="7.9076330981398324E-2"/>
          <c:w val="0.65146392340904302"/>
          <c:h val="0.72356174208179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Jun-24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Profit attributable to shareholders</c:v>
                </c:pt>
                <c:pt idx="1">
                  <c:v>Associates share of profit</c:v>
                </c:pt>
                <c:pt idx="2">
                  <c:v>Value of new business</c:v>
                </c:pt>
              </c:strCache>
            </c:strRef>
          </c:cat>
          <c:val>
            <c:numRef>
              <c:f>Sheet1!$B$2:$D$2</c:f>
              <c:numCache>
                <c:formatCode>#,##0</c:formatCode>
                <c:ptCount val="3"/>
                <c:pt idx="0">
                  <c:v>278</c:v>
                </c:pt>
                <c:pt idx="1">
                  <c:v>79</c:v>
                </c:pt>
                <c:pt idx="2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00-4ACE-93F2-773D0F28757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Jun-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2A00-4ACE-93F2-773D0F2875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Profit attributable to shareholders</c:v>
                </c:pt>
                <c:pt idx="1">
                  <c:v>Associates share of profit</c:v>
                </c:pt>
                <c:pt idx="2">
                  <c:v>Value of new business</c:v>
                </c:pt>
              </c:strCache>
            </c:strRef>
          </c:cat>
          <c:val>
            <c:numRef>
              <c:f>Sheet1!$B$3:$D$3</c:f>
              <c:numCache>
                <c:formatCode>#,##0</c:formatCode>
                <c:ptCount val="3"/>
                <c:pt idx="0">
                  <c:v>353</c:v>
                </c:pt>
                <c:pt idx="1">
                  <c:v>129</c:v>
                </c:pt>
                <c:pt idx="2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A00-4ACE-93F2-773D0F2875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7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lnSpc>
                <a:spcPct val="90000"/>
              </a:lnSpc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19072"/>
        <c:crosses val="autoZero"/>
        <c:crossBetween val="between"/>
      </c:valAx>
      <c:spPr>
        <a:solidFill>
          <a:schemeClr val="bg1"/>
        </a:solidFill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718198608438942"/>
          <c:y val="0.94487845529892467"/>
          <c:w val="0.65905510437398829"/>
          <c:h val="5.512154470107529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299005928675425E-2"/>
          <c:y val="7.8635911370604009E-2"/>
          <c:w val="0.82914413460158964"/>
          <c:h val="0.72356174208179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Jun-24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dLbl>
              <c:idx val="1"/>
              <c:layout>
                <c:manualLayout>
                  <c:x val="1.08005935734087E-3"/>
                  <c:y val="2.565747273893615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F27-4BCA-823D-922AB983BA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Net Insurance service result</c:v>
                </c:pt>
                <c:pt idx="1">
                  <c:v>Investment service result</c:v>
                </c:pt>
              </c:strCache>
            </c:strRef>
          </c:cat>
          <c:val>
            <c:numRef>
              <c:f>Sheet1!$B$2:$C$2</c:f>
              <c:numCache>
                <c:formatCode>#,##0</c:formatCode>
                <c:ptCount val="2"/>
                <c:pt idx="0">
                  <c:v>87</c:v>
                </c:pt>
                <c:pt idx="1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66-41AA-A11B-9E67346C0B80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Jun-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Net Insurance service result</c:v>
                </c:pt>
                <c:pt idx="1">
                  <c:v>Investment service result</c:v>
                </c:pt>
              </c:strCache>
            </c:strRef>
          </c:cat>
          <c:val>
            <c:numRef>
              <c:f>Sheet1!$B$3:$C$3</c:f>
              <c:numCache>
                <c:formatCode>#,##0</c:formatCode>
                <c:ptCount val="2"/>
                <c:pt idx="0">
                  <c:v>73</c:v>
                </c:pt>
                <c:pt idx="1">
                  <c:v>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D66-41AA-A11B-9E67346C0B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7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lnSpc>
                <a:spcPct val="80000"/>
              </a:lnSpc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0408907070927497"/>
          <c:y val="0.93974696075113762"/>
          <c:w val="0.19182177353740615"/>
          <c:h val="5.512154470107529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299005928675425E-2"/>
          <c:y val="7.9076330981398338E-2"/>
          <c:w val="0.82914413460158964"/>
          <c:h val="0.721590561282469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Jun-24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6EC4-43E9-B570-211237690C5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BLIL</c:v>
                </c:pt>
                <c:pt idx="1">
                  <c:v>Bifm Holdings</c:v>
                </c:pt>
                <c:pt idx="2">
                  <c:v>NICO Holdings</c:v>
                </c:pt>
                <c:pt idx="3">
                  <c:v>*BIC</c:v>
                </c:pt>
                <c:pt idx="4">
                  <c:v>LAHL</c:v>
                </c:pt>
                <c:pt idx="5">
                  <c:v>Profit on disposal - FSG</c:v>
                </c:pt>
              </c:strCache>
            </c:strRef>
          </c:cat>
          <c:val>
            <c:numRef>
              <c:f>Sheet1!$B$2:$G$2</c:f>
              <c:numCache>
                <c:formatCode>#,##0</c:formatCode>
                <c:ptCount val="6"/>
                <c:pt idx="0">
                  <c:v>191</c:v>
                </c:pt>
                <c:pt idx="1">
                  <c:v>68</c:v>
                </c:pt>
                <c:pt idx="2">
                  <c:v>54</c:v>
                </c:pt>
                <c:pt idx="3">
                  <c:v>16</c:v>
                </c:pt>
                <c:pt idx="4">
                  <c:v>-1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1D-48FC-92F1-E5CAA5552AF0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Jun-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G$1</c:f>
              <c:strCache>
                <c:ptCount val="6"/>
                <c:pt idx="0">
                  <c:v>BLIL</c:v>
                </c:pt>
                <c:pt idx="1">
                  <c:v>Bifm Holdings</c:v>
                </c:pt>
                <c:pt idx="2">
                  <c:v>NICO Holdings</c:v>
                </c:pt>
                <c:pt idx="3">
                  <c:v>*BIC</c:v>
                </c:pt>
                <c:pt idx="4">
                  <c:v>LAHL</c:v>
                </c:pt>
                <c:pt idx="5">
                  <c:v>Profit on disposal - FSG</c:v>
                </c:pt>
              </c:strCache>
            </c:strRef>
          </c:cat>
          <c:val>
            <c:numRef>
              <c:f>Sheet1!$B$3:$G$3</c:f>
              <c:numCache>
                <c:formatCode>#,##0</c:formatCode>
                <c:ptCount val="6"/>
                <c:pt idx="0">
                  <c:v>388</c:v>
                </c:pt>
                <c:pt idx="1">
                  <c:v>53</c:v>
                </c:pt>
                <c:pt idx="2">
                  <c:v>59</c:v>
                </c:pt>
                <c:pt idx="3">
                  <c:v>15</c:v>
                </c:pt>
                <c:pt idx="4">
                  <c:v>51</c:v>
                </c:pt>
                <c:pt idx="5">
                  <c:v>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1D-48FC-92F1-E5CAA5552A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0408907070927497"/>
          <c:y val="0.93974696075113762"/>
          <c:w val="0.19182177353740615"/>
          <c:h val="5.512154470107529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09701114737725"/>
          <c:y val="0.12225361502679388"/>
          <c:w val="0.5793129868956699"/>
          <c:h val="0.6775993090664821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tx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CB5-4492-B0DE-575C52089D57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6CB5-4492-B0DE-575C52089D57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6CB5-4492-B0DE-575C52089D57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6CB5-4492-B0DE-575C52089D57}"/>
              </c:ext>
            </c:extLst>
          </c:dPt>
          <c:dPt>
            <c:idx val="4"/>
            <c:bubble3D val="0"/>
            <c:spPr>
              <a:gradFill flip="none" rotWithShape="1">
                <a:gsLst>
                  <a:gs pos="0">
                    <a:schemeClr val="tx2"/>
                  </a:gs>
                  <a:gs pos="100000">
                    <a:srgbClr val="E2E3E4"/>
                  </a:gs>
                </a:gsLst>
                <a:lin ang="5400000" scaled="1"/>
                <a:tileRect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6CB5-4492-B0DE-575C52089D57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6CB5-4492-B0DE-575C52089D57}"/>
              </c:ext>
            </c:extLst>
          </c:dPt>
          <c:dLbls>
            <c:dLbl>
              <c:idx val="3"/>
              <c:layout>
                <c:manualLayout>
                  <c:x val="1.7923823749066412E-2"/>
                  <c:y val="-5.0505050505050275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CB5-4492-B0DE-575C52089D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BLIL</c:v>
                </c:pt>
                <c:pt idx="1">
                  <c:v>Bifm Holdings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>
                  <c:v>241228</c:v>
                </c:pt>
                <c:pt idx="1">
                  <c:v>368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CB5-4492-B0DE-575C52089D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1137936162572527"/>
          <c:y val="0.93974696075113762"/>
          <c:w val="0.37724110402543315"/>
          <c:h val="5.512154470107529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09701114737725"/>
          <c:y val="0.12481936230068739"/>
          <c:w val="0.57711940331763112"/>
          <c:h val="0.6750335617925886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9B8-4986-B473-BBABE3339DCB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9B8-4986-B473-BBABE3339DCB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9B8-4986-B473-BBABE3339DCB}"/>
              </c:ext>
            </c:extLst>
          </c:dPt>
          <c:dPt>
            <c:idx val="3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59B8-4986-B473-BBABE3339DCB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59B8-4986-B473-BBABE3339DCB}"/>
              </c:ext>
            </c:extLst>
          </c:dPt>
          <c:dPt>
            <c:idx val="5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59B8-4986-B473-BBABE3339DCB}"/>
              </c:ext>
            </c:extLst>
          </c:dPt>
          <c:dLbls>
            <c:dLbl>
              <c:idx val="3"/>
              <c:layout>
                <c:manualLayout>
                  <c:x val="1.7923823749066412E-2"/>
                  <c:y val="-5.0505050505050275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9B8-4986-B473-BBABE3339D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BLIL</c:v>
                </c:pt>
                <c:pt idx="1">
                  <c:v>Bifm Holdings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>
                  <c:v>127835</c:v>
                </c:pt>
                <c:pt idx="1">
                  <c:v>46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9B8-4986-B473-BBABE3339D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1137936162572527"/>
          <c:y val="0.93974696075113762"/>
          <c:w val="0.37724110402543315"/>
          <c:h val="5.512154470107529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09701114737725"/>
          <c:y val="0.12481936230068739"/>
          <c:w val="0.57711940331763112"/>
          <c:h val="0.6750335617925886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9B8-4986-B473-BBABE3339DCB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9B8-4986-B473-BBABE3339DCB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9B8-4986-B473-BBABE3339DCB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59B8-4986-B473-BBABE3339DCB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59B8-4986-B473-BBABE3339DCB}"/>
              </c:ext>
            </c:extLst>
          </c:dPt>
          <c:dPt>
            <c:idx val="5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59B8-4986-B473-BBABE3339DCB}"/>
              </c:ext>
            </c:extLst>
          </c:dPt>
          <c:dLbls>
            <c:dLbl>
              <c:idx val="3"/>
              <c:layout>
                <c:manualLayout>
                  <c:x val="6.9559053428958958E-3"/>
                  <c:y val="-5.0504815826822157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9B8-4986-B473-BBABE3339D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Aflife Zambia</c:v>
                </c:pt>
                <c:pt idx="1">
                  <c:v>*BIC</c:v>
                </c:pt>
                <c:pt idx="2">
                  <c:v>NICO Holdings</c:v>
                </c:pt>
                <c:pt idx="3">
                  <c:v>LAHL</c:v>
                </c:pt>
              </c:strCache>
            </c:strRef>
          </c:cat>
          <c:val>
            <c:numRef>
              <c:f>Sheet1!$B$2:$B$5</c:f>
              <c:numCache>
                <c:formatCode>#,##0</c:formatCode>
                <c:ptCount val="4"/>
                <c:pt idx="0">
                  <c:v>16554</c:v>
                </c:pt>
                <c:pt idx="1">
                  <c:v>17102</c:v>
                </c:pt>
                <c:pt idx="2">
                  <c:v>130480</c:v>
                </c:pt>
                <c:pt idx="3">
                  <c:v>565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9B8-4986-B473-BBABE3339D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749058184027153"/>
          <c:y val="0.89360553150868971"/>
          <c:w val="0.76501866359634052"/>
          <c:h val="0.1063944684913103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09701114737725"/>
          <c:y val="0.12481936230068739"/>
          <c:w val="0.57711940331763112"/>
          <c:h val="0.6750335617925886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x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F70-4365-8310-190775CB8E0B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F70-4365-8310-190775CB8E0B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FF70-4365-8310-190775CB8E0B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FF70-4365-8310-190775CB8E0B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FF70-4365-8310-190775CB8E0B}"/>
              </c:ext>
            </c:extLst>
          </c:dPt>
          <c:dPt>
            <c:idx val="5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FF70-4365-8310-190775CB8E0B}"/>
              </c:ext>
            </c:extLst>
          </c:dPt>
          <c:dLbls>
            <c:dLbl>
              <c:idx val="3"/>
              <c:layout>
                <c:manualLayout>
                  <c:x val="6.9559053428958958E-3"/>
                  <c:y val="-5.0504815826822157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F70-4365-8310-190775CB8E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Aflife Zambia</c:v>
                </c:pt>
                <c:pt idx="1">
                  <c:v>*BIC</c:v>
                </c:pt>
                <c:pt idx="2">
                  <c:v>NICO Holdings</c:v>
                </c:pt>
                <c:pt idx="3">
                  <c:v>LAHL</c:v>
                </c:pt>
              </c:strCache>
            </c:strRef>
          </c:cat>
          <c:val>
            <c:numRef>
              <c:f>Sheet1!$B$2:$B$5</c:f>
              <c:numCache>
                <c:formatCode>#,##0</c:formatCode>
                <c:ptCount val="4"/>
                <c:pt idx="0">
                  <c:v>7801</c:v>
                </c:pt>
                <c:pt idx="1">
                  <c:v>13989</c:v>
                </c:pt>
                <c:pt idx="2">
                  <c:v>94304</c:v>
                </c:pt>
                <c:pt idx="3">
                  <c:v>1024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F70-4365-8310-190775CB8E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749058184027153"/>
          <c:y val="0.89360553150868971"/>
          <c:w val="0.76501866359634052"/>
          <c:h val="0.1063944684913103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299005928675425E-2"/>
          <c:y val="7.9076330981398338E-2"/>
          <c:w val="0.82914413460158964"/>
          <c:h val="0.721590561282469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Jun-24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A63-498F-B147-F60A96504BB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Subsidiaires PAT</c:v>
                </c:pt>
                <c:pt idx="1">
                  <c:v>Associates share of Profit</c:v>
                </c:pt>
                <c:pt idx="2">
                  <c:v>Impairments of An associate</c:v>
                </c:pt>
                <c:pt idx="3">
                  <c:v>Profit on sales of an associate</c:v>
                </c:pt>
                <c:pt idx="4">
                  <c:v>Investment Returns</c:v>
                </c:pt>
              </c:strCache>
            </c:strRef>
          </c:cat>
          <c:val>
            <c:numRef>
              <c:f>Sheet1!$B$2:$F$2</c:f>
              <c:numCache>
                <c:formatCode>#,##0</c:formatCode>
                <c:ptCount val="5"/>
                <c:pt idx="0">
                  <c:v>166</c:v>
                </c:pt>
                <c:pt idx="1">
                  <c:v>79</c:v>
                </c:pt>
                <c:pt idx="2">
                  <c:v>-189</c:v>
                </c:pt>
                <c:pt idx="3">
                  <c:v>0</c:v>
                </c:pt>
                <c:pt idx="4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63-498F-B147-F60A96504BBA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Jun-23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Subsidiaires PAT</c:v>
                </c:pt>
                <c:pt idx="1">
                  <c:v>Associates share of Profit</c:v>
                </c:pt>
                <c:pt idx="2">
                  <c:v>Impairments of An associate</c:v>
                </c:pt>
                <c:pt idx="3">
                  <c:v>Profit on sales of an associate</c:v>
                </c:pt>
                <c:pt idx="4">
                  <c:v>Investment Returns</c:v>
                </c:pt>
              </c:strCache>
            </c:strRef>
          </c:cat>
          <c:val>
            <c:numRef>
              <c:f>Sheet1!$B$3:$F$3</c:f>
              <c:numCache>
                <c:formatCode>#,##0</c:formatCode>
                <c:ptCount val="5"/>
                <c:pt idx="0">
                  <c:v>201</c:v>
                </c:pt>
                <c:pt idx="1">
                  <c:v>129</c:v>
                </c:pt>
                <c:pt idx="2">
                  <c:v>0</c:v>
                </c:pt>
                <c:pt idx="3">
                  <c:v>142</c:v>
                </c:pt>
                <c:pt idx="4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A63-498F-B147-F60A96504BB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1151419072"/>
        <c:axId val="1151431552"/>
      </c:barChart>
      <c:catAx>
        <c:axId val="115141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31552"/>
        <c:crosses val="autoZero"/>
        <c:auto val="1"/>
        <c:lblAlgn val="ctr"/>
        <c:lblOffset val="100"/>
        <c:noMultiLvlLbl val="0"/>
      </c:catAx>
      <c:valAx>
        <c:axId val="11514315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1419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0408907070927497"/>
          <c:y val="0.93974696075113762"/>
          <c:w val="0.19182177353740615"/>
          <c:h val="5.512154470107529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+mn-lt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063206D-2F26-4410-A0EA-B5C5EEA352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CAFF9A-2B14-4AEF-9262-527DE745FE4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3E7A51-4671-4572-A7CC-2E2F765B0432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FF8E5C-3B19-4346-9E67-550D9387F64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4C8220-5E64-4B7C-A190-740852E54B9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3511B-C5F4-4B2F-9CEB-576B523CC0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21562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BEB93-9AB2-4170-A82F-13B9577C0484}" type="datetimeFigureOut">
              <a:rPr lang="en-US" smtClean="0"/>
              <a:t>9/1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1A68B7-C30D-476A-BEB0-D3EB254D56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557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A68B7-C30D-476A-BEB0-D3EB254D56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8397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4EDC6C-3739-4453-A45D-AE0109F37F0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4602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1A68B7-C30D-476A-BEB0-D3EB254D569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1660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Delivering on our promi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A68B7-C30D-476A-BEB0-D3EB254D56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62221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A68B7-C30D-476A-BEB0-D3EB254D56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6931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1A68B7-C30D-476A-BEB0-D3EB254D5690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8576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A68B7-C30D-476A-BEB0-D3EB254D56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56560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1A68B7-C30D-476A-BEB0-D3EB254D5690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8198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>
            <a:extLst>
              <a:ext uri="{FF2B5EF4-FFF2-40B4-BE49-F238E27FC236}">
                <a16:creationId xmlns:a16="http://schemas.microsoft.com/office/drawing/2014/main" id="{4DE338AA-2CF0-71A1-E224-4E059CAE8F8D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8001000" y="0"/>
            <a:ext cx="4191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C06BAA58-04E3-4F58-86C4-DEB4C7D1D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043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C06BAA58-04E3-4F58-86C4-DEB4C7D1DF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Group 70" hidden="1">
            <a:extLst>
              <a:ext uri="{FF2B5EF4-FFF2-40B4-BE49-F238E27FC236}">
                <a16:creationId xmlns:a16="http://schemas.microsoft.com/office/drawing/2014/main" id="{E4688A3A-498A-48BD-ABA5-7195E98C670F}"/>
              </a:ext>
            </a:extLst>
          </p:cNvPr>
          <p:cNvGrpSpPr/>
          <p:nvPr userDrawn="1"/>
        </p:nvGrpSpPr>
        <p:grpSpPr>
          <a:xfrm>
            <a:off x="9467620" y="3429000"/>
            <a:ext cx="2724380" cy="2236765"/>
            <a:chOff x="9467620" y="3429000"/>
            <a:chExt cx="2724380" cy="2236765"/>
          </a:xfrm>
        </p:grpSpPr>
        <p:sp>
          <p:nvSpPr>
            <p:cNvPr id="72" name="Freeform 491">
              <a:extLst>
                <a:ext uri="{FF2B5EF4-FFF2-40B4-BE49-F238E27FC236}">
                  <a16:creationId xmlns:a16="http://schemas.microsoft.com/office/drawing/2014/main" id="{E71360B6-DC8F-403F-A732-5D9FF3776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7620" y="3475348"/>
              <a:ext cx="514988" cy="817115"/>
            </a:xfrm>
            <a:custGeom>
              <a:avLst/>
              <a:gdLst>
                <a:gd name="T0" fmla="*/ 661 w 1323"/>
                <a:gd name="T1" fmla="*/ 2091 h 2091"/>
                <a:gd name="T2" fmla="*/ 0 w 1323"/>
                <a:gd name="T3" fmla="*/ 1382 h 2091"/>
                <a:gd name="T4" fmla="*/ 867 w 1323"/>
                <a:gd name="T5" fmla="*/ 0 h 2091"/>
                <a:gd name="T6" fmla="*/ 366 w 1323"/>
                <a:gd name="T7" fmla="*/ 702 h 2091"/>
                <a:gd name="T8" fmla="*/ 661 w 1323"/>
                <a:gd name="T9" fmla="*/ 624 h 2091"/>
                <a:gd name="T10" fmla="*/ 1323 w 1323"/>
                <a:gd name="T11" fmla="*/ 1354 h 2091"/>
                <a:gd name="T12" fmla="*/ 661 w 1323"/>
                <a:gd name="T13" fmla="*/ 2091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3" h="2091">
                  <a:moveTo>
                    <a:pt x="661" y="2091"/>
                  </a:moveTo>
                  <a:cubicBezTo>
                    <a:pt x="276" y="2091"/>
                    <a:pt x="0" y="1730"/>
                    <a:pt x="0" y="1382"/>
                  </a:cubicBezTo>
                  <a:cubicBezTo>
                    <a:pt x="0" y="361"/>
                    <a:pt x="867" y="0"/>
                    <a:pt x="867" y="0"/>
                  </a:cubicBezTo>
                  <a:cubicBezTo>
                    <a:pt x="867" y="0"/>
                    <a:pt x="443" y="290"/>
                    <a:pt x="366" y="702"/>
                  </a:cubicBezTo>
                  <a:cubicBezTo>
                    <a:pt x="456" y="652"/>
                    <a:pt x="559" y="624"/>
                    <a:pt x="661" y="624"/>
                  </a:cubicBezTo>
                  <a:cubicBezTo>
                    <a:pt x="1028" y="624"/>
                    <a:pt x="1323" y="957"/>
                    <a:pt x="1323" y="1354"/>
                  </a:cubicBezTo>
                  <a:cubicBezTo>
                    <a:pt x="1323" y="1779"/>
                    <a:pt x="1002" y="2091"/>
                    <a:pt x="661" y="209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2">
              <a:extLst>
                <a:ext uri="{FF2B5EF4-FFF2-40B4-BE49-F238E27FC236}">
                  <a16:creationId xmlns:a16="http://schemas.microsoft.com/office/drawing/2014/main" id="{8F7CC2B7-3C11-49CC-9AA3-B778B0F2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5114" y="3429000"/>
              <a:ext cx="1055726" cy="1560415"/>
            </a:xfrm>
            <a:custGeom>
              <a:avLst/>
              <a:gdLst>
                <a:gd name="T0" fmla="*/ 2467 w 2705"/>
                <a:gd name="T1" fmla="*/ 823 h 3992"/>
                <a:gd name="T2" fmla="*/ 701 w 2705"/>
                <a:gd name="T3" fmla="*/ 0 h 3992"/>
                <a:gd name="T4" fmla="*/ 1324 w 2705"/>
                <a:gd name="T5" fmla="*/ 1709 h 3992"/>
                <a:gd name="T6" fmla="*/ 0 w 2705"/>
                <a:gd name="T7" fmla="*/ 3992 h 3992"/>
                <a:gd name="T8" fmla="*/ 2326 w 2705"/>
                <a:gd name="T9" fmla="*/ 2298 h 3992"/>
                <a:gd name="T10" fmla="*/ 2467 w 2705"/>
                <a:gd name="T11" fmla="*/ 823 h 3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05" h="3992">
                  <a:moveTo>
                    <a:pt x="2467" y="823"/>
                  </a:moveTo>
                  <a:cubicBezTo>
                    <a:pt x="2268" y="426"/>
                    <a:pt x="1729" y="0"/>
                    <a:pt x="701" y="0"/>
                  </a:cubicBezTo>
                  <a:cubicBezTo>
                    <a:pt x="1337" y="177"/>
                    <a:pt x="1472" y="1120"/>
                    <a:pt x="1324" y="1709"/>
                  </a:cubicBezTo>
                  <a:cubicBezTo>
                    <a:pt x="1137" y="2446"/>
                    <a:pt x="84" y="3638"/>
                    <a:pt x="0" y="3992"/>
                  </a:cubicBezTo>
                  <a:cubicBezTo>
                    <a:pt x="424" y="3418"/>
                    <a:pt x="1934" y="2766"/>
                    <a:pt x="2326" y="2298"/>
                  </a:cubicBezTo>
                  <a:cubicBezTo>
                    <a:pt x="2686" y="1858"/>
                    <a:pt x="2705" y="1291"/>
                    <a:pt x="2467" y="82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93">
              <a:extLst>
                <a:ext uri="{FF2B5EF4-FFF2-40B4-BE49-F238E27FC236}">
                  <a16:creationId xmlns:a16="http://schemas.microsoft.com/office/drawing/2014/main" id="{50EB8D1F-8C10-470C-A1E0-842F0CBBD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4786" y="5003147"/>
              <a:ext cx="1282321" cy="662618"/>
            </a:xfrm>
            <a:custGeom>
              <a:avLst/>
              <a:gdLst>
                <a:gd name="T0" fmla="*/ 3257 w 3289"/>
                <a:gd name="T1" fmla="*/ 0 h 1694"/>
                <a:gd name="T2" fmla="*/ 2608 w 3289"/>
                <a:gd name="T3" fmla="*/ 411 h 1694"/>
                <a:gd name="T4" fmla="*/ 1464 w 3289"/>
                <a:gd name="T5" fmla="*/ 347 h 1694"/>
                <a:gd name="T6" fmla="*/ 559 w 3289"/>
                <a:gd name="T7" fmla="*/ 468 h 1694"/>
                <a:gd name="T8" fmla="*/ 0 w 3289"/>
                <a:gd name="T9" fmla="*/ 1014 h 1694"/>
                <a:gd name="T10" fmla="*/ 38 w 3289"/>
                <a:gd name="T11" fmla="*/ 971 h 1694"/>
                <a:gd name="T12" fmla="*/ 430 w 3289"/>
                <a:gd name="T13" fmla="*/ 787 h 1694"/>
                <a:gd name="T14" fmla="*/ 1201 w 3289"/>
                <a:gd name="T15" fmla="*/ 1141 h 1694"/>
                <a:gd name="T16" fmla="*/ 2235 w 3289"/>
                <a:gd name="T17" fmla="*/ 1631 h 1694"/>
                <a:gd name="T18" fmla="*/ 3180 w 3289"/>
                <a:gd name="T19" fmla="*/ 780 h 1694"/>
                <a:gd name="T20" fmla="*/ 3257 w 3289"/>
                <a:gd name="T21" fmla="*/ 0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89" h="1694">
                  <a:moveTo>
                    <a:pt x="3257" y="0"/>
                  </a:moveTo>
                  <a:cubicBezTo>
                    <a:pt x="3173" y="241"/>
                    <a:pt x="2993" y="411"/>
                    <a:pt x="2608" y="411"/>
                  </a:cubicBezTo>
                  <a:cubicBezTo>
                    <a:pt x="2222" y="411"/>
                    <a:pt x="1843" y="368"/>
                    <a:pt x="1464" y="347"/>
                  </a:cubicBezTo>
                  <a:cubicBezTo>
                    <a:pt x="1156" y="326"/>
                    <a:pt x="841" y="333"/>
                    <a:pt x="559" y="468"/>
                  </a:cubicBezTo>
                  <a:cubicBezTo>
                    <a:pt x="308" y="588"/>
                    <a:pt x="122" y="773"/>
                    <a:pt x="0" y="1014"/>
                  </a:cubicBezTo>
                  <a:cubicBezTo>
                    <a:pt x="12" y="1000"/>
                    <a:pt x="19" y="985"/>
                    <a:pt x="38" y="971"/>
                  </a:cubicBezTo>
                  <a:cubicBezTo>
                    <a:pt x="141" y="858"/>
                    <a:pt x="282" y="787"/>
                    <a:pt x="430" y="787"/>
                  </a:cubicBezTo>
                  <a:cubicBezTo>
                    <a:pt x="726" y="787"/>
                    <a:pt x="957" y="922"/>
                    <a:pt x="1201" y="1141"/>
                  </a:cubicBezTo>
                  <a:cubicBezTo>
                    <a:pt x="1497" y="1411"/>
                    <a:pt x="1818" y="1694"/>
                    <a:pt x="2235" y="1631"/>
                  </a:cubicBezTo>
                  <a:cubicBezTo>
                    <a:pt x="2679" y="1560"/>
                    <a:pt x="3032" y="1219"/>
                    <a:pt x="3180" y="780"/>
                  </a:cubicBezTo>
                  <a:cubicBezTo>
                    <a:pt x="3289" y="489"/>
                    <a:pt x="3250" y="283"/>
                    <a:pt x="325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95">
              <a:extLst>
                <a:ext uri="{FF2B5EF4-FFF2-40B4-BE49-F238E27FC236}">
                  <a16:creationId xmlns:a16="http://schemas.microsoft.com/office/drawing/2014/main" id="{A1A272E9-3F1D-4409-B858-A311BC59A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1686" y="3429000"/>
              <a:ext cx="715834" cy="2212733"/>
            </a:xfrm>
            <a:custGeom>
              <a:avLst/>
              <a:gdLst>
                <a:gd name="T0" fmla="*/ 1838 w 1838"/>
                <a:gd name="T1" fmla="*/ 0 h 5659"/>
                <a:gd name="T2" fmla="*/ 1221 w 1838"/>
                <a:gd name="T3" fmla="*/ 1645 h 5659"/>
                <a:gd name="T4" fmla="*/ 1201 w 1838"/>
                <a:gd name="T5" fmla="*/ 2829 h 5659"/>
                <a:gd name="T6" fmla="*/ 1221 w 1838"/>
                <a:gd name="T7" fmla="*/ 3985 h 5659"/>
                <a:gd name="T8" fmla="*/ 1831 w 1838"/>
                <a:gd name="T9" fmla="*/ 5659 h 5659"/>
                <a:gd name="T10" fmla="*/ 0 w 1838"/>
                <a:gd name="T11" fmla="*/ 2829 h 5659"/>
                <a:gd name="T12" fmla="*/ 1838 w 1838"/>
                <a:gd name="T13" fmla="*/ 0 h 5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8" h="5659">
                  <a:moveTo>
                    <a:pt x="1838" y="0"/>
                  </a:moveTo>
                  <a:cubicBezTo>
                    <a:pt x="1703" y="121"/>
                    <a:pt x="1253" y="326"/>
                    <a:pt x="1221" y="1645"/>
                  </a:cubicBezTo>
                  <a:cubicBezTo>
                    <a:pt x="1221" y="1645"/>
                    <a:pt x="1201" y="2283"/>
                    <a:pt x="1201" y="2829"/>
                  </a:cubicBezTo>
                  <a:cubicBezTo>
                    <a:pt x="1201" y="3390"/>
                    <a:pt x="1221" y="3985"/>
                    <a:pt x="1221" y="3985"/>
                  </a:cubicBezTo>
                  <a:cubicBezTo>
                    <a:pt x="1259" y="5339"/>
                    <a:pt x="1658" y="5510"/>
                    <a:pt x="1831" y="5659"/>
                  </a:cubicBezTo>
                  <a:cubicBezTo>
                    <a:pt x="1433" y="5659"/>
                    <a:pt x="0" y="5269"/>
                    <a:pt x="0" y="2829"/>
                  </a:cubicBezTo>
                  <a:cubicBezTo>
                    <a:pt x="0" y="348"/>
                    <a:pt x="1433" y="0"/>
                    <a:pt x="183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8CBC56C-39D9-4CCD-927C-1C413FCA287F}"/>
                </a:ext>
              </a:extLst>
            </p:cNvPr>
            <p:cNvSpPr/>
            <p:nvPr userDrawn="1"/>
          </p:nvSpPr>
          <p:spPr>
            <a:xfrm>
              <a:off x="11855450" y="3429001"/>
              <a:ext cx="336550" cy="2212733"/>
            </a:xfrm>
            <a:custGeom>
              <a:avLst/>
              <a:gdLst>
                <a:gd name="connsiteX0" fmla="*/ 0 w 336550"/>
                <a:gd name="connsiteY0" fmla="*/ 0 h 2212733"/>
                <a:gd name="connsiteX1" fmla="*/ 296520 w 336550"/>
                <a:gd name="connsiteY1" fmla="*/ 94212 h 2212733"/>
                <a:gd name="connsiteX2" fmla="*/ 336550 w 336550"/>
                <a:gd name="connsiteY2" fmla="*/ 122018 h 2212733"/>
                <a:gd name="connsiteX3" fmla="*/ 336550 w 336550"/>
                <a:gd name="connsiteY3" fmla="*/ 2086108 h 2212733"/>
                <a:gd name="connsiteX4" fmla="*/ 297187 w 336550"/>
                <a:gd name="connsiteY4" fmla="*/ 2114171 h 2212733"/>
                <a:gd name="connsiteX5" fmla="*/ 2733 w 336550"/>
                <a:gd name="connsiteY5" fmla="*/ 2212733 h 2212733"/>
                <a:gd name="connsiteX6" fmla="*/ 238533 w 336550"/>
                <a:gd name="connsiteY6" fmla="*/ 1558180 h 2212733"/>
                <a:gd name="connsiteX7" fmla="*/ 248293 w 336550"/>
                <a:gd name="connsiteY7" fmla="*/ 1106171 h 2212733"/>
                <a:gd name="connsiteX8" fmla="*/ 238533 w 336550"/>
                <a:gd name="connsiteY8" fmla="*/ 643214 h 2212733"/>
                <a:gd name="connsiteX9" fmla="*/ 0 w 336550"/>
                <a:gd name="connsiteY9" fmla="*/ 0 h 2212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6550" h="2212733">
                  <a:moveTo>
                    <a:pt x="0" y="0"/>
                  </a:moveTo>
                  <a:cubicBezTo>
                    <a:pt x="59292" y="0"/>
                    <a:pt x="175020" y="19135"/>
                    <a:pt x="296520" y="94212"/>
                  </a:cubicBezTo>
                  <a:lnTo>
                    <a:pt x="336550" y="122018"/>
                  </a:lnTo>
                  <a:lnTo>
                    <a:pt x="336550" y="2086108"/>
                  </a:lnTo>
                  <a:lnTo>
                    <a:pt x="297187" y="2114171"/>
                  </a:lnTo>
                  <a:cubicBezTo>
                    <a:pt x="176088" y="2191289"/>
                    <a:pt x="61000" y="2212733"/>
                    <a:pt x="2733" y="2212733"/>
                  </a:cubicBezTo>
                  <a:cubicBezTo>
                    <a:pt x="70271" y="2154472"/>
                    <a:pt x="225650" y="2087610"/>
                    <a:pt x="238533" y="1558180"/>
                  </a:cubicBezTo>
                  <a:cubicBezTo>
                    <a:pt x="238533" y="1558180"/>
                    <a:pt x="248293" y="1325529"/>
                    <a:pt x="248293" y="1106171"/>
                  </a:cubicBezTo>
                  <a:cubicBezTo>
                    <a:pt x="248293" y="892679"/>
                    <a:pt x="238533" y="643214"/>
                    <a:pt x="238533" y="643214"/>
                  </a:cubicBezTo>
                  <a:cubicBezTo>
                    <a:pt x="228382" y="127470"/>
                    <a:pt x="52704" y="47312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0ADDCB5-9E57-4079-95A0-51646C9B1A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6743" y="3200400"/>
            <a:ext cx="5443979" cy="1447800"/>
          </a:xfrm>
        </p:spPr>
        <p:txBody>
          <a:bodyPr vert="horz" lIns="0" tIns="0" anchor="b"/>
          <a:lstStyle>
            <a:lvl1pPr algn="l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5A4E60-A558-41FB-B0E4-8A59FFFE9B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5901" y="4876800"/>
            <a:ext cx="5443979" cy="14478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F147B0D-7BBC-9016-06C1-A62741B5FA0D}"/>
              </a:ext>
            </a:extLst>
          </p:cNvPr>
          <p:cNvGrpSpPr/>
          <p:nvPr userDrawn="1"/>
        </p:nvGrpSpPr>
        <p:grpSpPr>
          <a:xfrm>
            <a:off x="10515600" y="259716"/>
            <a:ext cx="1436183" cy="985137"/>
            <a:chOff x="228600" y="2150376"/>
            <a:chExt cx="2906342" cy="1993578"/>
          </a:xfrm>
          <a:solidFill>
            <a:schemeClr val="bg1"/>
          </a:solidFill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327F18DE-FE9A-E987-1155-D7BFE1647152}"/>
                </a:ext>
              </a:extLst>
            </p:cNvPr>
            <p:cNvGrpSpPr/>
            <p:nvPr userDrawn="1"/>
          </p:nvGrpSpPr>
          <p:grpSpPr>
            <a:xfrm>
              <a:off x="228600" y="3626341"/>
              <a:ext cx="2799815" cy="517613"/>
              <a:chOff x="228600" y="3626341"/>
              <a:chExt cx="2799815" cy="517613"/>
            </a:xfrm>
            <a:grpFill/>
          </p:grpSpPr>
          <p:sp>
            <p:nvSpPr>
              <p:cNvPr id="129" name="Freeform 6">
                <a:extLst>
                  <a:ext uri="{FF2B5EF4-FFF2-40B4-BE49-F238E27FC236}">
                    <a16:creationId xmlns:a16="http://schemas.microsoft.com/office/drawing/2014/main" id="{5FE9E19B-12B2-D7B6-D125-51ABB9EEEA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534" y="3955731"/>
                <a:ext cx="95922" cy="164696"/>
              </a:xfrm>
              <a:custGeom>
                <a:avLst/>
                <a:gdLst>
                  <a:gd name="T0" fmla="*/ 235 w 235"/>
                  <a:gd name="T1" fmla="*/ 1 h 398"/>
                  <a:gd name="T2" fmla="*/ 218 w 235"/>
                  <a:gd name="T3" fmla="*/ 72 h 398"/>
                  <a:gd name="T4" fmla="*/ 152 w 235"/>
                  <a:gd name="T5" fmla="*/ 80 h 398"/>
                  <a:gd name="T6" fmla="*/ 131 w 235"/>
                  <a:gd name="T7" fmla="*/ 113 h 398"/>
                  <a:gd name="T8" fmla="*/ 176 w 235"/>
                  <a:gd name="T9" fmla="*/ 114 h 398"/>
                  <a:gd name="T10" fmla="*/ 164 w 235"/>
                  <a:gd name="T11" fmla="*/ 178 h 398"/>
                  <a:gd name="T12" fmla="*/ 116 w 235"/>
                  <a:gd name="T13" fmla="*/ 178 h 398"/>
                  <a:gd name="T14" fmla="*/ 70 w 235"/>
                  <a:gd name="T15" fmla="*/ 398 h 398"/>
                  <a:gd name="T16" fmla="*/ 0 w 235"/>
                  <a:gd name="T17" fmla="*/ 398 h 398"/>
                  <a:gd name="T18" fmla="*/ 43 w 235"/>
                  <a:gd name="T19" fmla="*/ 176 h 398"/>
                  <a:gd name="T20" fmla="*/ 6 w 235"/>
                  <a:gd name="T21" fmla="*/ 176 h 398"/>
                  <a:gd name="T22" fmla="*/ 17 w 235"/>
                  <a:gd name="T23" fmla="*/ 112 h 398"/>
                  <a:gd name="T24" fmla="*/ 56 w 235"/>
                  <a:gd name="T25" fmla="*/ 112 h 398"/>
                  <a:gd name="T26" fmla="*/ 95 w 235"/>
                  <a:gd name="T27" fmla="*/ 44 h 398"/>
                  <a:gd name="T28" fmla="*/ 235 w 235"/>
                  <a:gd name="T29" fmla="*/ 1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5" h="398">
                    <a:moveTo>
                      <a:pt x="235" y="1"/>
                    </a:moveTo>
                    <a:lnTo>
                      <a:pt x="218" y="72"/>
                    </a:lnTo>
                    <a:cubicBezTo>
                      <a:pt x="218" y="72"/>
                      <a:pt x="175" y="63"/>
                      <a:pt x="152" y="80"/>
                    </a:cubicBezTo>
                    <a:cubicBezTo>
                      <a:pt x="129" y="96"/>
                      <a:pt x="131" y="113"/>
                      <a:pt x="131" y="113"/>
                    </a:cubicBezTo>
                    <a:lnTo>
                      <a:pt x="176" y="114"/>
                    </a:lnTo>
                    <a:lnTo>
                      <a:pt x="164" y="178"/>
                    </a:lnTo>
                    <a:lnTo>
                      <a:pt x="116" y="178"/>
                    </a:lnTo>
                    <a:lnTo>
                      <a:pt x="70" y="398"/>
                    </a:lnTo>
                    <a:lnTo>
                      <a:pt x="0" y="398"/>
                    </a:lnTo>
                    <a:lnTo>
                      <a:pt x="43" y="176"/>
                    </a:lnTo>
                    <a:lnTo>
                      <a:pt x="6" y="176"/>
                    </a:lnTo>
                    <a:lnTo>
                      <a:pt x="17" y="112"/>
                    </a:lnTo>
                    <a:lnTo>
                      <a:pt x="56" y="112"/>
                    </a:lnTo>
                    <a:cubicBezTo>
                      <a:pt x="56" y="112"/>
                      <a:pt x="68" y="67"/>
                      <a:pt x="95" y="44"/>
                    </a:cubicBezTo>
                    <a:cubicBezTo>
                      <a:pt x="121" y="23"/>
                      <a:pt x="169" y="0"/>
                      <a:pt x="2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0" name="Freeform 7">
                <a:extLst>
                  <a:ext uri="{FF2B5EF4-FFF2-40B4-BE49-F238E27FC236}">
                    <a16:creationId xmlns:a16="http://schemas.microsoft.com/office/drawing/2014/main" id="{B47F941A-DB0C-377F-C7AB-E48A982A01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44429" y="4002787"/>
                <a:ext cx="54295" cy="115829"/>
              </a:xfrm>
              <a:custGeom>
                <a:avLst/>
                <a:gdLst>
                  <a:gd name="T0" fmla="*/ 56 w 133"/>
                  <a:gd name="T1" fmla="*/ 0 h 281"/>
                  <a:gd name="T2" fmla="*/ 133 w 133"/>
                  <a:gd name="T3" fmla="*/ 0 h 281"/>
                  <a:gd name="T4" fmla="*/ 75 w 133"/>
                  <a:gd name="T5" fmla="*/ 281 h 281"/>
                  <a:gd name="T6" fmla="*/ 0 w 133"/>
                  <a:gd name="T7" fmla="*/ 281 h 281"/>
                  <a:gd name="T8" fmla="*/ 56 w 133"/>
                  <a:gd name="T9" fmla="*/ 0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281">
                    <a:moveTo>
                      <a:pt x="56" y="0"/>
                    </a:moveTo>
                    <a:lnTo>
                      <a:pt x="133" y="0"/>
                    </a:lnTo>
                    <a:lnTo>
                      <a:pt x="75" y="281"/>
                    </a:lnTo>
                    <a:lnTo>
                      <a:pt x="0" y="281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1" name="Freeform 8">
                <a:extLst>
                  <a:ext uri="{FF2B5EF4-FFF2-40B4-BE49-F238E27FC236}">
                    <a16:creationId xmlns:a16="http://schemas.microsoft.com/office/drawing/2014/main" id="{3048DCE3-49F2-AAB1-4D5C-99CA4AF32B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9767" y="3955731"/>
                <a:ext cx="38007" cy="30768"/>
              </a:xfrm>
              <a:custGeom>
                <a:avLst/>
                <a:gdLst>
                  <a:gd name="T0" fmla="*/ 16 w 92"/>
                  <a:gd name="T1" fmla="*/ 0 h 76"/>
                  <a:gd name="T2" fmla="*/ 92 w 92"/>
                  <a:gd name="T3" fmla="*/ 0 h 76"/>
                  <a:gd name="T4" fmla="*/ 75 w 92"/>
                  <a:gd name="T5" fmla="*/ 76 h 76"/>
                  <a:gd name="T6" fmla="*/ 0 w 92"/>
                  <a:gd name="T7" fmla="*/ 76 h 76"/>
                  <a:gd name="T8" fmla="*/ 16 w 9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76">
                    <a:moveTo>
                      <a:pt x="16" y="0"/>
                    </a:moveTo>
                    <a:lnTo>
                      <a:pt x="92" y="0"/>
                    </a:lnTo>
                    <a:lnTo>
                      <a:pt x="75" y="76"/>
                    </a:lnTo>
                    <a:lnTo>
                      <a:pt x="0" y="7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2" name="Freeform 9">
                <a:extLst>
                  <a:ext uri="{FF2B5EF4-FFF2-40B4-BE49-F238E27FC236}">
                    <a16:creationId xmlns:a16="http://schemas.microsoft.com/office/drawing/2014/main" id="{5F2730A5-C5D4-1F17-283B-27BF22C1913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8600" y="3966590"/>
                <a:ext cx="123069" cy="152026"/>
              </a:xfrm>
              <a:custGeom>
                <a:avLst/>
                <a:gdLst>
                  <a:gd name="T0" fmla="*/ 286 w 299"/>
                  <a:gd name="T1" fmla="*/ 89 h 371"/>
                  <a:gd name="T2" fmla="*/ 220 w 299"/>
                  <a:gd name="T3" fmla="*/ 3 h 371"/>
                  <a:gd name="T4" fmla="*/ 72 w 299"/>
                  <a:gd name="T5" fmla="*/ 1 h 371"/>
                  <a:gd name="T6" fmla="*/ 0 w 299"/>
                  <a:gd name="T7" fmla="*/ 368 h 371"/>
                  <a:gd name="T8" fmla="*/ 104 w 299"/>
                  <a:gd name="T9" fmla="*/ 371 h 371"/>
                  <a:gd name="T10" fmla="*/ 274 w 299"/>
                  <a:gd name="T11" fmla="*/ 271 h 371"/>
                  <a:gd name="T12" fmla="*/ 245 w 299"/>
                  <a:gd name="T13" fmla="*/ 169 h 371"/>
                  <a:gd name="T14" fmla="*/ 286 w 299"/>
                  <a:gd name="T15" fmla="*/ 89 h 371"/>
                  <a:gd name="T16" fmla="*/ 206 w 299"/>
                  <a:gd name="T17" fmla="*/ 114 h 371"/>
                  <a:gd name="T18" fmla="*/ 132 w 299"/>
                  <a:gd name="T19" fmla="*/ 157 h 371"/>
                  <a:gd name="T20" fmla="*/ 131 w 299"/>
                  <a:gd name="T21" fmla="*/ 171 h 371"/>
                  <a:gd name="T22" fmla="*/ 200 w 299"/>
                  <a:gd name="T23" fmla="*/ 252 h 371"/>
                  <a:gd name="T24" fmla="*/ 131 w 299"/>
                  <a:gd name="T25" fmla="*/ 298 h 371"/>
                  <a:gd name="T26" fmla="*/ 83 w 299"/>
                  <a:gd name="T27" fmla="*/ 301 h 371"/>
                  <a:gd name="T28" fmla="*/ 130 w 299"/>
                  <a:gd name="T29" fmla="*/ 70 h 371"/>
                  <a:gd name="T30" fmla="*/ 206 w 299"/>
                  <a:gd name="T31" fmla="*/ 114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9" h="371">
                    <a:moveTo>
                      <a:pt x="286" y="89"/>
                    </a:moveTo>
                    <a:cubicBezTo>
                      <a:pt x="292" y="36"/>
                      <a:pt x="243" y="7"/>
                      <a:pt x="220" y="3"/>
                    </a:cubicBezTo>
                    <a:cubicBezTo>
                      <a:pt x="197" y="0"/>
                      <a:pt x="72" y="1"/>
                      <a:pt x="72" y="1"/>
                    </a:cubicBezTo>
                    <a:lnTo>
                      <a:pt x="0" y="368"/>
                    </a:lnTo>
                    <a:lnTo>
                      <a:pt x="104" y="371"/>
                    </a:lnTo>
                    <a:cubicBezTo>
                      <a:pt x="104" y="371"/>
                      <a:pt x="237" y="367"/>
                      <a:pt x="274" y="271"/>
                    </a:cubicBezTo>
                    <a:cubicBezTo>
                      <a:pt x="299" y="208"/>
                      <a:pt x="245" y="169"/>
                      <a:pt x="245" y="169"/>
                    </a:cubicBezTo>
                    <a:cubicBezTo>
                      <a:pt x="245" y="169"/>
                      <a:pt x="280" y="142"/>
                      <a:pt x="286" y="89"/>
                    </a:cubicBezTo>
                    <a:close/>
                    <a:moveTo>
                      <a:pt x="206" y="114"/>
                    </a:moveTo>
                    <a:cubicBezTo>
                      <a:pt x="198" y="160"/>
                      <a:pt x="132" y="157"/>
                      <a:pt x="132" y="157"/>
                    </a:cubicBezTo>
                    <a:cubicBezTo>
                      <a:pt x="132" y="157"/>
                      <a:pt x="132" y="171"/>
                      <a:pt x="131" y="171"/>
                    </a:cubicBezTo>
                    <a:cubicBezTo>
                      <a:pt x="153" y="173"/>
                      <a:pt x="214" y="209"/>
                      <a:pt x="200" y="252"/>
                    </a:cubicBezTo>
                    <a:cubicBezTo>
                      <a:pt x="184" y="301"/>
                      <a:pt x="131" y="298"/>
                      <a:pt x="131" y="298"/>
                    </a:cubicBezTo>
                    <a:lnTo>
                      <a:pt x="83" y="301"/>
                    </a:lnTo>
                    <a:lnTo>
                      <a:pt x="130" y="70"/>
                    </a:lnTo>
                    <a:cubicBezTo>
                      <a:pt x="130" y="70"/>
                      <a:pt x="214" y="68"/>
                      <a:pt x="20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3" name="Freeform 10">
                <a:extLst>
                  <a:ext uri="{FF2B5EF4-FFF2-40B4-BE49-F238E27FC236}">
                    <a16:creationId xmlns:a16="http://schemas.microsoft.com/office/drawing/2014/main" id="{9DCEEAC5-C283-FB87-9DFE-0C021BFEC0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06" y="3695115"/>
                <a:ext cx="369206" cy="238898"/>
              </a:xfrm>
              <a:custGeom>
                <a:avLst/>
                <a:gdLst>
                  <a:gd name="T0" fmla="*/ 826 w 897"/>
                  <a:gd name="T1" fmla="*/ 0 h 583"/>
                  <a:gd name="T2" fmla="*/ 896 w 897"/>
                  <a:gd name="T3" fmla="*/ 150 h 583"/>
                  <a:gd name="T4" fmla="*/ 480 w 897"/>
                  <a:gd name="T5" fmla="*/ 352 h 583"/>
                  <a:gd name="T6" fmla="*/ 256 w 897"/>
                  <a:gd name="T7" fmla="*/ 519 h 583"/>
                  <a:gd name="T8" fmla="*/ 0 w 897"/>
                  <a:gd name="T9" fmla="*/ 564 h 583"/>
                  <a:gd name="T10" fmla="*/ 113 w 897"/>
                  <a:gd name="T11" fmla="*/ 542 h 583"/>
                  <a:gd name="T12" fmla="*/ 490 w 897"/>
                  <a:gd name="T13" fmla="*/ 279 h 583"/>
                  <a:gd name="T14" fmla="*/ 819 w 897"/>
                  <a:gd name="T15" fmla="*/ 125 h 583"/>
                  <a:gd name="T16" fmla="*/ 826 w 897"/>
                  <a:gd name="T17" fmla="*/ 0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7" h="583">
                    <a:moveTo>
                      <a:pt x="826" y="0"/>
                    </a:moveTo>
                    <a:cubicBezTo>
                      <a:pt x="829" y="16"/>
                      <a:pt x="842" y="96"/>
                      <a:pt x="896" y="150"/>
                    </a:cubicBezTo>
                    <a:cubicBezTo>
                      <a:pt x="897" y="151"/>
                      <a:pt x="639" y="237"/>
                      <a:pt x="480" y="352"/>
                    </a:cubicBezTo>
                    <a:cubicBezTo>
                      <a:pt x="396" y="412"/>
                      <a:pt x="313" y="486"/>
                      <a:pt x="256" y="519"/>
                    </a:cubicBezTo>
                    <a:cubicBezTo>
                      <a:pt x="145" y="583"/>
                      <a:pt x="0" y="576"/>
                      <a:pt x="0" y="564"/>
                    </a:cubicBezTo>
                    <a:cubicBezTo>
                      <a:pt x="0" y="551"/>
                      <a:pt x="36" y="566"/>
                      <a:pt x="113" y="542"/>
                    </a:cubicBezTo>
                    <a:cubicBezTo>
                      <a:pt x="223" y="507"/>
                      <a:pt x="387" y="351"/>
                      <a:pt x="490" y="279"/>
                    </a:cubicBezTo>
                    <a:cubicBezTo>
                      <a:pt x="613" y="197"/>
                      <a:pt x="782" y="137"/>
                      <a:pt x="819" y="125"/>
                    </a:cubicBezTo>
                    <a:cubicBezTo>
                      <a:pt x="819" y="114"/>
                      <a:pt x="804" y="30"/>
                      <a:pt x="8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4" name="Freeform 11">
                <a:extLst>
                  <a:ext uri="{FF2B5EF4-FFF2-40B4-BE49-F238E27FC236}">
                    <a16:creationId xmlns:a16="http://schemas.microsoft.com/office/drawing/2014/main" id="{5912668A-27D2-7BB4-D7FC-26EA5A7619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7773" y="3852570"/>
                <a:ext cx="342059" cy="191843"/>
              </a:xfrm>
              <a:custGeom>
                <a:avLst/>
                <a:gdLst>
                  <a:gd name="T0" fmla="*/ 0 w 834"/>
                  <a:gd name="T1" fmla="*/ 120 h 464"/>
                  <a:gd name="T2" fmla="*/ 156 w 834"/>
                  <a:gd name="T3" fmla="*/ 65 h 464"/>
                  <a:gd name="T4" fmla="*/ 508 w 834"/>
                  <a:gd name="T5" fmla="*/ 183 h 464"/>
                  <a:gd name="T6" fmla="*/ 448 w 834"/>
                  <a:gd name="T7" fmla="*/ 58 h 464"/>
                  <a:gd name="T8" fmla="*/ 452 w 834"/>
                  <a:gd name="T9" fmla="*/ 0 h 464"/>
                  <a:gd name="T10" fmla="*/ 600 w 834"/>
                  <a:gd name="T11" fmla="*/ 231 h 464"/>
                  <a:gd name="T12" fmla="*/ 834 w 834"/>
                  <a:gd name="T13" fmla="*/ 464 h 464"/>
                  <a:gd name="T14" fmla="*/ 649 w 834"/>
                  <a:gd name="T15" fmla="*/ 353 h 464"/>
                  <a:gd name="T16" fmla="*/ 543 w 834"/>
                  <a:gd name="T17" fmla="*/ 252 h 464"/>
                  <a:gd name="T18" fmla="*/ 462 w 834"/>
                  <a:gd name="T19" fmla="*/ 224 h 464"/>
                  <a:gd name="T20" fmla="*/ 193 w 834"/>
                  <a:gd name="T21" fmla="*/ 101 h 464"/>
                  <a:gd name="T22" fmla="*/ 0 w 834"/>
                  <a:gd name="T23" fmla="*/ 120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4" h="464">
                    <a:moveTo>
                      <a:pt x="0" y="120"/>
                    </a:moveTo>
                    <a:cubicBezTo>
                      <a:pt x="0" y="120"/>
                      <a:pt x="38" y="60"/>
                      <a:pt x="156" y="65"/>
                    </a:cubicBezTo>
                    <a:cubicBezTo>
                      <a:pt x="274" y="69"/>
                      <a:pt x="508" y="183"/>
                      <a:pt x="508" y="183"/>
                    </a:cubicBezTo>
                    <a:cubicBezTo>
                      <a:pt x="508" y="183"/>
                      <a:pt x="457" y="103"/>
                      <a:pt x="448" y="58"/>
                    </a:cubicBezTo>
                    <a:cubicBezTo>
                      <a:pt x="439" y="14"/>
                      <a:pt x="452" y="0"/>
                      <a:pt x="452" y="0"/>
                    </a:cubicBezTo>
                    <a:cubicBezTo>
                      <a:pt x="477" y="55"/>
                      <a:pt x="566" y="179"/>
                      <a:pt x="600" y="231"/>
                    </a:cubicBezTo>
                    <a:cubicBezTo>
                      <a:pt x="672" y="340"/>
                      <a:pt x="834" y="464"/>
                      <a:pt x="834" y="464"/>
                    </a:cubicBezTo>
                    <a:cubicBezTo>
                      <a:pt x="797" y="460"/>
                      <a:pt x="707" y="403"/>
                      <a:pt x="649" y="353"/>
                    </a:cubicBezTo>
                    <a:cubicBezTo>
                      <a:pt x="592" y="303"/>
                      <a:pt x="561" y="260"/>
                      <a:pt x="543" y="252"/>
                    </a:cubicBezTo>
                    <a:cubicBezTo>
                      <a:pt x="525" y="244"/>
                      <a:pt x="483" y="233"/>
                      <a:pt x="462" y="224"/>
                    </a:cubicBezTo>
                    <a:cubicBezTo>
                      <a:pt x="424" y="206"/>
                      <a:pt x="271" y="110"/>
                      <a:pt x="193" y="101"/>
                    </a:cubicBezTo>
                    <a:cubicBezTo>
                      <a:pt x="71" y="88"/>
                      <a:pt x="0" y="120"/>
                      <a:pt x="0" y="1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5" name="Freeform 12">
                <a:extLst>
                  <a:ext uri="{FF2B5EF4-FFF2-40B4-BE49-F238E27FC236}">
                    <a16:creationId xmlns:a16="http://schemas.microsoft.com/office/drawing/2014/main" id="{27BBD90F-8EEB-6CAD-A419-7E63EBCAB1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4003" y="3727692"/>
                <a:ext cx="229850" cy="106781"/>
              </a:xfrm>
              <a:custGeom>
                <a:avLst/>
                <a:gdLst>
                  <a:gd name="T0" fmla="*/ 0 w 559"/>
                  <a:gd name="T1" fmla="*/ 24 h 259"/>
                  <a:gd name="T2" fmla="*/ 68 w 559"/>
                  <a:gd name="T3" fmla="*/ 90 h 259"/>
                  <a:gd name="T4" fmla="*/ 185 w 559"/>
                  <a:gd name="T5" fmla="*/ 118 h 259"/>
                  <a:gd name="T6" fmla="*/ 87 w 559"/>
                  <a:gd name="T7" fmla="*/ 60 h 259"/>
                  <a:gd name="T8" fmla="*/ 212 w 559"/>
                  <a:gd name="T9" fmla="*/ 71 h 259"/>
                  <a:gd name="T10" fmla="*/ 320 w 559"/>
                  <a:gd name="T11" fmla="*/ 166 h 259"/>
                  <a:gd name="T12" fmla="*/ 289 w 559"/>
                  <a:gd name="T13" fmla="*/ 215 h 259"/>
                  <a:gd name="T14" fmla="*/ 434 w 559"/>
                  <a:gd name="T15" fmla="*/ 252 h 259"/>
                  <a:gd name="T16" fmla="*/ 559 w 559"/>
                  <a:gd name="T17" fmla="*/ 185 h 259"/>
                  <a:gd name="T18" fmla="*/ 433 w 559"/>
                  <a:gd name="T19" fmla="*/ 218 h 259"/>
                  <a:gd name="T20" fmla="*/ 353 w 559"/>
                  <a:gd name="T21" fmla="*/ 192 h 259"/>
                  <a:gd name="T22" fmla="*/ 361 w 559"/>
                  <a:gd name="T23" fmla="*/ 156 h 259"/>
                  <a:gd name="T24" fmla="*/ 219 w 559"/>
                  <a:gd name="T25" fmla="*/ 38 h 259"/>
                  <a:gd name="T26" fmla="*/ 0 w 559"/>
                  <a:gd name="T27" fmla="*/ 24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59" h="259">
                    <a:moveTo>
                      <a:pt x="0" y="24"/>
                    </a:moveTo>
                    <a:cubicBezTo>
                      <a:pt x="0" y="24"/>
                      <a:pt x="6" y="53"/>
                      <a:pt x="68" y="90"/>
                    </a:cubicBezTo>
                    <a:cubicBezTo>
                      <a:pt x="131" y="127"/>
                      <a:pt x="185" y="118"/>
                      <a:pt x="185" y="118"/>
                    </a:cubicBezTo>
                    <a:cubicBezTo>
                      <a:pt x="185" y="118"/>
                      <a:pt x="100" y="88"/>
                      <a:pt x="87" y="60"/>
                    </a:cubicBezTo>
                    <a:cubicBezTo>
                      <a:pt x="97" y="59"/>
                      <a:pt x="121" y="45"/>
                      <a:pt x="212" y="71"/>
                    </a:cubicBezTo>
                    <a:cubicBezTo>
                      <a:pt x="285" y="92"/>
                      <a:pt x="320" y="152"/>
                      <a:pt x="320" y="166"/>
                    </a:cubicBezTo>
                    <a:cubicBezTo>
                      <a:pt x="320" y="187"/>
                      <a:pt x="289" y="215"/>
                      <a:pt x="289" y="215"/>
                    </a:cubicBezTo>
                    <a:cubicBezTo>
                      <a:pt x="289" y="215"/>
                      <a:pt x="354" y="259"/>
                      <a:pt x="434" y="252"/>
                    </a:cubicBezTo>
                    <a:cubicBezTo>
                      <a:pt x="514" y="244"/>
                      <a:pt x="559" y="185"/>
                      <a:pt x="559" y="185"/>
                    </a:cubicBezTo>
                    <a:cubicBezTo>
                      <a:pt x="559" y="185"/>
                      <a:pt x="495" y="217"/>
                      <a:pt x="433" y="218"/>
                    </a:cubicBezTo>
                    <a:cubicBezTo>
                      <a:pt x="370" y="219"/>
                      <a:pt x="353" y="192"/>
                      <a:pt x="353" y="192"/>
                    </a:cubicBezTo>
                    <a:cubicBezTo>
                      <a:pt x="353" y="192"/>
                      <a:pt x="366" y="182"/>
                      <a:pt x="361" y="156"/>
                    </a:cubicBezTo>
                    <a:cubicBezTo>
                      <a:pt x="356" y="130"/>
                      <a:pt x="314" y="76"/>
                      <a:pt x="219" y="38"/>
                    </a:cubicBezTo>
                    <a:cubicBezTo>
                      <a:pt x="125" y="0"/>
                      <a:pt x="0" y="24"/>
                      <a:pt x="0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6" name="Freeform 13">
                <a:extLst>
                  <a:ext uri="{FF2B5EF4-FFF2-40B4-BE49-F238E27FC236}">
                    <a16:creationId xmlns:a16="http://schemas.microsoft.com/office/drawing/2014/main" id="{05C04CBD-2D13-44DC-D9A6-2DB749FFF0D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17714" y="3791036"/>
                <a:ext cx="193653" cy="110401"/>
              </a:xfrm>
              <a:custGeom>
                <a:avLst/>
                <a:gdLst>
                  <a:gd name="T0" fmla="*/ 374 w 471"/>
                  <a:gd name="T1" fmla="*/ 105 h 265"/>
                  <a:gd name="T2" fmla="*/ 301 w 471"/>
                  <a:gd name="T3" fmla="*/ 72 h 265"/>
                  <a:gd name="T4" fmla="*/ 211 w 471"/>
                  <a:gd name="T5" fmla="*/ 114 h 265"/>
                  <a:gd name="T6" fmla="*/ 125 w 471"/>
                  <a:gd name="T7" fmla="*/ 165 h 265"/>
                  <a:gd name="T8" fmla="*/ 83 w 471"/>
                  <a:gd name="T9" fmla="*/ 137 h 265"/>
                  <a:gd name="T10" fmla="*/ 73 w 471"/>
                  <a:gd name="T11" fmla="*/ 166 h 265"/>
                  <a:gd name="T12" fmla="*/ 72 w 471"/>
                  <a:gd name="T13" fmla="*/ 189 h 265"/>
                  <a:gd name="T14" fmla="*/ 35 w 471"/>
                  <a:gd name="T15" fmla="*/ 148 h 265"/>
                  <a:gd name="T16" fmla="*/ 53 w 471"/>
                  <a:gd name="T17" fmla="*/ 100 h 265"/>
                  <a:gd name="T18" fmla="*/ 33 w 471"/>
                  <a:gd name="T19" fmla="*/ 61 h 265"/>
                  <a:gd name="T20" fmla="*/ 80 w 471"/>
                  <a:gd name="T21" fmla="*/ 0 h 265"/>
                  <a:gd name="T22" fmla="*/ 27 w 471"/>
                  <a:gd name="T23" fmla="*/ 24 h 265"/>
                  <a:gd name="T24" fmla="*/ 3 w 471"/>
                  <a:gd name="T25" fmla="*/ 69 h 265"/>
                  <a:gd name="T26" fmla="*/ 21 w 471"/>
                  <a:gd name="T27" fmla="*/ 111 h 265"/>
                  <a:gd name="T28" fmla="*/ 5 w 471"/>
                  <a:gd name="T29" fmla="*/ 144 h 265"/>
                  <a:gd name="T30" fmla="*/ 16 w 471"/>
                  <a:gd name="T31" fmla="*/ 183 h 265"/>
                  <a:gd name="T32" fmla="*/ 49 w 471"/>
                  <a:gd name="T33" fmla="*/ 217 h 265"/>
                  <a:gd name="T34" fmla="*/ 62 w 471"/>
                  <a:gd name="T35" fmla="*/ 225 h 265"/>
                  <a:gd name="T36" fmla="*/ 62 w 471"/>
                  <a:gd name="T37" fmla="*/ 242 h 265"/>
                  <a:gd name="T38" fmla="*/ 86 w 471"/>
                  <a:gd name="T39" fmla="*/ 264 h 265"/>
                  <a:gd name="T40" fmla="*/ 118 w 471"/>
                  <a:gd name="T41" fmla="*/ 244 h 265"/>
                  <a:gd name="T42" fmla="*/ 132 w 471"/>
                  <a:gd name="T43" fmla="*/ 196 h 265"/>
                  <a:gd name="T44" fmla="*/ 235 w 471"/>
                  <a:gd name="T45" fmla="*/ 144 h 265"/>
                  <a:gd name="T46" fmla="*/ 282 w 471"/>
                  <a:gd name="T47" fmla="*/ 116 h 265"/>
                  <a:gd name="T48" fmla="*/ 373 w 471"/>
                  <a:gd name="T49" fmla="*/ 136 h 265"/>
                  <a:gd name="T50" fmla="*/ 471 w 471"/>
                  <a:gd name="T51" fmla="*/ 112 h 265"/>
                  <a:gd name="T52" fmla="*/ 374 w 471"/>
                  <a:gd name="T53" fmla="*/ 105 h 265"/>
                  <a:gd name="T54" fmla="*/ 79 w 471"/>
                  <a:gd name="T55" fmla="*/ 240 h 265"/>
                  <a:gd name="T56" fmla="*/ 109 w 471"/>
                  <a:gd name="T57" fmla="*/ 213 h 265"/>
                  <a:gd name="T58" fmla="*/ 79 w 471"/>
                  <a:gd name="T59" fmla="*/ 24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71" h="265">
                    <a:moveTo>
                      <a:pt x="374" y="105"/>
                    </a:moveTo>
                    <a:cubicBezTo>
                      <a:pt x="351" y="100"/>
                      <a:pt x="301" y="72"/>
                      <a:pt x="301" y="72"/>
                    </a:cubicBezTo>
                    <a:cubicBezTo>
                      <a:pt x="301" y="72"/>
                      <a:pt x="227" y="105"/>
                      <a:pt x="211" y="114"/>
                    </a:cubicBezTo>
                    <a:cubicBezTo>
                      <a:pt x="195" y="123"/>
                      <a:pt x="136" y="164"/>
                      <a:pt x="125" y="165"/>
                    </a:cubicBezTo>
                    <a:cubicBezTo>
                      <a:pt x="114" y="166"/>
                      <a:pt x="83" y="137"/>
                      <a:pt x="83" y="137"/>
                    </a:cubicBezTo>
                    <a:cubicBezTo>
                      <a:pt x="83" y="137"/>
                      <a:pt x="71" y="160"/>
                      <a:pt x="73" y="166"/>
                    </a:cubicBezTo>
                    <a:cubicBezTo>
                      <a:pt x="74" y="172"/>
                      <a:pt x="85" y="182"/>
                      <a:pt x="72" y="189"/>
                    </a:cubicBezTo>
                    <a:cubicBezTo>
                      <a:pt x="57" y="198"/>
                      <a:pt x="35" y="163"/>
                      <a:pt x="35" y="148"/>
                    </a:cubicBezTo>
                    <a:cubicBezTo>
                      <a:pt x="35" y="133"/>
                      <a:pt x="55" y="115"/>
                      <a:pt x="53" y="100"/>
                    </a:cubicBezTo>
                    <a:cubicBezTo>
                      <a:pt x="51" y="85"/>
                      <a:pt x="35" y="80"/>
                      <a:pt x="33" y="61"/>
                    </a:cubicBezTo>
                    <a:cubicBezTo>
                      <a:pt x="31" y="43"/>
                      <a:pt x="80" y="0"/>
                      <a:pt x="80" y="0"/>
                    </a:cubicBezTo>
                    <a:cubicBezTo>
                      <a:pt x="80" y="0"/>
                      <a:pt x="45" y="7"/>
                      <a:pt x="27" y="24"/>
                    </a:cubicBezTo>
                    <a:cubicBezTo>
                      <a:pt x="10" y="40"/>
                      <a:pt x="4" y="55"/>
                      <a:pt x="3" y="69"/>
                    </a:cubicBezTo>
                    <a:cubicBezTo>
                      <a:pt x="2" y="84"/>
                      <a:pt x="21" y="98"/>
                      <a:pt x="21" y="111"/>
                    </a:cubicBezTo>
                    <a:cubicBezTo>
                      <a:pt x="21" y="121"/>
                      <a:pt x="10" y="127"/>
                      <a:pt x="5" y="144"/>
                    </a:cubicBezTo>
                    <a:cubicBezTo>
                      <a:pt x="0" y="160"/>
                      <a:pt x="11" y="176"/>
                      <a:pt x="16" y="183"/>
                    </a:cubicBezTo>
                    <a:cubicBezTo>
                      <a:pt x="22" y="191"/>
                      <a:pt x="40" y="209"/>
                      <a:pt x="49" y="217"/>
                    </a:cubicBezTo>
                    <a:cubicBezTo>
                      <a:pt x="58" y="224"/>
                      <a:pt x="62" y="225"/>
                      <a:pt x="62" y="225"/>
                    </a:cubicBezTo>
                    <a:cubicBezTo>
                      <a:pt x="62" y="225"/>
                      <a:pt x="61" y="234"/>
                      <a:pt x="62" y="242"/>
                    </a:cubicBezTo>
                    <a:cubicBezTo>
                      <a:pt x="63" y="251"/>
                      <a:pt x="70" y="265"/>
                      <a:pt x="86" y="264"/>
                    </a:cubicBezTo>
                    <a:cubicBezTo>
                      <a:pt x="100" y="263"/>
                      <a:pt x="109" y="256"/>
                      <a:pt x="118" y="244"/>
                    </a:cubicBezTo>
                    <a:cubicBezTo>
                      <a:pt x="129" y="231"/>
                      <a:pt x="132" y="196"/>
                      <a:pt x="132" y="196"/>
                    </a:cubicBezTo>
                    <a:cubicBezTo>
                      <a:pt x="132" y="196"/>
                      <a:pt x="205" y="158"/>
                      <a:pt x="235" y="144"/>
                    </a:cubicBezTo>
                    <a:cubicBezTo>
                      <a:pt x="264" y="129"/>
                      <a:pt x="282" y="116"/>
                      <a:pt x="282" y="116"/>
                    </a:cubicBezTo>
                    <a:cubicBezTo>
                      <a:pt x="282" y="116"/>
                      <a:pt x="321" y="134"/>
                      <a:pt x="373" y="136"/>
                    </a:cubicBezTo>
                    <a:cubicBezTo>
                      <a:pt x="425" y="138"/>
                      <a:pt x="471" y="112"/>
                      <a:pt x="471" y="112"/>
                    </a:cubicBezTo>
                    <a:cubicBezTo>
                      <a:pt x="471" y="112"/>
                      <a:pt x="398" y="110"/>
                      <a:pt x="374" y="105"/>
                    </a:cubicBezTo>
                    <a:close/>
                    <a:moveTo>
                      <a:pt x="79" y="240"/>
                    </a:moveTo>
                    <a:cubicBezTo>
                      <a:pt x="68" y="225"/>
                      <a:pt x="100" y="199"/>
                      <a:pt x="109" y="213"/>
                    </a:cubicBezTo>
                    <a:cubicBezTo>
                      <a:pt x="116" y="227"/>
                      <a:pt x="89" y="252"/>
                      <a:pt x="79" y="2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7" name="Freeform 14">
                <a:extLst>
                  <a:ext uri="{FF2B5EF4-FFF2-40B4-BE49-F238E27FC236}">
                    <a16:creationId xmlns:a16="http://schemas.microsoft.com/office/drawing/2014/main" id="{BEF45F41-C2D3-A392-ED49-889C3D39E5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918" y="3810944"/>
                <a:ext cx="10859" cy="19909"/>
              </a:xfrm>
              <a:custGeom>
                <a:avLst/>
                <a:gdLst>
                  <a:gd name="T0" fmla="*/ 0 w 29"/>
                  <a:gd name="T1" fmla="*/ 0 h 50"/>
                  <a:gd name="T2" fmla="*/ 29 w 29"/>
                  <a:gd name="T3" fmla="*/ 36 h 50"/>
                  <a:gd name="T4" fmla="*/ 9 w 29"/>
                  <a:gd name="T5" fmla="*/ 44 h 50"/>
                  <a:gd name="T6" fmla="*/ 9 w 29"/>
                  <a:gd name="T7" fmla="*/ 27 h 50"/>
                  <a:gd name="T8" fmla="*/ 6 w 29"/>
                  <a:gd name="T9" fmla="*/ 15 h 50"/>
                  <a:gd name="T10" fmla="*/ 0 w 29"/>
                  <a:gd name="T1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50">
                    <a:moveTo>
                      <a:pt x="0" y="0"/>
                    </a:moveTo>
                    <a:cubicBezTo>
                      <a:pt x="13" y="20"/>
                      <a:pt x="29" y="23"/>
                      <a:pt x="29" y="36"/>
                    </a:cubicBezTo>
                    <a:cubicBezTo>
                      <a:pt x="28" y="43"/>
                      <a:pt x="17" y="50"/>
                      <a:pt x="9" y="44"/>
                    </a:cubicBezTo>
                    <a:cubicBezTo>
                      <a:pt x="0" y="38"/>
                      <a:pt x="9" y="27"/>
                      <a:pt x="9" y="27"/>
                    </a:cubicBezTo>
                    <a:cubicBezTo>
                      <a:pt x="9" y="27"/>
                      <a:pt x="9" y="23"/>
                      <a:pt x="6" y="15"/>
                    </a:cubicBezTo>
                    <a:cubicBezTo>
                      <a:pt x="3" y="6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" name="Freeform 15">
                <a:extLst>
                  <a:ext uri="{FF2B5EF4-FFF2-40B4-BE49-F238E27FC236}">
                    <a16:creationId xmlns:a16="http://schemas.microsoft.com/office/drawing/2014/main" id="{A02BFDA0-1B15-0431-DB87-BA83D106D0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8449" y="3991928"/>
                <a:ext cx="175555" cy="128499"/>
              </a:xfrm>
              <a:custGeom>
                <a:avLst/>
                <a:gdLst>
                  <a:gd name="T0" fmla="*/ 131 w 427"/>
                  <a:gd name="T1" fmla="*/ 32 h 315"/>
                  <a:gd name="T2" fmla="*/ 58 w 427"/>
                  <a:gd name="T3" fmla="*/ 32 h 315"/>
                  <a:gd name="T4" fmla="*/ 0 w 427"/>
                  <a:gd name="T5" fmla="*/ 315 h 315"/>
                  <a:gd name="T6" fmla="*/ 74 w 427"/>
                  <a:gd name="T7" fmla="*/ 315 h 315"/>
                  <a:gd name="T8" fmla="*/ 113 w 427"/>
                  <a:gd name="T9" fmla="*/ 122 h 315"/>
                  <a:gd name="T10" fmla="*/ 173 w 427"/>
                  <a:gd name="T11" fmla="*/ 101 h 315"/>
                  <a:gd name="T12" fmla="*/ 191 w 427"/>
                  <a:gd name="T13" fmla="*/ 121 h 315"/>
                  <a:gd name="T14" fmla="*/ 149 w 427"/>
                  <a:gd name="T15" fmla="*/ 313 h 315"/>
                  <a:gd name="T16" fmla="*/ 224 w 427"/>
                  <a:gd name="T17" fmla="*/ 313 h 315"/>
                  <a:gd name="T18" fmla="*/ 265 w 427"/>
                  <a:gd name="T19" fmla="*/ 127 h 315"/>
                  <a:gd name="T20" fmla="*/ 329 w 427"/>
                  <a:gd name="T21" fmla="*/ 103 h 315"/>
                  <a:gd name="T22" fmla="*/ 340 w 427"/>
                  <a:gd name="T23" fmla="*/ 127 h 315"/>
                  <a:gd name="T24" fmla="*/ 300 w 427"/>
                  <a:gd name="T25" fmla="*/ 313 h 315"/>
                  <a:gd name="T26" fmla="*/ 375 w 427"/>
                  <a:gd name="T27" fmla="*/ 313 h 315"/>
                  <a:gd name="T28" fmla="*/ 417 w 427"/>
                  <a:gd name="T29" fmla="*/ 106 h 315"/>
                  <a:gd name="T30" fmla="*/ 401 w 427"/>
                  <a:gd name="T31" fmla="*/ 45 h 315"/>
                  <a:gd name="T32" fmla="*/ 254 w 427"/>
                  <a:gd name="T33" fmla="*/ 58 h 315"/>
                  <a:gd name="T34" fmla="*/ 195 w 427"/>
                  <a:gd name="T35" fmla="*/ 28 h 315"/>
                  <a:gd name="T36" fmla="*/ 129 w 427"/>
                  <a:gd name="T37" fmla="*/ 49 h 315"/>
                  <a:gd name="T38" fmla="*/ 131 w 427"/>
                  <a:gd name="T39" fmla="*/ 3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7" h="315">
                    <a:moveTo>
                      <a:pt x="131" y="32"/>
                    </a:moveTo>
                    <a:lnTo>
                      <a:pt x="58" y="32"/>
                    </a:lnTo>
                    <a:lnTo>
                      <a:pt x="0" y="315"/>
                    </a:lnTo>
                    <a:lnTo>
                      <a:pt x="74" y="315"/>
                    </a:lnTo>
                    <a:lnTo>
                      <a:pt x="113" y="122"/>
                    </a:lnTo>
                    <a:cubicBezTo>
                      <a:pt x="139" y="110"/>
                      <a:pt x="142" y="101"/>
                      <a:pt x="173" y="101"/>
                    </a:cubicBezTo>
                    <a:cubicBezTo>
                      <a:pt x="197" y="101"/>
                      <a:pt x="191" y="121"/>
                      <a:pt x="191" y="121"/>
                    </a:cubicBezTo>
                    <a:lnTo>
                      <a:pt x="149" y="313"/>
                    </a:lnTo>
                    <a:lnTo>
                      <a:pt x="224" y="313"/>
                    </a:lnTo>
                    <a:lnTo>
                      <a:pt x="265" y="127"/>
                    </a:lnTo>
                    <a:cubicBezTo>
                      <a:pt x="270" y="121"/>
                      <a:pt x="310" y="101"/>
                      <a:pt x="329" y="103"/>
                    </a:cubicBezTo>
                    <a:cubicBezTo>
                      <a:pt x="347" y="105"/>
                      <a:pt x="340" y="127"/>
                      <a:pt x="340" y="127"/>
                    </a:cubicBezTo>
                    <a:lnTo>
                      <a:pt x="300" y="313"/>
                    </a:lnTo>
                    <a:lnTo>
                      <a:pt x="375" y="313"/>
                    </a:lnTo>
                    <a:lnTo>
                      <a:pt x="417" y="106"/>
                    </a:lnTo>
                    <a:cubicBezTo>
                      <a:pt x="417" y="106"/>
                      <a:pt x="427" y="65"/>
                      <a:pt x="401" y="45"/>
                    </a:cubicBezTo>
                    <a:cubicBezTo>
                      <a:pt x="344" y="0"/>
                      <a:pt x="265" y="57"/>
                      <a:pt x="254" y="58"/>
                    </a:cubicBezTo>
                    <a:cubicBezTo>
                      <a:pt x="252" y="55"/>
                      <a:pt x="237" y="31"/>
                      <a:pt x="195" y="28"/>
                    </a:cubicBezTo>
                    <a:cubicBezTo>
                      <a:pt x="165" y="25"/>
                      <a:pt x="129" y="49"/>
                      <a:pt x="129" y="49"/>
                    </a:cubicBezTo>
                    <a:lnTo>
                      <a:pt x="131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" name="Freeform 16">
                <a:extLst>
                  <a:ext uri="{FF2B5EF4-FFF2-40B4-BE49-F238E27FC236}">
                    <a16:creationId xmlns:a16="http://schemas.microsoft.com/office/drawing/2014/main" id="{014581AC-34E0-A0EA-9A7D-836F65F01A7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04993" y="4055271"/>
                <a:ext cx="57915" cy="76013"/>
              </a:xfrm>
              <a:custGeom>
                <a:avLst/>
                <a:gdLst>
                  <a:gd name="T0" fmla="*/ 32 w 142"/>
                  <a:gd name="T1" fmla="*/ 103 h 184"/>
                  <a:gd name="T2" fmla="*/ 32 w 142"/>
                  <a:gd name="T3" fmla="*/ 159 h 184"/>
                  <a:gd name="T4" fmla="*/ 82 w 142"/>
                  <a:gd name="T5" fmla="*/ 159 h 184"/>
                  <a:gd name="T6" fmla="*/ 110 w 142"/>
                  <a:gd name="T7" fmla="*/ 135 h 184"/>
                  <a:gd name="T8" fmla="*/ 101 w 142"/>
                  <a:gd name="T9" fmla="*/ 115 h 184"/>
                  <a:gd name="T10" fmla="*/ 90 w 142"/>
                  <a:gd name="T11" fmla="*/ 103 h 184"/>
                  <a:gd name="T12" fmla="*/ 32 w 142"/>
                  <a:gd name="T13" fmla="*/ 103 h 184"/>
                  <a:gd name="T14" fmla="*/ 79 w 142"/>
                  <a:gd name="T15" fmla="*/ 24 h 184"/>
                  <a:gd name="T16" fmla="*/ 32 w 142"/>
                  <a:gd name="T17" fmla="*/ 24 h 184"/>
                  <a:gd name="T18" fmla="*/ 32 w 142"/>
                  <a:gd name="T19" fmla="*/ 80 h 184"/>
                  <a:gd name="T20" fmla="*/ 89 w 142"/>
                  <a:gd name="T21" fmla="*/ 80 h 184"/>
                  <a:gd name="T22" fmla="*/ 97 w 142"/>
                  <a:gd name="T23" fmla="*/ 68 h 184"/>
                  <a:gd name="T24" fmla="*/ 104 w 142"/>
                  <a:gd name="T25" fmla="*/ 47 h 184"/>
                  <a:gd name="T26" fmla="*/ 79 w 142"/>
                  <a:gd name="T27" fmla="*/ 24 h 184"/>
                  <a:gd name="T28" fmla="*/ 21 w 142"/>
                  <a:gd name="T29" fmla="*/ 184 h 184"/>
                  <a:gd name="T30" fmla="*/ 0 w 142"/>
                  <a:gd name="T31" fmla="*/ 164 h 184"/>
                  <a:gd name="T32" fmla="*/ 0 w 142"/>
                  <a:gd name="T33" fmla="*/ 20 h 184"/>
                  <a:gd name="T34" fmla="*/ 21 w 142"/>
                  <a:gd name="T35" fmla="*/ 0 h 184"/>
                  <a:gd name="T36" fmla="*/ 83 w 142"/>
                  <a:gd name="T37" fmla="*/ 0 h 184"/>
                  <a:gd name="T38" fmla="*/ 135 w 142"/>
                  <a:gd name="T39" fmla="*/ 46 h 184"/>
                  <a:gd name="T40" fmla="*/ 124 w 142"/>
                  <a:gd name="T41" fmla="*/ 78 h 184"/>
                  <a:gd name="T42" fmla="*/ 115 w 142"/>
                  <a:gd name="T43" fmla="*/ 90 h 184"/>
                  <a:gd name="T44" fmla="*/ 127 w 142"/>
                  <a:gd name="T45" fmla="*/ 102 h 184"/>
                  <a:gd name="T46" fmla="*/ 142 w 142"/>
                  <a:gd name="T47" fmla="*/ 136 h 184"/>
                  <a:gd name="T48" fmla="*/ 84 w 142"/>
                  <a:gd name="T49" fmla="*/ 184 h 184"/>
                  <a:gd name="T50" fmla="*/ 21 w 142"/>
                  <a:gd name="T51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2" h="184">
                    <a:moveTo>
                      <a:pt x="32" y="103"/>
                    </a:moveTo>
                    <a:lnTo>
                      <a:pt x="32" y="159"/>
                    </a:lnTo>
                    <a:lnTo>
                      <a:pt x="82" y="159"/>
                    </a:lnTo>
                    <a:cubicBezTo>
                      <a:pt x="100" y="159"/>
                      <a:pt x="110" y="150"/>
                      <a:pt x="110" y="135"/>
                    </a:cubicBezTo>
                    <a:cubicBezTo>
                      <a:pt x="110" y="128"/>
                      <a:pt x="107" y="121"/>
                      <a:pt x="101" y="115"/>
                    </a:cubicBezTo>
                    <a:lnTo>
                      <a:pt x="90" y="103"/>
                    </a:lnTo>
                    <a:lnTo>
                      <a:pt x="32" y="103"/>
                    </a:lnTo>
                    <a:close/>
                    <a:moveTo>
                      <a:pt x="79" y="24"/>
                    </a:moveTo>
                    <a:lnTo>
                      <a:pt x="32" y="24"/>
                    </a:lnTo>
                    <a:lnTo>
                      <a:pt x="32" y="80"/>
                    </a:lnTo>
                    <a:lnTo>
                      <a:pt x="89" y="80"/>
                    </a:lnTo>
                    <a:lnTo>
                      <a:pt x="97" y="68"/>
                    </a:lnTo>
                    <a:cubicBezTo>
                      <a:pt x="102" y="62"/>
                      <a:pt x="104" y="55"/>
                      <a:pt x="104" y="47"/>
                    </a:cubicBezTo>
                    <a:cubicBezTo>
                      <a:pt x="104" y="34"/>
                      <a:pt x="97" y="24"/>
                      <a:pt x="79" y="24"/>
                    </a:cubicBezTo>
                    <a:close/>
                    <a:moveTo>
                      <a:pt x="21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20"/>
                    </a:lnTo>
                    <a:cubicBezTo>
                      <a:pt x="0" y="8"/>
                      <a:pt x="8" y="0"/>
                      <a:pt x="21" y="0"/>
                    </a:cubicBezTo>
                    <a:lnTo>
                      <a:pt x="83" y="0"/>
                    </a:lnTo>
                    <a:cubicBezTo>
                      <a:pt x="116" y="0"/>
                      <a:pt x="135" y="15"/>
                      <a:pt x="135" y="46"/>
                    </a:cubicBezTo>
                    <a:cubicBezTo>
                      <a:pt x="135" y="58"/>
                      <a:pt x="131" y="69"/>
                      <a:pt x="124" y="78"/>
                    </a:cubicBezTo>
                    <a:lnTo>
                      <a:pt x="115" y="90"/>
                    </a:lnTo>
                    <a:lnTo>
                      <a:pt x="127" y="102"/>
                    </a:lnTo>
                    <a:cubicBezTo>
                      <a:pt x="136" y="111"/>
                      <a:pt x="142" y="123"/>
                      <a:pt x="142" y="136"/>
                    </a:cubicBezTo>
                    <a:cubicBezTo>
                      <a:pt x="142" y="166"/>
                      <a:pt x="121" y="184"/>
                      <a:pt x="84" y="184"/>
                    </a:cubicBezTo>
                    <a:lnTo>
                      <a:pt x="21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17">
                <a:extLst>
                  <a:ext uri="{FF2B5EF4-FFF2-40B4-BE49-F238E27FC236}">
                    <a16:creationId xmlns:a16="http://schemas.microsoft.com/office/drawing/2014/main" id="{69624B74-B9F6-1417-B0E5-39C5B840D9C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71956" y="4075180"/>
                <a:ext cx="52486" cy="56105"/>
              </a:xfrm>
              <a:custGeom>
                <a:avLst/>
                <a:gdLst>
                  <a:gd name="T0" fmla="*/ 65 w 130"/>
                  <a:gd name="T1" fmla="*/ 22 h 138"/>
                  <a:gd name="T2" fmla="*/ 30 w 130"/>
                  <a:gd name="T3" fmla="*/ 69 h 138"/>
                  <a:gd name="T4" fmla="*/ 66 w 130"/>
                  <a:gd name="T5" fmla="*/ 116 h 138"/>
                  <a:gd name="T6" fmla="*/ 102 w 130"/>
                  <a:gd name="T7" fmla="*/ 69 h 138"/>
                  <a:gd name="T8" fmla="*/ 65 w 130"/>
                  <a:gd name="T9" fmla="*/ 22 h 138"/>
                  <a:gd name="T10" fmla="*/ 65 w 130"/>
                  <a:gd name="T11" fmla="*/ 138 h 138"/>
                  <a:gd name="T12" fmla="*/ 0 w 130"/>
                  <a:gd name="T13" fmla="*/ 69 h 138"/>
                  <a:gd name="T14" fmla="*/ 66 w 130"/>
                  <a:gd name="T15" fmla="*/ 0 h 138"/>
                  <a:gd name="T16" fmla="*/ 130 w 130"/>
                  <a:gd name="T17" fmla="*/ 69 h 138"/>
                  <a:gd name="T18" fmla="*/ 65 w 130"/>
                  <a:gd name="T1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8">
                    <a:moveTo>
                      <a:pt x="65" y="22"/>
                    </a:moveTo>
                    <a:cubicBezTo>
                      <a:pt x="41" y="22"/>
                      <a:pt x="30" y="39"/>
                      <a:pt x="30" y="69"/>
                    </a:cubicBezTo>
                    <a:cubicBezTo>
                      <a:pt x="30" y="100"/>
                      <a:pt x="42" y="116"/>
                      <a:pt x="66" y="116"/>
                    </a:cubicBezTo>
                    <a:cubicBezTo>
                      <a:pt x="89" y="116"/>
                      <a:pt x="102" y="100"/>
                      <a:pt x="102" y="69"/>
                    </a:cubicBezTo>
                    <a:cubicBezTo>
                      <a:pt x="102" y="39"/>
                      <a:pt x="88" y="22"/>
                      <a:pt x="65" y="22"/>
                    </a:cubicBezTo>
                    <a:close/>
                    <a:moveTo>
                      <a:pt x="65" y="138"/>
                    </a:moveTo>
                    <a:cubicBezTo>
                      <a:pt x="25" y="138"/>
                      <a:pt x="0" y="113"/>
                      <a:pt x="0" y="69"/>
                    </a:cubicBezTo>
                    <a:cubicBezTo>
                      <a:pt x="0" y="25"/>
                      <a:pt x="26" y="0"/>
                      <a:pt x="66" y="0"/>
                    </a:cubicBezTo>
                    <a:cubicBezTo>
                      <a:pt x="106" y="0"/>
                      <a:pt x="130" y="25"/>
                      <a:pt x="130" y="69"/>
                    </a:cubicBezTo>
                    <a:cubicBezTo>
                      <a:pt x="130" y="113"/>
                      <a:pt x="105" y="138"/>
                      <a:pt x="65" y="1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" name="Freeform 18">
                <a:extLst>
                  <a:ext uri="{FF2B5EF4-FFF2-40B4-BE49-F238E27FC236}">
                    <a16:creationId xmlns:a16="http://schemas.microsoft.com/office/drawing/2014/main" id="{0F401AF3-903D-528B-0D96-E49DFA1508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29871" y="4062511"/>
                <a:ext cx="39816" cy="68774"/>
              </a:xfrm>
              <a:custGeom>
                <a:avLst/>
                <a:gdLst>
                  <a:gd name="T0" fmla="*/ 95 w 95"/>
                  <a:gd name="T1" fmla="*/ 165 h 170"/>
                  <a:gd name="T2" fmla="*/ 63 w 95"/>
                  <a:gd name="T3" fmla="*/ 170 h 170"/>
                  <a:gd name="T4" fmla="*/ 20 w 95"/>
                  <a:gd name="T5" fmla="*/ 123 h 170"/>
                  <a:gd name="T6" fmla="*/ 20 w 95"/>
                  <a:gd name="T7" fmla="*/ 58 h 170"/>
                  <a:gd name="T8" fmla="*/ 0 w 95"/>
                  <a:gd name="T9" fmla="*/ 58 h 170"/>
                  <a:gd name="T10" fmla="*/ 0 w 95"/>
                  <a:gd name="T11" fmla="*/ 35 h 170"/>
                  <a:gd name="T12" fmla="*/ 20 w 95"/>
                  <a:gd name="T13" fmla="*/ 35 h 170"/>
                  <a:gd name="T14" fmla="*/ 20 w 95"/>
                  <a:gd name="T15" fmla="*/ 5 h 170"/>
                  <a:gd name="T16" fmla="*/ 48 w 95"/>
                  <a:gd name="T17" fmla="*/ 0 h 170"/>
                  <a:gd name="T18" fmla="*/ 48 w 95"/>
                  <a:gd name="T19" fmla="*/ 35 h 170"/>
                  <a:gd name="T20" fmla="*/ 91 w 95"/>
                  <a:gd name="T21" fmla="*/ 35 h 170"/>
                  <a:gd name="T22" fmla="*/ 91 w 95"/>
                  <a:gd name="T23" fmla="*/ 58 h 170"/>
                  <a:gd name="T24" fmla="*/ 48 w 95"/>
                  <a:gd name="T25" fmla="*/ 58 h 170"/>
                  <a:gd name="T26" fmla="*/ 48 w 95"/>
                  <a:gd name="T27" fmla="*/ 124 h 170"/>
                  <a:gd name="T28" fmla="*/ 67 w 95"/>
                  <a:gd name="T29" fmla="*/ 147 h 170"/>
                  <a:gd name="T30" fmla="*/ 91 w 95"/>
                  <a:gd name="T31" fmla="*/ 143 h 170"/>
                  <a:gd name="T32" fmla="*/ 95 w 95"/>
                  <a:gd name="T33" fmla="*/ 16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70">
                    <a:moveTo>
                      <a:pt x="95" y="165"/>
                    </a:moveTo>
                    <a:cubicBezTo>
                      <a:pt x="81" y="169"/>
                      <a:pt x="72" y="170"/>
                      <a:pt x="63" y="170"/>
                    </a:cubicBezTo>
                    <a:cubicBezTo>
                      <a:pt x="34" y="170"/>
                      <a:pt x="20" y="154"/>
                      <a:pt x="20" y="123"/>
                    </a:cubicBezTo>
                    <a:lnTo>
                      <a:pt x="20" y="58"/>
                    </a:lnTo>
                    <a:lnTo>
                      <a:pt x="0" y="58"/>
                    </a:lnTo>
                    <a:lnTo>
                      <a:pt x="0" y="35"/>
                    </a:lnTo>
                    <a:lnTo>
                      <a:pt x="20" y="35"/>
                    </a:lnTo>
                    <a:lnTo>
                      <a:pt x="20" y="5"/>
                    </a:lnTo>
                    <a:lnTo>
                      <a:pt x="48" y="0"/>
                    </a:lnTo>
                    <a:lnTo>
                      <a:pt x="48" y="35"/>
                    </a:lnTo>
                    <a:lnTo>
                      <a:pt x="91" y="35"/>
                    </a:lnTo>
                    <a:lnTo>
                      <a:pt x="91" y="58"/>
                    </a:lnTo>
                    <a:lnTo>
                      <a:pt x="48" y="58"/>
                    </a:lnTo>
                    <a:lnTo>
                      <a:pt x="48" y="124"/>
                    </a:lnTo>
                    <a:cubicBezTo>
                      <a:pt x="48" y="138"/>
                      <a:pt x="53" y="147"/>
                      <a:pt x="67" y="147"/>
                    </a:cubicBezTo>
                    <a:cubicBezTo>
                      <a:pt x="73" y="147"/>
                      <a:pt x="81" y="145"/>
                      <a:pt x="91" y="143"/>
                    </a:cubicBezTo>
                    <a:lnTo>
                      <a:pt x="95" y="1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2" name="Freeform 19">
                <a:extLst>
                  <a:ext uri="{FF2B5EF4-FFF2-40B4-BE49-F238E27FC236}">
                    <a16:creationId xmlns:a16="http://schemas.microsoft.com/office/drawing/2014/main" id="{FB920B78-C48E-5437-4452-9042EB0CCB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76927" y="4075180"/>
                <a:ext cx="45246" cy="56105"/>
              </a:xfrm>
              <a:custGeom>
                <a:avLst/>
                <a:gdLst>
                  <a:gd name="T0" fmla="*/ 72 w 110"/>
                  <a:gd name="T1" fmla="*/ 60 h 138"/>
                  <a:gd name="T2" fmla="*/ 110 w 110"/>
                  <a:gd name="T3" fmla="*/ 97 h 138"/>
                  <a:gd name="T4" fmla="*/ 60 w 110"/>
                  <a:gd name="T5" fmla="*/ 138 h 138"/>
                  <a:gd name="T6" fmla="*/ 11 w 110"/>
                  <a:gd name="T7" fmla="*/ 130 h 138"/>
                  <a:gd name="T8" fmla="*/ 0 w 110"/>
                  <a:gd name="T9" fmla="*/ 127 h 138"/>
                  <a:gd name="T10" fmla="*/ 4 w 110"/>
                  <a:gd name="T11" fmla="*/ 104 h 138"/>
                  <a:gd name="T12" fmla="*/ 16 w 110"/>
                  <a:gd name="T13" fmla="*/ 107 h 138"/>
                  <a:gd name="T14" fmla="*/ 59 w 110"/>
                  <a:gd name="T15" fmla="*/ 115 h 138"/>
                  <a:gd name="T16" fmla="*/ 82 w 110"/>
                  <a:gd name="T17" fmla="*/ 98 h 138"/>
                  <a:gd name="T18" fmla="*/ 63 w 110"/>
                  <a:gd name="T19" fmla="*/ 83 h 138"/>
                  <a:gd name="T20" fmla="*/ 38 w 110"/>
                  <a:gd name="T21" fmla="*/ 78 h 138"/>
                  <a:gd name="T22" fmla="*/ 0 w 110"/>
                  <a:gd name="T23" fmla="*/ 41 h 138"/>
                  <a:gd name="T24" fmla="*/ 50 w 110"/>
                  <a:gd name="T25" fmla="*/ 0 h 138"/>
                  <a:gd name="T26" fmla="*/ 99 w 110"/>
                  <a:gd name="T27" fmla="*/ 8 h 138"/>
                  <a:gd name="T28" fmla="*/ 110 w 110"/>
                  <a:gd name="T29" fmla="*/ 12 h 138"/>
                  <a:gd name="T30" fmla="*/ 106 w 110"/>
                  <a:gd name="T31" fmla="*/ 35 h 138"/>
                  <a:gd name="T32" fmla="*/ 94 w 110"/>
                  <a:gd name="T33" fmla="*/ 31 h 138"/>
                  <a:gd name="T34" fmla="*/ 51 w 110"/>
                  <a:gd name="T35" fmla="*/ 23 h 138"/>
                  <a:gd name="T36" fmla="*/ 28 w 110"/>
                  <a:gd name="T37" fmla="*/ 40 h 138"/>
                  <a:gd name="T38" fmla="*/ 47 w 110"/>
                  <a:gd name="T39" fmla="*/ 56 h 138"/>
                  <a:gd name="T40" fmla="*/ 72 w 110"/>
                  <a:gd name="T41" fmla="*/ 6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0" h="138">
                    <a:moveTo>
                      <a:pt x="72" y="60"/>
                    </a:moveTo>
                    <a:cubicBezTo>
                      <a:pt x="96" y="64"/>
                      <a:pt x="110" y="76"/>
                      <a:pt x="110" y="97"/>
                    </a:cubicBezTo>
                    <a:cubicBezTo>
                      <a:pt x="110" y="125"/>
                      <a:pt x="87" y="138"/>
                      <a:pt x="60" y="138"/>
                    </a:cubicBezTo>
                    <a:cubicBezTo>
                      <a:pt x="42" y="138"/>
                      <a:pt x="28" y="136"/>
                      <a:pt x="11" y="130"/>
                    </a:cubicBezTo>
                    <a:lnTo>
                      <a:pt x="0" y="127"/>
                    </a:lnTo>
                    <a:lnTo>
                      <a:pt x="4" y="104"/>
                    </a:lnTo>
                    <a:lnTo>
                      <a:pt x="16" y="107"/>
                    </a:lnTo>
                    <a:cubicBezTo>
                      <a:pt x="30" y="112"/>
                      <a:pt x="45" y="115"/>
                      <a:pt x="59" y="115"/>
                    </a:cubicBezTo>
                    <a:cubicBezTo>
                      <a:pt x="72" y="115"/>
                      <a:pt x="82" y="111"/>
                      <a:pt x="82" y="98"/>
                    </a:cubicBezTo>
                    <a:cubicBezTo>
                      <a:pt x="82" y="90"/>
                      <a:pt x="77" y="85"/>
                      <a:pt x="63" y="83"/>
                    </a:cubicBezTo>
                    <a:lnTo>
                      <a:pt x="38" y="78"/>
                    </a:lnTo>
                    <a:cubicBezTo>
                      <a:pt x="13" y="74"/>
                      <a:pt x="0" y="62"/>
                      <a:pt x="0" y="41"/>
                    </a:cubicBezTo>
                    <a:cubicBezTo>
                      <a:pt x="0" y="14"/>
                      <a:pt x="23" y="0"/>
                      <a:pt x="50" y="0"/>
                    </a:cubicBezTo>
                    <a:cubicBezTo>
                      <a:pt x="68" y="0"/>
                      <a:pt x="82" y="3"/>
                      <a:pt x="99" y="8"/>
                    </a:cubicBezTo>
                    <a:lnTo>
                      <a:pt x="110" y="12"/>
                    </a:lnTo>
                    <a:lnTo>
                      <a:pt x="106" y="35"/>
                    </a:lnTo>
                    <a:lnTo>
                      <a:pt x="94" y="31"/>
                    </a:lnTo>
                    <a:cubicBezTo>
                      <a:pt x="79" y="27"/>
                      <a:pt x="65" y="23"/>
                      <a:pt x="51" y="23"/>
                    </a:cubicBezTo>
                    <a:cubicBezTo>
                      <a:pt x="38" y="23"/>
                      <a:pt x="28" y="28"/>
                      <a:pt x="28" y="40"/>
                    </a:cubicBezTo>
                    <a:cubicBezTo>
                      <a:pt x="28" y="49"/>
                      <a:pt x="33" y="54"/>
                      <a:pt x="47" y="56"/>
                    </a:cubicBezTo>
                    <a:lnTo>
                      <a:pt x="72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" name="Freeform 20">
                <a:extLst>
                  <a:ext uri="{FF2B5EF4-FFF2-40B4-BE49-F238E27FC236}">
                    <a16:creationId xmlns:a16="http://schemas.microsoft.com/office/drawing/2014/main" id="{E39DB31C-E74E-E1A4-0DF5-16427C411D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29413" y="4075180"/>
                <a:ext cx="76013" cy="57915"/>
              </a:xfrm>
              <a:custGeom>
                <a:avLst/>
                <a:gdLst>
                  <a:gd name="T0" fmla="*/ 160 w 186"/>
                  <a:gd name="T1" fmla="*/ 123 h 138"/>
                  <a:gd name="T2" fmla="*/ 140 w 186"/>
                  <a:gd name="T3" fmla="*/ 138 h 138"/>
                  <a:gd name="T4" fmla="*/ 119 w 186"/>
                  <a:gd name="T5" fmla="*/ 124 h 138"/>
                  <a:gd name="T6" fmla="*/ 93 w 186"/>
                  <a:gd name="T7" fmla="*/ 42 h 138"/>
                  <a:gd name="T8" fmla="*/ 66 w 186"/>
                  <a:gd name="T9" fmla="*/ 124 h 138"/>
                  <a:gd name="T10" fmla="*/ 45 w 186"/>
                  <a:gd name="T11" fmla="*/ 138 h 138"/>
                  <a:gd name="T12" fmla="*/ 25 w 186"/>
                  <a:gd name="T13" fmla="*/ 123 h 138"/>
                  <a:gd name="T14" fmla="*/ 0 w 186"/>
                  <a:gd name="T15" fmla="*/ 1 h 138"/>
                  <a:gd name="T16" fmla="*/ 30 w 186"/>
                  <a:gd name="T17" fmla="*/ 1 h 138"/>
                  <a:gd name="T18" fmla="*/ 48 w 186"/>
                  <a:gd name="T19" fmla="*/ 105 h 138"/>
                  <a:gd name="T20" fmla="*/ 77 w 186"/>
                  <a:gd name="T21" fmla="*/ 11 h 138"/>
                  <a:gd name="T22" fmla="*/ 93 w 186"/>
                  <a:gd name="T23" fmla="*/ 0 h 138"/>
                  <a:gd name="T24" fmla="*/ 110 w 186"/>
                  <a:gd name="T25" fmla="*/ 11 h 138"/>
                  <a:gd name="T26" fmla="*/ 139 w 186"/>
                  <a:gd name="T27" fmla="*/ 105 h 138"/>
                  <a:gd name="T28" fmla="*/ 157 w 186"/>
                  <a:gd name="T29" fmla="*/ 1 h 138"/>
                  <a:gd name="T30" fmla="*/ 186 w 186"/>
                  <a:gd name="T31" fmla="*/ 1 h 138"/>
                  <a:gd name="T32" fmla="*/ 160 w 186"/>
                  <a:gd name="T33" fmla="*/ 123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6" h="138">
                    <a:moveTo>
                      <a:pt x="160" y="123"/>
                    </a:moveTo>
                    <a:cubicBezTo>
                      <a:pt x="158" y="132"/>
                      <a:pt x="150" y="138"/>
                      <a:pt x="140" y="138"/>
                    </a:cubicBezTo>
                    <a:cubicBezTo>
                      <a:pt x="127" y="138"/>
                      <a:pt x="122" y="133"/>
                      <a:pt x="119" y="124"/>
                    </a:cubicBezTo>
                    <a:lnTo>
                      <a:pt x="93" y="42"/>
                    </a:lnTo>
                    <a:lnTo>
                      <a:pt x="66" y="124"/>
                    </a:lnTo>
                    <a:cubicBezTo>
                      <a:pt x="63" y="134"/>
                      <a:pt x="56" y="138"/>
                      <a:pt x="45" y="138"/>
                    </a:cubicBezTo>
                    <a:cubicBezTo>
                      <a:pt x="34" y="138"/>
                      <a:pt x="27" y="133"/>
                      <a:pt x="25" y="123"/>
                    </a:cubicBezTo>
                    <a:lnTo>
                      <a:pt x="0" y="1"/>
                    </a:lnTo>
                    <a:lnTo>
                      <a:pt x="30" y="1"/>
                    </a:lnTo>
                    <a:lnTo>
                      <a:pt x="48" y="105"/>
                    </a:lnTo>
                    <a:lnTo>
                      <a:pt x="77" y="11"/>
                    </a:lnTo>
                    <a:cubicBezTo>
                      <a:pt x="79" y="4"/>
                      <a:pt x="85" y="0"/>
                      <a:pt x="93" y="0"/>
                    </a:cubicBezTo>
                    <a:cubicBezTo>
                      <a:pt x="102" y="0"/>
                      <a:pt x="107" y="4"/>
                      <a:pt x="110" y="11"/>
                    </a:cubicBezTo>
                    <a:lnTo>
                      <a:pt x="139" y="105"/>
                    </a:lnTo>
                    <a:lnTo>
                      <a:pt x="157" y="1"/>
                    </a:lnTo>
                    <a:lnTo>
                      <a:pt x="186" y="1"/>
                    </a:lnTo>
                    <a:lnTo>
                      <a:pt x="160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" name="Freeform 21">
                <a:extLst>
                  <a:ext uri="{FF2B5EF4-FFF2-40B4-BE49-F238E27FC236}">
                    <a16:creationId xmlns:a16="http://schemas.microsoft.com/office/drawing/2014/main" id="{C221F4F9-83AE-4628-04E4-42938127B44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10855" y="4075180"/>
                <a:ext cx="54295" cy="57915"/>
              </a:xfrm>
              <a:custGeom>
                <a:avLst/>
                <a:gdLst>
                  <a:gd name="T0" fmla="*/ 90 w 132"/>
                  <a:gd name="T1" fmla="*/ 79 h 139"/>
                  <a:gd name="T2" fmla="*/ 57 w 132"/>
                  <a:gd name="T3" fmla="*/ 79 h 139"/>
                  <a:gd name="T4" fmla="*/ 29 w 132"/>
                  <a:gd name="T5" fmla="*/ 99 h 139"/>
                  <a:gd name="T6" fmla="*/ 52 w 132"/>
                  <a:gd name="T7" fmla="*/ 117 h 139"/>
                  <a:gd name="T8" fmla="*/ 78 w 132"/>
                  <a:gd name="T9" fmla="*/ 113 h 139"/>
                  <a:gd name="T10" fmla="*/ 90 w 132"/>
                  <a:gd name="T11" fmla="*/ 110 h 139"/>
                  <a:gd name="T12" fmla="*/ 90 w 132"/>
                  <a:gd name="T13" fmla="*/ 79 h 139"/>
                  <a:gd name="T14" fmla="*/ 122 w 132"/>
                  <a:gd name="T15" fmla="*/ 139 h 139"/>
                  <a:gd name="T16" fmla="*/ 110 w 132"/>
                  <a:gd name="T17" fmla="*/ 133 h 139"/>
                  <a:gd name="T18" fmla="*/ 91 w 132"/>
                  <a:gd name="T19" fmla="*/ 131 h 139"/>
                  <a:gd name="T20" fmla="*/ 82 w 132"/>
                  <a:gd name="T21" fmla="*/ 133 h 139"/>
                  <a:gd name="T22" fmla="*/ 47 w 132"/>
                  <a:gd name="T23" fmla="*/ 138 h 139"/>
                  <a:gd name="T24" fmla="*/ 0 w 132"/>
                  <a:gd name="T25" fmla="*/ 100 h 139"/>
                  <a:gd name="T26" fmla="*/ 61 w 132"/>
                  <a:gd name="T27" fmla="*/ 58 h 139"/>
                  <a:gd name="T28" fmla="*/ 90 w 132"/>
                  <a:gd name="T29" fmla="*/ 58 h 139"/>
                  <a:gd name="T30" fmla="*/ 90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7 w 132"/>
                  <a:gd name="T45" fmla="*/ 46 h 139"/>
                  <a:gd name="T46" fmla="*/ 117 w 132"/>
                  <a:gd name="T47" fmla="*/ 111 h 139"/>
                  <a:gd name="T48" fmla="*/ 132 w 132"/>
                  <a:gd name="T49" fmla="*/ 120 h 139"/>
                  <a:gd name="T50" fmla="*/ 122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90" y="79"/>
                    </a:moveTo>
                    <a:lnTo>
                      <a:pt x="57" y="79"/>
                    </a:lnTo>
                    <a:cubicBezTo>
                      <a:pt x="39" y="79"/>
                      <a:pt x="29" y="84"/>
                      <a:pt x="29" y="99"/>
                    </a:cubicBezTo>
                    <a:cubicBezTo>
                      <a:pt x="29" y="111"/>
                      <a:pt x="37" y="117"/>
                      <a:pt x="52" y="117"/>
                    </a:cubicBezTo>
                    <a:cubicBezTo>
                      <a:pt x="58" y="117"/>
                      <a:pt x="68" y="115"/>
                      <a:pt x="78" y="113"/>
                    </a:cubicBezTo>
                    <a:lnTo>
                      <a:pt x="90" y="110"/>
                    </a:lnTo>
                    <a:lnTo>
                      <a:pt x="90" y="79"/>
                    </a:lnTo>
                    <a:close/>
                    <a:moveTo>
                      <a:pt x="122" y="139"/>
                    </a:moveTo>
                    <a:lnTo>
                      <a:pt x="110" y="133"/>
                    </a:lnTo>
                    <a:cubicBezTo>
                      <a:pt x="104" y="130"/>
                      <a:pt x="98" y="129"/>
                      <a:pt x="91" y="131"/>
                    </a:cubicBezTo>
                    <a:lnTo>
                      <a:pt x="82" y="133"/>
                    </a:lnTo>
                    <a:cubicBezTo>
                      <a:pt x="71" y="136"/>
                      <a:pt x="57" y="138"/>
                      <a:pt x="47" y="138"/>
                    </a:cubicBezTo>
                    <a:cubicBezTo>
                      <a:pt x="18" y="138"/>
                      <a:pt x="0" y="124"/>
                      <a:pt x="0" y="100"/>
                    </a:cubicBezTo>
                    <a:cubicBezTo>
                      <a:pt x="0" y="66"/>
                      <a:pt x="29" y="58"/>
                      <a:pt x="61" y="58"/>
                    </a:cubicBezTo>
                    <a:lnTo>
                      <a:pt x="90" y="58"/>
                    </a:lnTo>
                    <a:lnTo>
                      <a:pt x="90" y="47"/>
                    </a:lnTo>
                    <a:cubicBezTo>
                      <a:pt x="90" y="30"/>
                      <a:pt x="79" y="24"/>
                      <a:pt x="63" y="24"/>
                    </a:cubicBezTo>
                    <a:cubicBezTo>
                      <a:pt x="52" y="24"/>
                      <a:pt x="37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5" y="3"/>
                      <a:pt x="50" y="0"/>
                      <a:pt x="65" y="0"/>
                    </a:cubicBezTo>
                    <a:cubicBezTo>
                      <a:pt x="95" y="0"/>
                      <a:pt x="117" y="13"/>
                      <a:pt x="117" y="46"/>
                    </a:cubicBezTo>
                    <a:lnTo>
                      <a:pt x="117" y="111"/>
                    </a:lnTo>
                    <a:lnTo>
                      <a:pt x="132" y="120"/>
                    </a:lnTo>
                    <a:lnTo>
                      <a:pt x="122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5" name="Freeform 22">
                <a:extLst>
                  <a:ext uri="{FF2B5EF4-FFF2-40B4-BE49-F238E27FC236}">
                    <a16:creationId xmlns:a16="http://schemas.microsoft.com/office/drawing/2014/main" id="{4062CD09-5F87-D0B3-2F52-A58BF33486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4199" y="4075180"/>
                <a:ext cx="45246" cy="56105"/>
              </a:xfrm>
              <a:custGeom>
                <a:avLst/>
                <a:gdLst>
                  <a:gd name="T0" fmla="*/ 28 w 113"/>
                  <a:gd name="T1" fmla="*/ 136 h 136"/>
                  <a:gd name="T2" fmla="*/ 0 w 113"/>
                  <a:gd name="T3" fmla="*/ 136 h 136"/>
                  <a:gd name="T4" fmla="*/ 0 w 113"/>
                  <a:gd name="T5" fmla="*/ 26 h 136"/>
                  <a:gd name="T6" fmla="*/ 16 w 113"/>
                  <a:gd name="T7" fmla="*/ 6 h 136"/>
                  <a:gd name="T8" fmla="*/ 59 w 113"/>
                  <a:gd name="T9" fmla="*/ 0 h 136"/>
                  <a:gd name="T10" fmla="*/ 113 w 113"/>
                  <a:gd name="T11" fmla="*/ 48 h 136"/>
                  <a:gd name="T12" fmla="*/ 113 w 113"/>
                  <a:gd name="T13" fmla="*/ 136 h 136"/>
                  <a:gd name="T14" fmla="*/ 84 w 113"/>
                  <a:gd name="T15" fmla="*/ 136 h 136"/>
                  <a:gd name="T16" fmla="*/ 84 w 113"/>
                  <a:gd name="T17" fmla="*/ 51 h 136"/>
                  <a:gd name="T18" fmla="*/ 58 w 113"/>
                  <a:gd name="T19" fmla="*/ 24 h 136"/>
                  <a:gd name="T20" fmla="*/ 28 w 113"/>
                  <a:gd name="T21" fmla="*/ 29 h 136"/>
                  <a:gd name="T22" fmla="*/ 28 w 113"/>
                  <a:gd name="T2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3" h="136">
                    <a:moveTo>
                      <a:pt x="28" y="136"/>
                    </a:moveTo>
                    <a:lnTo>
                      <a:pt x="0" y="136"/>
                    </a:lnTo>
                    <a:lnTo>
                      <a:pt x="0" y="26"/>
                    </a:lnTo>
                    <a:cubicBezTo>
                      <a:pt x="0" y="15"/>
                      <a:pt x="5" y="9"/>
                      <a:pt x="16" y="6"/>
                    </a:cubicBezTo>
                    <a:cubicBezTo>
                      <a:pt x="36" y="1"/>
                      <a:pt x="49" y="0"/>
                      <a:pt x="59" y="0"/>
                    </a:cubicBezTo>
                    <a:cubicBezTo>
                      <a:pt x="98" y="0"/>
                      <a:pt x="113" y="20"/>
                      <a:pt x="113" y="48"/>
                    </a:cubicBezTo>
                    <a:lnTo>
                      <a:pt x="113" y="136"/>
                    </a:lnTo>
                    <a:lnTo>
                      <a:pt x="84" y="136"/>
                    </a:lnTo>
                    <a:lnTo>
                      <a:pt x="84" y="51"/>
                    </a:lnTo>
                    <a:cubicBezTo>
                      <a:pt x="84" y="36"/>
                      <a:pt x="78" y="24"/>
                      <a:pt x="58" y="24"/>
                    </a:cubicBezTo>
                    <a:cubicBezTo>
                      <a:pt x="51" y="24"/>
                      <a:pt x="44" y="25"/>
                      <a:pt x="28" y="29"/>
                    </a:cubicBezTo>
                    <a:lnTo>
                      <a:pt x="2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6" name="Freeform 23">
                <a:extLst>
                  <a:ext uri="{FF2B5EF4-FFF2-40B4-BE49-F238E27FC236}">
                    <a16:creationId xmlns:a16="http://schemas.microsoft.com/office/drawing/2014/main" id="{0E777941-0ADC-82CE-74EA-1C3B2211F46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30304" y="4075180"/>
                <a:ext cx="54295" cy="57915"/>
              </a:xfrm>
              <a:custGeom>
                <a:avLst/>
                <a:gdLst>
                  <a:gd name="T0" fmla="*/ 89 w 132"/>
                  <a:gd name="T1" fmla="*/ 79 h 139"/>
                  <a:gd name="T2" fmla="*/ 56 w 132"/>
                  <a:gd name="T3" fmla="*/ 79 h 139"/>
                  <a:gd name="T4" fmla="*/ 28 w 132"/>
                  <a:gd name="T5" fmla="*/ 99 h 139"/>
                  <a:gd name="T6" fmla="*/ 51 w 132"/>
                  <a:gd name="T7" fmla="*/ 117 h 139"/>
                  <a:gd name="T8" fmla="*/ 77 w 132"/>
                  <a:gd name="T9" fmla="*/ 113 h 139"/>
                  <a:gd name="T10" fmla="*/ 89 w 132"/>
                  <a:gd name="T11" fmla="*/ 110 h 139"/>
                  <a:gd name="T12" fmla="*/ 89 w 132"/>
                  <a:gd name="T13" fmla="*/ 79 h 139"/>
                  <a:gd name="T14" fmla="*/ 121 w 132"/>
                  <a:gd name="T15" fmla="*/ 139 h 139"/>
                  <a:gd name="T16" fmla="*/ 109 w 132"/>
                  <a:gd name="T17" fmla="*/ 133 h 139"/>
                  <a:gd name="T18" fmla="*/ 90 w 132"/>
                  <a:gd name="T19" fmla="*/ 131 h 139"/>
                  <a:gd name="T20" fmla="*/ 82 w 132"/>
                  <a:gd name="T21" fmla="*/ 133 h 139"/>
                  <a:gd name="T22" fmla="*/ 46 w 132"/>
                  <a:gd name="T23" fmla="*/ 138 h 139"/>
                  <a:gd name="T24" fmla="*/ 0 w 132"/>
                  <a:gd name="T25" fmla="*/ 100 h 139"/>
                  <a:gd name="T26" fmla="*/ 60 w 132"/>
                  <a:gd name="T27" fmla="*/ 58 h 139"/>
                  <a:gd name="T28" fmla="*/ 89 w 132"/>
                  <a:gd name="T29" fmla="*/ 58 h 139"/>
                  <a:gd name="T30" fmla="*/ 89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6 w 132"/>
                  <a:gd name="T45" fmla="*/ 46 h 139"/>
                  <a:gd name="T46" fmla="*/ 116 w 132"/>
                  <a:gd name="T47" fmla="*/ 111 h 139"/>
                  <a:gd name="T48" fmla="*/ 132 w 132"/>
                  <a:gd name="T49" fmla="*/ 120 h 139"/>
                  <a:gd name="T50" fmla="*/ 121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89" y="79"/>
                    </a:moveTo>
                    <a:lnTo>
                      <a:pt x="56" y="79"/>
                    </a:lnTo>
                    <a:cubicBezTo>
                      <a:pt x="39" y="79"/>
                      <a:pt x="28" y="84"/>
                      <a:pt x="28" y="99"/>
                    </a:cubicBezTo>
                    <a:cubicBezTo>
                      <a:pt x="28" y="111"/>
                      <a:pt x="37" y="117"/>
                      <a:pt x="51" y="117"/>
                    </a:cubicBezTo>
                    <a:cubicBezTo>
                      <a:pt x="58" y="117"/>
                      <a:pt x="67" y="115"/>
                      <a:pt x="77" y="113"/>
                    </a:cubicBezTo>
                    <a:lnTo>
                      <a:pt x="89" y="110"/>
                    </a:lnTo>
                    <a:lnTo>
                      <a:pt x="89" y="79"/>
                    </a:lnTo>
                    <a:close/>
                    <a:moveTo>
                      <a:pt x="121" y="139"/>
                    </a:moveTo>
                    <a:lnTo>
                      <a:pt x="109" y="133"/>
                    </a:lnTo>
                    <a:cubicBezTo>
                      <a:pt x="103" y="130"/>
                      <a:pt x="97" y="129"/>
                      <a:pt x="90" y="131"/>
                    </a:cubicBezTo>
                    <a:lnTo>
                      <a:pt x="82" y="133"/>
                    </a:lnTo>
                    <a:cubicBezTo>
                      <a:pt x="70" y="136"/>
                      <a:pt x="56" y="138"/>
                      <a:pt x="46" y="138"/>
                    </a:cubicBezTo>
                    <a:cubicBezTo>
                      <a:pt x="17" y="138"/>
                      <a:pt x="0" y="124"/>
                      <a:pt x="0" y="100"/>
                    </a:cubicBezTo>
                    <a:cubicBezTo>
                      <a:pt x="0" y="66"/>
                      <a:pt x="28" y="58"/>
                      <a:pt x="60" y="58"/>
                    </a:cubicBezTo>
                    <a:lnTo>
                      <a:pt x="89" y="58"/>
                    </a:lnTo>
                    <a:lnTo>
                      <a:pt x="89" y="47"/>
                    </a:lnTo>
                    <a:cubicBezTo>
                      <a:pt x="89" y="30"/>
                      <a:pt x="78" y="24"/>
                      <a:pt x="63" y="24"/>
                    </a:cubicBezTo>
                    <a:cubicBezTo>
                      <a:pt x="51" y="24"/>
                      <a:pt x="36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4" y="3"/>
                      <a:pt x="50" y="0"/>
                      <a:pt x="65" y="0"/>
                    </a:cubicBezTo>
                    <a:cubicBezTo>
                      <a:pt x="94" y="0"/>
                      <a:pt x="116" y="13"/>
                      <a:pt x="116" y="46"/>
                    </a:cubicBezTo>
                    <a:lnTo>
                      <a:pt x="116" y="111"/>
                    </a:lnTo>
                    <a:lnTo>
                      <a:pt x="132" y="120"/>
                    </a:lnTo>
                    <a:lnTo>
                      <a:pt x="121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7" name="Freeform 24">
                <a:extLst>
                  <a:ext uri="{FF2B5EF4-FFF2-40B4-BE49-F238E27FC236}">
                    <a16:creationId xmlns:a16="http://schemas.microsoft.com/office/drawing/2014/main" id="{75CB649F-54B1-F6A3-A732-30BA69F715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17176" y="4055271"/>
                <a:ext cx="43436" cy="76013"/>
              </a:xfrm>
              <a:custGeom>
                <a:avLst/>
                <a:gdLst>
                  <a:gd name="T0" fmla="*/ 22 w 105"/>
                  <a:gd name="T1" fmla="*/ 184 h 184"/>
                  <a:gd name="T2" fmla="*/ 0 w 105"/>
                  <a:gd name="T3" fmla="*/ 164 h 184"/>
                  <a:gd name="T4" fmla="*/ 0 w 105"/>
                  <a:gd name="T5" fmla="*/ 0 h 184"/>
                  <a:gd name="T6" fmla="*/ 33 w 105"/>
                  <a:gd name="T7" fmla="*/ 0 h 184"/>
                  <a:gd name="T8" fmla="*/ 33 w 105"/>
                  <a:gd name="T9" fmla="*/ 156 h 184"/>
                  <a:gd name="T10" fmla="*/ 105 w 105"/>
                  <a:gd name="T11" fmla="*/ 156 h 184"/>
                  <a:gd name="T12" fmla="*/ 105 w 105"/>
                  <a:gd name="T13" fmla="*/ 184 h 184"/>
                  <a:gd name="T14" fmla="*/ 22 w 105"/>
                  <a:gd name="T15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" h="184">
                    <a:moveTo>
                      <a:pt x="22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0"/>
                    </a:lnTo>
                    <a:lnTo>
                      <a:pt x="33" y="0"/>
                    </a:lnTo>
                    <a:lnTo>
                      <a:pt x="33" y="156"/>
                    </a:lnTo>
                    <a:lnTo>
                      <a:pt x="105" y="156"/>
                    </a:lnTo>
                    <a:lnTo>
                      <a:pt x="105" y="184"/>
                    </a:lnTo>
                    <a:lnTo>
                      <a:pt x="22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8" name="Freeform 25">
                <a:extLst>
                  <a:ext uri="{FF2B5EF4-FFF2-40B4-BE49-F238E27FC236}">
                    <a16:creationId xmlns:a16="http://schemas.microsoft.com/office/drawing/2014/main" id="{DC9A01EB-0B2B-5706-46A0-B807C14F3C7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7851" y="4053462"/>
                <a:ext cx="14479" cy="77823"/>
              </a:xfrm>
              <a:custGeom>
                <a:avLst/>
                <a:gdLst>
                  <a:gd name="T0" fmla="*/ 2 w 34"/>
                  <a:gd name="T1" fmla="*/ 55 h 190"/>
                  <a:gd name="T2" fmla="*/ 31 w 34"/>
                  <a:gd name="T3" fmla="*/ 55 h 190"/>
                  <a:gd name="T4" fmla="*/ 31 w 34"/>
                  <a:gd name="T5" fmla="*/ 190 h 190"/>
                  <a:gd name="T6" fmla="*/ 2 w 34"/>
                  <a:gd name="T7" fmla="*/ 190 h 190"/>
                  <a:gd name="T8" fmla="*/ 2 w 34"/>
                  <a:gd name="T9" fmla="*/ 55 h 190"/>
                  <a:gd name="T10" fmla="*/ 17 w 34"/>
                  <a:gd name="T11" fmla="*/ 34 h 190"/>
                  <a:gd name="T12" fmla="*/ 0 w 34"/>
                  <a:gd name="T13" fmla="*/ 17 h 190"/>
                  <a:gd name="T14" fmla="*/ 17 w 34"/>
                  <a:gd name="T15" fmla="*/ 0 h 190"/>
                  <a:gd name="T16" fmla="*/ 34 w 34"/>
                  <a:gd name="T17" fmla="*/ 17 h 190"/>
                  <a:gd name="T18" fmla="*/ 17 w 34"/>
                  <a:gd name="T19" fmla="*/ 3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90">
                    <a:moveTo>
                      <a:pt x="2" y="55"/>
                    </a:moveTo>
                    <a:lnTo>
                      <a:pt x="31" y="55"/>
                    </a:lnTo>
                    <a:lnTo>
                      <a:pt x="31" y="190"/>
                    </a:lnTo>
                    <a:lnTo>
                      <a:pt x="2" y="190"/>
                    </a:lnTo>
                    <a:lnTo>
                      <a:pt x="2" y="55"/>
                    </a:lnTo>
                    <a:close/>
                    <a:moveTo>
                      <a:pt x="17" y="34"/>
                    </a:moveTo>
                    <a:cubicBezTo>
                      <a:pt x="6" y="34"/>
                      <a:pt x="0" y="27"/>
                      <a:pt x="0" y="17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7" y="0"/>
                      <a:pt x="34" y="7"/>
                      <a:pt x="34" y="17"/>
                    </a:cubicBezTo>
                    <a:cubicBezTo>
                      <a:pt x="34" y="27"/>
                      <a:pt x="27" y="34"/>
                      <a:pt x="17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9" name="Freeform 26">
                <a:extLst>
                  <a:ext uri="{FF2B5EF4-FFF2-40B4-BE49-F238E27FC236}">
                    <a16:creationId xmlns:a16="http://schemas.microsoft.com/office/drawing/2014/main" id="{8003F519-DBD6-318D-BD2C-02AC19C379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7760" y="4053462"/>
                <a:ext cx="39816" cy="77823"/>
              </a:xfrm>
              <a:custGeom>
                <a:avLst/>
                <a:gdLst>
                  <a:gd name="T0" fmla="*/ 92 w 95"/>
                  <a:gd name="T1" fmla="*/ 28 h 189"/>
                  <a:gd name="T2" fmla="*/ 68 w 95"/>
                  <a:gd name="T3" fmla="*/ 24 h 189"/>
                  <a:gd name="T4" fmla="*/ 48 w 95"/>
                  <a:gd name="T5" fmla="*/ 46 h 189"/>
                  <a:gd name="T6" fmla="*/ 48 w 95"/>
                  <a:gd name="T7" fmla="*/ 55 h 189"/>
                  <a:gd name="T8" fmla="*/ 89 w 95"/>
                  <a:gd name="T9" fmla="*/ 55 h 189"/>
                  <a:gd name="T10" fmla="*/ 89 w 95"/>
                  <a:gd name="T11" fmla="*/ 78 h 189"/>
                  <a:gd name="T12" fmla="*/ 48 w 95"/>
                  <a:gd name="T13" fmla="*/ 78 h 189"/>
                  <a:gd name="T14" fmla="*/ 48 w 95"/>
                  <a:gd name="T15" fmla="*/ 189 h 189"/>
                  <a:gd name="T16" fmla="*/ 20 w 95"/>
                  <a:gd name="T17" fmla="*/ 189 h 189"/>
                  <a:gd name="T18" fmla="*/ 20 w 95"/>
                  <a:gd name="T19" fmla="*/ 78 h 189"/>
                  <a:gd name="T20" fmla="*/ 0 w 95"/>
                  <a:gd name="T21" fmla="*/ 78 h 189"/>
                  <a:gd name="T22" fmla="*/ 0 w 95"/>
                  <a:gd name="T23" fmla="*/ 55 h 189"/>
                  <a:gd name="T24" fmla="*/ 20 w 95"/>
                  <a:gd name="T25" fmla="*/ 55 h 189"/>
                  <a:gd name="T26" fmla="*/ 20 w 95"/>
                  <a:gd name="T27" fmla="*/ 44 h 189"/>
                  <a:gd name="T28" fmla="*/ 64 w 95"/>
                  <a:gd name="T29" fmla="*/ 0 h 189"/>
                  <a:gd name="T30" fmla="*/ 95 w 95"/>
                  <a:gd name="T31" fmla="*/ 5 h 189"/>
                  <a:gd name="T32" fmla="*/ 92 w 95"/>
                  <a:gd name="T33" fmla="*/ 28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89">
                    <a:moveTo>
                      <a:pt x="92" y="28"/>
                    </a:moveTo>
                    <a:cubicBezTo>
                      <a:pt x="81" y="25"/>
                      <a:pt x="74" y="24"/>
                      <a:pt x="68" y="24"/>
                    </a:cubicBezTo>
                    <a:cubicBezTo>
                      <a:pt x="54" y="24"/>
                      <a:pt x="48" y="30"/>
                      <a:pt x="48" y="46"/>
                    </a:cubicBezTo>
                    <a:lnTo>
                      <a:pt x="48" y="55"/>
                    </a:lnTo>
                    <a:lnTo>
                      <a:pt x="89" y="55"/>
                    </a:lnTo>
                    <a:lnTo>
                      <a:pt x="89" y="78"/>
                    </a:lnTo>
                    <a:lnTo>
                      <a:pt x="48" y="78"/>
                    </a:lnTo>
                    <a:lnTo>
                      <a:pt x="48" y="189"/>
                    </a:lnTo>
                    <a:lnTo>
                      <a:pt x="20" y="189"/>
                    </a:lnTo>
                    <a:lnTo>
                      <a:pt x="20" y="78"/>
                    </a:lnTo>
                    <a:lnTo>
                      <a:pt x="0" y="78"/>
                    </a:lnTo>
                    <a:lnTo>
                      <a:pt x="0" y="55"/>
                    </a:lnTo>
                    <a:lnTo>
                      <a:pt x="20" y="55"/>
                    </a:lnTo>
                    <a:lnTo>
                      <a:pt x="20" y="44"/>
                    </a:lnTo>
                    <a:cubicBezTo>
                      <a:pt x="20" y="15"/>
                      <a:pt x="37" y="0"/>
                      <a:pt x="64" y="0"/>
                    </a:cubicBezTo>
                    <a:cubicBezTo>
                      <a:pt x="73" y="0"/>
                      <a:pt x="82" y="2"/>
                      <a:pt x="95" y="5"/>
                    </a:cubicBezTo>
                    <a:lnTo>
                      <a:pt x="92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0" name="Freeform 27">
                <a:extLst>
                  <a:ext uri="{FF2B5EF4-FFF2-40B4-BE49-F238E27FC236}">
                    <a16:creationId xmlns:a16="http://schemas.microsoft.com/office/drawing/2014/main" id="{E184AE65-10DA-3151-046F-3FC0194869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27576" y="4075180"/>
                <a:ext cx="50675" cy="56105"/>
              </a:xfrm>
              <a:custGeom>
                <a:avLst/>
                <a:gdLst>
                  <a:gd name="T0" fmla="*/ 62 w 124"/>
                  <a:gd name="T1" fmla="*/ 21 h 138"/>
                  <a:gd name="T2" fmla="*/ 28 w 124"/>
                  <a:gd name="T3" fmla="*/ 58 h 138"/>
                  <a:gd name="T4" fmla="*/ 96 w 124"/>
                  <a:gd name="T5" fmla="*/ 58 h 138"/>
                  <a:gd name="T6" fmla="*/ 62 w 124"/>
                  <a:gd name="T7" fmla="*/ 21 h 138"/>
                  <a:gd name="T8" fmla="*/ 63 w 124"/>
                  <a:gd name="T9" fmla="*/ 0 h 138"/>
                  <a:gd name="T10" fmla="*/ 124 w 124"/>
                  <a:gd name="T11" fmla="*/ 66 h 138"/>
                  <a:gd name="T12" fmla="*/ 111 w 124"/>
                  <a:gd name="T13" fmla="*/ 79 h 138"/>
                  <a:gd name="T14" fmla="*/ 28 w 124"/>
                  <a:gd name="T15" fmla="*/ 79 h 138"/>
                  <a:gd name="T16" fmla="*/ 68 w 124"/>
                  <a:gd name="T17" fmla="*/ 114 h 138"/>
                  <a:gd name="T18" fmla="*/ 105 w 124"/>
                  <a:gd name="T19" fmla="*/ 108 h 138"/>
                  <a:gd name="T20" fmla="*/ 118 w 124"/>
                  <a:gd name="T21" fmla="*/ 104 h 138"/>
                  <a:gd name="T22" fmla="*/ 123 w 124"/>
                  <a:gd name="T23" fmla="*/ 126 h 138"/>
                  <a:gd name="T24" fmla="*/ 109 w 124"/>
                  <a:gd name="T25" fmla="*/ 130 h 138"/>
                  <a:gd name="T26" fmla="*/ 66 w 124"/>
                  <a:gd name="T27" fmla="*/ 138 h 138"/>
                  <a:gd name="T28" fmla="*/ 0 w 124"/>
                  <a:gd name="T29" fmla="*/ 70 h 138"/>
                  <a:gd name="T30" fmla="*/ 63 w 124"/>
                  <a:gd name="T31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138">
                    <a:moveTo>
                      <a:pt x="62" y="21"/>
                    </a:moveTo>
                    <a:cubicBezTo>
                      <a:pt x="42" y="21"/>
                      <a:pt x="30" y="36"/>
                      <a:pt x="28" y="58"/>
                    </a:cubicBezTo>
                    <a:lnTo>
                      <a:pt x="96" y="58"/>
                    </a:lnTo>
                    <a:cubicBezTo>
                      <a:pt x="96" y="38"/>
                      <a:pt x="86" y="21"/>
                      <a:pt x="62" y="21"/>
                    </a:cubicBezTo>
                    <a:close/>
                    <a:moveTo>
                      <a:pt x="63" y="0"/>
                    </a:moveTo>
                    <a:cubicBezTo>
                      <a:pt x="100" y="0"/>
                      <a:pt x="124" y="21"/>
                      <a:pt x="124" y="66"/>
                    </a:cubicBezTo>
                    <a:cubicBezTo>
                      <a:pt x="124" y="75"/>
                      <a:pt x="120" y="79"/>
                      <a:pt x="111" y="79"/>
                    </a:cubicBezTo>
                    <a:lnTo>
                      <a:pt x="28" y="79"/>
                    </a:lnTo>
                    <a:cubicBezTo>
                      <a:pt x="30" y="103"/>
                      <a:pt x="46" y="114"/>
                      <a:pt x="68" y="114"/>
                    </a:cubicBezTo>
                    <a:cubicBezTo>
                      <a:pt x="79" y="114"/>
                      <a:pt x="90" y="112"/>
                      <a:pt x="105" y="108"/>
                    </a:cubicBezTo>
                    <a:lnTo>
                      <a:pt x="118" y="104"/>
                    </a:lnTo>
                    <a:lnTo>
                      <a:pt x="123" y="126"/>
                    </a:lnTo>
                    <a:lnTo>
                      <a:pt x="109" y="130"/>
                    </a:lnTo>
                    <a:cubicBezTo>
                      <a:pt x="92" y="136"/>
                      <a:pt x="80" y="138"/>
                      <a:pt x="66" y="138"/>
                    </a:cubicBezTo>
                    <a:cubicBezTo>
                      <a:pt x="27" y="138"/>
                      <a:pt x="0" y="115"/>
                      <a:pt x="0" y="70"/>
                    </a:cubicBezTo>
                    <a:cubicBezTo>
                      <a:pt x="0" y="21"/>
                      <a:pt x="29" y="0"/>
                      <a:pt x="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1" name="Freeform 28">
                <a:extLst>
                  <a:ext uri="{FF2B5EF4-FFF2-40B4-BE49-F238E27FC236}">
                    <a16:creationId xmlns:a16="http://schemas.microsoft.com/office/drawing/2014/main" id="{237B20AF-7500-5577-1DCA-E6950AB4CA0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80573" y="3655298"/>
                <a:ext cx="358347" cy="405403"/>
              </a:xfrm>
              <a:custGeom>
                <a:avLst/>
                <a:gdLst>
                  <a:gd name="T0" fmla="*/ 556 w 875"/>
                  <a:gd name="T1" fmla="*/ 361 h 985"/>
                  <a:gd name="T2" fmla="*/ 454 w 875"/>
                  <a:gd name="T3" fmla="*/ 361 h 985"/>
                  <a:gd name="T4" fmla="*/ 505 w 875"/>
                  <a:gd name="T5" fmla="*/ 327 h 985"/>
                  <a:gd name="T6" fmla="*/ 556 w 875"/>
                  <a:gd name="T7" fmla="*/ 361 h 985"/>
                  <a:gd name="T8" fmla="*/ 867 w 875"/>
                  <a:gd name="T9" fmla="*/ 368 h 985"/>
                  <a:gd name="T10" fmla="*/ 707 w 875"/>
                  <a:gd name="T11" fmla="*/ 276 h 985"/>
                  <a:gd name="T12" fmla="*/ 773 w 875"/>
                  <a:gd name="T13" fmla="*/ 132 h 985"/>
                  <a:gd name="T14" fmla="*/ 539 w 875"/>
                  <a:gd name="T15" fmla="*/ 220 h 985"/>
                  <a:gd name="T16" fmla="*/ 280 w 875"/>
                  <a:gd name="T17" fmla="*/ 69 h 985"/>
                  <a:gd name="T18" fmla="*/ 308 w 875"/>
                  <a:gd name="T19" fmla="*/ 0 h 985"/>
                  <a:gd name="T20" fmla="*/ 305 w 875"/>
                  <a:gd name="T21" fmla="*/ 0 h 985"/>
                  <a:gd name="T22" fmla="*/ 204 w 875"/>
                  <a:gd name="T23" fmla="*/ 236 h 985"/>
                  <a:gd name="T24" fmla="*/ 249 w 875"/>
                  <a:gd name="T25" fmla="*/ 309 h 985"/>
                  <a:gd name="T26" fmla="*/ 25 w 875"/>
                  <a:gd name="T27" fmla="*/ 770 h 985"/>
                  <a:gd name="T28" fmla="*/ 360 w 875"/>
                  <a:gd name="T29" fmla="*/ 985 h 985"/>
                  <a:gd name="T30" fmla="*/ 825 w 875"/>
                  <a:gd name="T31" fmla="*/ 533 h 985"/>
                  <a:gd name="T32" fmla="*/ 867 w 875"/>
                  <a:gd name="T33" fmla="*/ 368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75" h="985">
                    <a:moveTo>
                      <a:pt x="556" y="361"/>
                    </a:moveTo>
                    <a:lnTo>
                      <a:pt x="454" y="361"/>
                    </a:lnTo>
                    <a:cubicBezTo>
                      <a:pt x="454" y="361"/>
                      <a:pt x="477" y="327"/>
                      <a:pt x="505" y="327"/>
                    </a:cubicBezTo>
                    <a:cubicBezTo>
                      <a:pt x="533" y="327"/>
                      <a:pt x="556" y="361"/>
                      <a:pt x="556" y="361"/>
                    </a:cubicBezTo>
                    <a:close/>
                    <a:moveTo>
                      <a:pt x="867" y="368"/>
                    </a:moveTo>
                    <a:lnTo>
                      <a:pt x="707" y="276"/>
                    </a:lnTo>
                    <a:cubicBezTo>
                      <a:pt x="795" y="225"/>
                      <a:pt x="776" y="144"/>
                      <a:pt x="773" y="132"/>
                    </a:cubicBezTo>
                    <a:cubicBezTo>
                      <a:pt x="732" y="184"/>
                      <a:pt x="643" y="220"/>
                      <a:pt x="539" y="220"/>
                    </a:cubicBezTo>
                    <a:cubicBezTo>
                      <a:pt x="396" y="220"/>
                      <a:pt x="280" y="152"/>
                      <a:pt x="280" y="69"/>
                    </a:cubicBezTo>
                    <a:cubicBezTo>
                      <a:pt x="280" y="44"/>
                      <a:pt x="290" y="21"/>
                      <a:pt x="308" y="0"/>
                    </a:cubicBezTo>
                    <a:cubicBezTo>
                      <a:pt x="307" y="0"/>
                      <a:pt x="306" y="0"/>
                      <a:pt x="305" y="0"/>
                    </a:cubicBezTo>
                    <a:cubicBezTo>
                      <a:pt x="244" y="0"/>
                      <a:pt x="155" y="110"/>
                      <a:pt x="204" y="236"/>
                    </a:cubicBezTo>
                    <a:cubicBezTo>
                      <a:pt x="215" y="265"/>
                      <a:pt x="231" y="289"/>
                      <a:pt x="249" y="309"/>
                    </a:cubicBezTo>
                    <a:cubicBezTo>
                      <a:pt x="135" y="417"/>
                      <a:pt x="0" y="606"/>
                      <a:pt x="25" y="770"/>
                    </a:cubicBezTo>
                    <a:cubicBezTo>
                      <a:pt x="58" y="980"/>
                      <a:pt x="360" y="985"/>
                      <a:pt x="360" y="985"/>
                    </a:cubicBezTo>
                    <a:cubicBezTo>
                      <a:pt x="220" y="722"/>
                      <a:pt x="825" y="533"/>
                      <a:pt x="825" y="533"/>
                    </a:cubicBezTo>
                    <a:cubicBezTo>
                      <a:pt x="825" y="533"/>
                      <a:pt x="875" y="464"/>
                      <a:pt x="867" y="3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2" name="Freeform 29">
                <a:extLst>
                  <a:ext uri="{FF2B5EF4-FFF2-40B4-BE49-F238E27FC236}">
                    <a16:creationId xmlns:a16="http://schemas.microsoft.com/office/drawing/2014/main" id="{F2B48BF0-A064-2017-44AE-FDF622422B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27169" y="3910485"/>
                <a:ext cx="162885" cy="142978"/>
              </a:xfrm>
              <a:custGeom>
                <a:avLst/>
                <a:gdLst>
                  <a:gd name="T0" fmla="*/ 311 w 398"/>
                  <a:gd name="T1" fmla="*/ 0 h 349"/>
                  <a:gd name="T2" fmla="*/ 19 w 398"/>
                  <a:gd name="T3" fmla="*/ 228 h 349"/>
                  <a:gd name="T4" fmla="*/ 18 w 398"/>
                  <a:gd name="T5" fmla="*/ 349 h 349"/>
                  <a:gd name="T6" fmla="*/ 398 w 398"/>
                  <a:gd name="T7" fmla="*/ 184 h 349"/>
                  <a:gd name="T8" fmla="*/ 311 w 398"/>
                  <a:gd name="T9" fmla="*/ 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349">
                    <a:moveTo>
                      <a:pt x="311" y="0"/>
                    </a:moveTo>
                    <a:cubicBezTo>
                      <a:pt x="197" y="53"/>
                      <a:pt x="60" y="129"/>
                      <a:pt x="19" y="228"/>
                    </a:cubicBezTo>
                    <a:cubicBezTo>
                      <a:pt x="3" y="269"/>
                      <a:pt x="0" y="309"/>
                      <a:pt x="18" y="349"/>
                    </a:cubicBezTo>
                    <a:cubicBezTo>
                      <a:pt x="35" y="307"/>
                      <a:pt x="105" y="185"/>
                      <a:pt x="398" y="184"/>
                    </a:cubicBezTo>
                    <a:cubicBezTo>
                      <a:pt x="398" y="102"/>
                      <a:pt x="359" y="44"/>
                      <a:pt x="3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3" name="Freeform 30">
                <a:extLst>
                  <a:ext uri="{FF2B5EF4-FFF2-40B4-BE49-F238E27FC236}">
                    <a16:creationId xmlns:a16="http://schemas.microsoft.com/office/drawing/2014/main" id="{BC9CFD1D-8DDB-A709-12B5-43C1E29C37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9976" y="3903245"/>
                <a:ext cx="9050" cy="16289"/>
              </a:xfrm>
              <a:custGeom>
                <a:avLst/>
                <a:gdLst>
                  <a:gd name="T0" fmla="*/ 0 w 25"/>
                  <a:gd name="T1" fmla="*/ 42 h 42"/>
                  <a:gd name="T2" fmla="*/ 25 w 25"/>
                  <a:gd name="T3" fmla="*/ 0 h 42"/>
                  <a:gd name="T4" fmla="*/ 0 w 25"/>
                  <a:gd name="T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42">
                    <a:moveTo>
                      <a:pt x="0" y="42"/>
                    </a:moveTo>
                    <a:cubicBezTo>
                      <a:pt x="16" y="23"/>
                      <a:pt x="25" y="0"/>
                      <a:pt x="25" y="0"/>
                    </a:cubicBezTo>
                    <a:cubicBezTo>
                      <a:pt x="17" y="17"/>
                      <a:pt x="9" y="31"/>
                      <a:pt x="0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4" name="Rectangle 31">
                <a:extLst>
                  <a:ext uri="{FF2B5EF4-FFF2-40B4-BE49-F238E27FC236}">
                    <a16:creationId xmlns:a16="http://schemas.microsoft.com/office/drawing/2014/main" id="{B8DCAFFC-5BE1-EC35-AFF4-E3AF91BDC7D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409451" y="4104138"/>
                <a:ext cx="9050" cy="3981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5" name="Freeform 32">
                <a:extLst>
                  <a:ext uri="{FF2B5EF4-FFF2-40B4-BE49-F238E27FC236}">
                    <a16:creationId xmlns:a16="http://schemas.microsoft.com/office/drawing/2014/main" id="{5C73054B-B761-3917-85F6-3206576715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2212" y="3819993"/>
                <a:ext cx="7239" cy="3620"/>
              </a:xfrm>
              <a:custGeom>
                <a:avLst/>
                <a:gdLst>
                  <a:gd name="T0" fmla="*/ 0 w 16"/>
                  <a:gd name="T1" fmla="*/ 0 h 7"/>
                  <a:gd name="T2" fmla="*/ 16 w 16"/>
                  <a:gd name="T3" fmla="*/ 7 h 7"/>
                  <a:gd name="T4" fmla="*/ 16 w 16"/>
                  <a:gd name="T5" fmla="*/ 5 h 7"/>
                  <a:gd name="T6" fmla="*/ 0 w 16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7">
                    <a:moveTo>
                      <a:pt x="0" y="0"/>
                    </a:moveTo>
                    <a:cubicBezTo>
                      <a:pt x="6" y="2"/>
                      <a:pt x="11" y="4"/>
                      <a:pt x="16" y="7"/>
                    </a:cubicBezTo>
                    <a:lnTo>
                      <a:pt x="16" y="5"/>
                    </a:lnTo>
                    <a:cubicBezTo>
                      <a:pt x="11" y="3"/>
                      <a:pt x="6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6" name="Freeform 33">
                <a:extLst>
                  <a:ext uri="{FF2B5EF4-FFF2-40B4-BE49-F238E27FC236}">
                    <a16:creationId xmlns:a16="http://schemas.microsoft.com/office/drawing/2014/main" id="{EF5FA4B9-72B6-CE27-044E-F8BD5B2650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99025" y="3628150"/>
                <a:ext cx="47056" cy="314911"/>
              </a:xfrm>
              <a:custGeom>
                <a:avLst/>
                <a:gdLst>
                  <a:gd name="T0" fmla="*/ 3 w 115"/>
                  <a:gd name="T1" fmla="*/ 729 h 765"/>
                  <a:gd name="T2" fmla="*/ 9 w 115"/>
                  <a:gd name="T3" fmla="*/ 756 h 765"/>
                  <a:gd name="T4" fmla="*/ 19 w 115"/>
                  <a:gd name="T5" fmla="*/ 724 h 765"/>
                  <a:gd name="T6" fmla="*/ 34 w 115"/>
                  <a:gd name="T7" fmla="*/ 695 h 765"/>
                  <a:gd name="T8" fmla="*/ 30 w 115"/>
                  <a:gd name="T9" fmla="*/ 716 h 765"/>
                  <a:gd name="T10" fmla="*/ 22 w 115"/>
                  <a:gd name="T11" fmla="*/ 732 h 765"/>
                  <a:gd name="T12" fmla="*/ 17 w 115"/>
                  <a:gd name="T13" fmla="*/ 753 h 765"/>
                  <a:gd name="T14" fmla="*/ 30 w 115"/>
                  <a:gd name="T15" fmla="*/ 744 h 765"/>
                  <a:gd name="T16" fmla="*/ 49 w 115"/>
                  <a:gd name="T17" fmla="*/ 753 h 765"/>
                  <a:gd name="T18" fmla="*/ 54 w 115"/>
                  <a:gd name="T19" fmla="*/ 728 h 765"/>
                  <a:gd name="T20" fmla="*/ 68 w 115"/>
                  <a:gd name="T21" fmla="*/ 763 h 765"/>
                  <a:gd name="T22" fmla="*/ 67 w 115"/>
                  <a:gd name="T23" fmla="*/ 748 h 765"/>
                  <a:gd name="T24" fmla="*/ 65 w 115"/>
                  <a:gd name="T25" fmla="*/ 732 h 765"/>
                  <a:gd name="T26" fmla="*/ 64 w 115"/>
                  <a:gd name="T27" fmla="*/ 712 h 765"/>
                  <a:gd name="T28" fmla="*/ 66 w 115"/>
                  <a:gd name="T29" fmla="*/ 691 h 765"/>
                  <a:gd name="T30" fmla="*/ 68 w 115"/>
                  <a:gd name="T31" fmla="*/ 719 h 765"/>
                  <a:gd name="T32" fmla="*/ 76 w 115"/>
                  <a:gd name="T33" fmla="*/ 745 h 765"/>
                  <a:gd name="T34" fmla="*/ 78 w 115"/>
                  <a:gd name="T35" fmla="*/ 740 h 765"/>
                  <a:gd name="T36" fmla="*/ 77 w 115"/>
                  <a:gd name="T37" fmla="*/ 749 h 765"/>
                  <a:gd name="T38" fmla="*/ 77 w 115"/>
                  <a:gd name="T39" fmla="*/ 750 h 765"/>
                  <a:gd name="T40" fmla="*/ 79 w 115"/>
                  <a:gd name="T41" fmla="*/ 755 h 765"/>
                  <a:gd name="T42" fmla="*/ 84 w 115"/>
                  <a:gd name="T43" fmla="*/ 760 h 765"/>
                  <a:gd name="T44" fmla="*/ 86 w 115"/>
                  <a:gd name="T45" fmla="*/ 757 h 765"/>
                  <a:gd name="T46" fmla="*/ 86 w 115"/>
                  <a:gd name="T47" fmla="*/ 756 h 765"/>
                  <a:gd name="T48" fmla="*/ 78 w 115"/>
                  <a:gd name="T49" fmla="*/ 736 h 765"/>
                  <a:gd name="T50" fmla="*/ 84 w 115"/>
                  <a:gd name="T51" fmla="*/ 748 h 765"/>
                  <a:gd name="T52" fmla="*/ 84 w 115"/>
                  <a:gd name="T53" fmla="*/ 746 h 765"/>
                  <a:gd name="T54" fmla="*/ 89 w 115"/>
                  <a:gd name="T55" fmla="*/ 752 h 765"/>
                  <a:gd name="T56" fmla="*/ 90 w 115"/>
                  <a:gd name="T57" fmla="*/ 751 h 765"/>
                  <a:gd name="T58" fmla="*/ 83 w 115"/>
                  <a:gd name="T59" fmla="*/ 743 h 765"/>
                  <a:gd name="T60" fmla="*/ 91 w 115"/>
                  <a:gd name="T61" fmla="*/ 748 h 765"/>
                  <a:gd name="T62" fmla="*/ 95 w 115"/>
                  <a:gd name="T63" fmla="*/ 742 h 765"/>
                  <a:gd name="T64" fmla="*/ 96 w 115"/>
                  <a:gd name="T65" fmla="*/ 741 h 765"/>
                  <a:gd name="T66" fmla="*/ 103 w 115"/>
                  <a:gd name="T67" fmla="*/ 726 h 765"/>
                  <a:gd name="T68" fmla="*/ 101 w 115"/>
                  <a:gd name="T69" fmla="*/ 734 h 765"/>
                  <a:gd name="T70" fmla="*/ 112 w 115"/>
                  <a:gd name="T71" fmla="*/ 713 h 765"/>
                  <a:gd name="T72" fmla="*/ 101 w 115"/>
                  <a:gd name="T73" fmla="*/ 742 h 765"/>
                  <a:gd name="T74" fmla="*/ 104 w 115"/>
                  <a:gd name="T75" fmla="*/ 753 h 765"/>
                  <a:gd name="T76" fmla="*/ 106 w 115"/>
                  <a:gd name="T77" fmla="*/ 765 h 765"/>
                  <a:gd name="T78" fmla="*/ 109 w 115"/>
                  <a:gd name="T79" fmla="*/ 755 h 765"/>
                  <a:gd name="T80" fmla="*/ 110 w 115"/>
                  <a:gd name="T81" fmla="*/ 752 h 765"/>
                  <a:gd name="T82" fmla="*/ 110 w 115"/>
                  <a:gd name="T83" fmla="*/ 751 h 765"/>
                  <a:gd name="T84" fmla="*/ 110 w 115"/>
                  <a:gd name="T85" fmla="*/ 752 h 765"/>
                  <a:gd name="T86" fmla="*/ 110 w 115"/>
                  <a:gd name="T87" fmla="*/ 751 h 765"/>
                  <a:gd name="T88" fmla="*/ 111 w 115"/>
                  <a:gd name="T89" fmla="*/ 752 h 765"/>
                  <a:gd name="T90" fmla="*/ 111 w 115"/>
                  <a:gd name="T91" fmla="*/ 751 h 765"/>
                  <a:gd name="T92" fmla="*/ 113 w 115"/>
                  <a:gd name="T93" fmla="*/ 748 h 765"/>
                  <a:gd name="T94" fmla="*/ 113 w 115"/>
                  <a:gd name="T95" fmla="*/ 746 h 765"/>
                  <a:gd name="T96" fmla="*/ 109 w 115"/>
                  <a:gd name="T97" fmla="*/ 729 h 765"/>
                  <a:gd name="T98" fmla="*/ 109 w 115"/>
                  <a:gd name="T99" fmla="*/ 728 h 765"/>
                  <a:gd name="T100" fmla="*/ 109 w 115"/>
                  <a:gd name="T101" fmla="*/ 729 h 765"/>
                  <a:gd name="T102" fmla="*/ 112 w 115"/>
                  <a:gd name="T103" fmla="*/ 735 h 765"/>
                  <a:gd name="T104" fmla="*/ 115 w 115"/>
                  <a:gd name="T105" fmla="*/ 740 h 765"/>
                  <a:gd name="T106" fmla="*/ 115 w 115"/>
                  <a:gd name="T107" fmla="*/ 0 h 765"/>
                  <a:gd name="T108" fmla="*/ 0 w 115"/>
                  <a:gd name="T109" fmla="*/ 0 h 765"/>
                  <a:gd name="T110" fmla="*/ 0 w 115"/>
                  <a:gd name="T111" fmla="*/ 741 h 765"/>
                  <a:gd name="T112" fmla="*/ 2 w 115"/>
                  <a:gd name="T113" fmla="*/ 728 h 765"/>
                  <a:gd name="T114" fmla="*/ 3 w 115"/>
                  <a:gd name="T115" fmla="*/ 729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5" h="765">
                    <a:moveTo>
                      <a:pt x="3" y="729"/>
                    </a:moveTo>
                    <a:cubicBezTo>
                      <a:pt x="5" y="738"/>
                      <a:pt x="6" y="745"/>
                      <a:pt x="9" y="756"/>
                    </a:cubicBezTo>
                    <a:cubicBezTo>
                      <a:pt x="10" y="744"/>
                      <a:pt x="14" y="734"/>
                      <a:pt x="19" y="724"/>
                    </a:cubicBezTo>
                    <a:cubicBezTo>
                      <a:pt x="25" y="715"/>
                      <a:pt x="30" y="706"/>
                      <a:pt x="34" y="695"/>
                    </a:cubicBezTo>
                    <a:cubicBezTo>
                      <a:pt x="33" y="703"/>
                      <a:pt x="34" y="709"/>
                      <a:pt x="30" y="716"/>
                    </a:cubicBezTo>
                    <a:cubicBezTo>
                      <a:pt x="25" y="723"/>
                      <a:pt x="23" y="727"/>
                      <a:pt x="22" y="732"/>
                    </a:cubicBezTo>
                    <a:cubicBezTo>
                      <a:pt x="21" y="736"/>
                      <a:pt x="20" y="742"/>
                      <a:pt x="17" y="753"/>
                    </a:cubicBezTo>
                    <a:cubicBezTo>
                      <a:pt x="18" y="752"/>
                      <a:pt x="30" y="743"/>
                      <a:pt x="30" y="744"/>
                    </a:cubicBezTo>
                    <a:cubicBezTo>
                      <a:pt x="27" y="757"/>
                      <a:pt x="47" y="756"/>
                      <a:pt x="49" y="753"/>
                    </a:cubicBezTo>
                    <a:cubicBezTo>
                      <a:pt x="46" y="746"/>
                      <a:pt x="65" y="746"/>
                      <a:pt x="54" y="728"/>
                    </a:cubicBezTo>
                    <a:cubicBezTo>
                      <a:pt x="61" y="730"/>
                      <a:pt x="67" y="758"/>
                      <a:pt x="68" y="763"/>
                    </a:cubicBezTo>
                    <a:cubicBezTo>
                      <a:pt x="68" y="758"/>
                      <a:pt x="67" y="753"/>
                      <a:pt x="67" y="748"/>
                    </a:cubicBezTo>
                    <a:cubicBezTo>
                      <a:pt x="67" y="743"/>
                      <a:pt x="66" y="738"/>
                      <a:pt x="65" y="732"/>
                    </a:cubicBezTo>
                    <a:cubicBezTo>
                      <a:pt x="64" y="725"/>
                      <a:pt x="64" y="718"/>
                      <a:pt x="64" y="712"/>
                    </a:cubicBezTo>
                    <a:cubicBezTo>
                      <a:pt x="64" y="705"/>
                      <a:pt x="65" y="698"/>
                      <a:pt x="66" y="691"/>
                    </a:cubicBezTo>
                    <a:cubicBezTo>
                      <a:pt x="65" y="700"/>
                      <a:pt x="66" y="710"/>
                      <a:pt x="68" y="719"/>
                    </a:cubicBezTo>
                    <a:cubicBezTo>
                      <a:pt x="70" y="728"/>
                      <a:pt x="73" y="737"/>
                      <a:pt x="76" y="745"/>
                    </a:cubicBezTo>
                    <a:cubicBezTo>
                      <a:pt x="77" y="743"/>
                      <a:pt x="78" y="741"/>
                      <a:pt x="78" y="740"/>
                    </a:cubicBezTo>
                    <a:cubicBezTo>
                      <a:pt x="78" y="742"/>
                      <a:pt x="77" y="746"/>
                      <a:pt x="77" y="749"/>
                    </a:cubicBezTo>
                    <a:cubicBezTo>
                      <a:pt x="77" y="749"/>
                      <a:pt x="77" y="749"/>
                      <a:pt x="77" y="750"/>
                    </a:cubicBezTo>
                    <a:cubicBezTo>
                      <a:pt x="78" y="752"/>
                      <a:pt x="78" y="753"/>
                      <a:pt x="79" y="755"/>
                    </a:cubicBezTo>
                    <a:cubicBezTo>
                      <a:pt x="80" y="756"/>
                      <a:pt x="82" y="758"/>
                      <a:pt x="84" y="760"/>
                    </a:cubicBezTo>
                    <a:cubicBezTo>
                      <a:pt x="85" y="759"/>
                      <a:pt x="85" y="758"/>
                      <a:pt x="86" y="757"/>
                    </a:cubicBezTo>
                    <a:cubicBezTo>
                      <a:pt x="86" y="756"/>
                      <a:pt x="86" y="756"/>
                      <a:pt x="86" y="756"/>
                    </a:cubicBezTo>
                    <a:cubicBezTo>
                      <a:pt x="82" y="749"/>
                      <a:pt x="79" y="743"/>
                      <a:pt x="78" y="736"/>
                    </a:cubicBezTo>
                    <a:cubicBezTo>
                      <a:pt x="78" y="740"/>
                      <a:pt x="81" y="744"/>
                      <a:pt x="84" y="748"/>
                    </a:cubicBezTo>
                    <a:cubicBezTo>
                      <a:pt x="84" y="747"/>
                      <a:pt x="84" y="747"/>
                      <a:pt x="84" y="746"/>
                    </a:cubicBezTo>
                    <a:cubicBezTo>
                      <a:pt x="84" y="748"/>
                      <a:pt x="88" y="752"/>
                      <a:pt x="89" y="752"/>
                    </a:cubicBezTo>
                    <a:cubicBezTo>
                      <a:pt x="89" y="752"/>
                      <a:pt x="89" y="751"/>
                      <a:pt x="90" y="751"/>
                    </a:cubicBezTo>
                    <a:cubicBezTo>
                      <a:pt x="88" y="748"/>
                      <a:pt x="85" y="744"/>
                      <a:pt x="83" y="743"/>
                    </a:cubicBezTo>
                    <a:cubicBezTo>
                      <a:pt x="86" y="742"/>
                      <a:pt x="88" y="745"/>
                      <a:pt x="91" y="748"/>
                    </a:cubicBezTo>
                    <a:cubicBezTo>
                      <a:pt x="93" y="746"/>
                      <a:pt x="94" y="743"/>
                      <a:pt x="95" y="742"/>
                    </a:cubicBezTo>
                    <a:cubicBezTo>
                      <a:pt x="95" y="741"/>
                      <a:pt x="95" y="741"/>
                      <a:pt x="96" y="741"/>
                    </a:cubicBezTo>
                    <a:cubicBezTo>
                      <a:pt x="96" y="734"/>
                      <a:pt x="99" y="727"/>
                      <a:pt x="103" y="726"/>
                    </a:cubicBezTo>
                    <a:cubicBezTo>
                      <a:pt x="106" y="725"/>
                      <a:pt x="101" y="731"/>
                      <a:pt x="101" y="734"/>
                    </a:cubicBezTo>
                    <a:cubicBezTo>
                      <a:pt x="106" y="727"/>
                      <a:pt x="111" y="720"/>
                      <a:pt x="112" y="713"/>
                    </a:cubicBezTo>
                    <a:cubicBezTo>
                      <a:pt x="111" y="723"/>
                      <a:pt x="106" y="732"/>
                      <a:pt x="101" y="742"/>
                    </a:cubicBezTo>
                    <a:cubicBezTo>
                      <a:pt x="102" y="745"/>
                      <a:pt x="103" y="748"/>
                      <a:pt x="104" y="753"/>
                    </a:cubicBezTo>
                    <a:cubicBezTo>
                      <a:pt x="106" y="757"/>
                      <a:pt x="106" y="761"/>
                      <a:pt x="106" y="765"/>
                    </a:cubicBezTo>
                    <a:cubicBezTo>
                      <a:pt x="107" y="762"/>
                      <a:pt x="108" y="758"/>
                      <a:pt x="109" y="755"/>
                    </a:cubicBezTo>
                    <a:cubicBezTo>
                      <a:pt x="109" y="754"/>
                      <a:pt x="109" y="753"/>
                      <a:pt x="110" y="752"/>
                    </a:cubicBezTo>
                    <a:cubicBezTo>
                      <a:pt x="110" y="752"/>
                      <a:pt x="110" y="751"/>
                      <a:pt x="110" y="751"/>
                    </a:cubicBezTo>
                    <a:cubicBezTo>
                      <a:pt x="110" y="751"/>
                      <a:pt x="110" y="751"/>
                      <a:pt x="110" y="752"/>
                    </a:cubicBezTo>
                    <a:cubicBezTo>
                      <a:pt x="110" y="751"/>
                      <a:pt x="110" y="751"/>
                      <a:pt x="110" y="751"/>
                    </a:cubicBezTo>
                    <a:cubicBezTo>
                      <a:pt x="110" y="751"/>
                      <a:pt x="110" y="752"/>
                      <a:pt x="111" y="752"/>
                    </a:cubicBezTo>
                    <a:cubicBezTo>
                      <a:pt x="111" y="752"/>
                      <a:pt x="111" y="751"/>
                      <a:pt x="111" y="751"/>
                    </a:cubicBezTo>
                    <a:cubicBezTo>
                      <a:pt x="111" y="751"/>
                      <a:pt x="112" y="749"/>
                      <a:pt x="113" y="748"/>
                    </a:cubicBezTo>
                    <a:cubicBezTo>
                      <a:pt x="113" y="747"/>
                      <a:pt x="113" y="747"/>
                      <a:pt x="113" y="746"/>
                    </a:cubicBezTo>
                    <a:cubicBezTo>
                      <a:pt x="112" y="740"/>
                      <a:pt x="111" y="735"/>
                      <a:pt x="109" y="729"/>
                    </a:cubicBezTo>
                    <a:cubicBezTo>
                      <a:pt x="109" y="729"/>
                      <a:pt x="109" y="729"/>
                      <a:pt x="109" y="728"/>
                    </a:cubicBezTo>
                    <a:cubicBezTo>
                      <a:pt x="109" y="729"/>
                      <a:pt x="109" y="729"/>
                      <a:pt x="109" y="729"/>
                    </a:cubicBezTo>
                    <a:cubicBezTo>
                      <a:pt x="110" y="731"/>
                      <a:pt x="112" y="733"/>
                      <a:pt x="112" y="735"/>
                    </a:cubicBezTo>
                    <a:cubicBezTo>
                      <a:pt x="113" y="736"/>
                      <a:pt x="114" y="738"/>
                      <a:pt x="115" y="740"/>
                    </a:cubicBezTo>
                    <a:lnTo>
                      <a:pt x="115" y="0"/>
                    </a:lnTo>
                    <a:lnTo>
                      <a:pt x="0" y="0"/>
                    </a:lnTo>
                    <a:lnTo>
                      <a:pt x="0" y="741"/>
                    </a:lnTo>
                    <a:cubicBezTo>
                      <a:pt x="1" y="737"/>
                      <a:pt x="2" y="732"/>
                      <a:pt x="2" y="728"/>
                    </a:cubicBezTo>
                    <a:cubicBezTo>
                      <a:pt x="2" y="728"/>
                      <a:pt x="3" y="729"/>
                      <a:pt x="3" y="7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7" name="Freeform 34">
                <a:extLst>
                  <a:ext uri="{FF2B5EF4-FFF2-40B4-BE49-F238E27FC236}">
                    <a16:creationId xmlns:a16="http://schemas.microsoft.com/office/drawing/2014/main" id="{75EFCEAE-BFDE-B861-FC29-DB7E563E3B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4271" y="3935822"/>
                <a:ext cx="1810" cy="5430"/>
              </a:xfrm>
              <a:custGeom>
                <a:avLst/>
                <a:gdLst>
                  <a:gd name="T0" fmla="*/ 1 w 4"/>
                  <a:gd name="T1" fmla="*/ 8 h 11"/>
                  <a:gd name="T2" fmla="*/ 3 w 4"/>
                  <a:gd name="T3" fmla="*/ 10 h 11"/>
                  <a:gd name="T4" fmla="*/ 4 w 4"/>
                  <a:gd name="T5" fmla="*/ 11 h 11"/>
                  <a:gd name="T6" fmla="*/ 2 w 4"/>
                  <a:gd name="T7" fmla="*/ 0 h 11"/>
                  <a:gd name="T8" fmla="*/ 0 w 4"/>
                  <a:gd name="T9" fmla="*/ 6 h 11"/>
                  <a:gd name="T10" fmla="*/ 1 w 4"/>
                  <a:gd name="T11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1" y="8"/>
                    </a:moveTo>
                    <a:cubicBezTo>
                      <a:pt x="2" y="9"/>
                      <a:pt x="3" y="10"/>
                      <a:pt x="3" y="10"/>
                    </a:cubicBezTo>
                    <a:cubicBezTo>
                      <a:pt x="3" y="10"/>
                      <a:pt x="3" y="11"/>
                      <a:pt x="4" y="11"/>
                    </a:cubicBezTo>
                    <a:cubicBezTo>
                      <a:pt x="3" y="7"/>
                      <a:pt x="3" y="4"/>
                      <a:pt x="2" y="0"/>
                    </a:cubicBezTo>
                    <a:cubicBezTo>
                      <a:pt x="1" y="2"/>
                      <a:pt x="1" y="4"/>
                      <a:pt x="0" y="6"/>
                    </a:cubicBezTo>
                    <a:cubicBezTo>
                      <a:pt x="1" y="6"/>
                      <a:pt x="1" y="7"/>
                      <a:pt x="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8" name="Freeform 35">
                <a:extLst>
                  <a:ext uri="{FF2B5EF4-FFF2-40B4-BE49-F238E27FC236}">
                    <a16:creationId xmlns:a16="http://schemas.microsoft.com/office/drawing/2014/main" id="{1B463E5B-5F1B-4C9C-6A6D-0C3227E10A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37032" y="3937633"/>
                <a:ext cx="1810" cy="9050"/>
              </a:xfrm>
              <a:custGeom>
                <a:avLst/>
                <a:gdLst>
                  <a:gd name="T0" fmla="*/ 2 w 4"/>
                  <a:gd name="T1" fmla="*/ 21 h 22"/>
                  <a:gd name="T2" fmla="*/ 3 w 4"/>
                  <a:gd name="T3" fmla="*/ 22 h 22"/>
                  <a:gd name="T4" fmla="*/ 3 w 4"/>
                  <a:gd name="T5" fmla="*/ 21 h 22"/>
                  <a:gd name="T6" fmla="*/ 2 w 4"/>
                  <a:gd name="T7" fmla="*/ 0 h 22"/>
                  <a:gd name="T8" fmla="*/ 0 w 4"/>
                  <a:gd name="T9" fmla="*/ 5 h 22"/>
                  <a:gd name="T10" fmla="*/ 2 w 4"/>
                  <a:gd name="T11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2">
                    <a:moveTo>
                      <a:pt x="2" y="21"/>
                    </a:moveTo>
                    <a:cubicBezTo>
                      <a:pt x="2" y="21"/>
                      <a:pt x="2" y="22"/>
                      <a:pt x="3" y="22"/>
                    </a:cubicBezTo>
                    <a:cubicBezTo>
                      <a:pt x="3" y="22"/>
                      <a:pt x="3" y="21"/>
                      <a:pt x="3" y="21"/>
                    </a:cubicBezTo>
                    <a:cubicBezTo>
                      <a:pt x="4" y="13"/>
                      <a:pt x="3" y="8"/>
                      <a:pt x="2" y="0"/>
                    </a:cubicBezTo>
                    <a:cubicBezTo>
                      <a:pt x="1" y="2"/>
                      <a:pt x="0" y="3"/>
                      <a:pt x="0" y="5"/>
                    </a:cubicBezTo>
                    <a:cubicBezTo>
                      <a:pt x="1" y="10"/>
                      <a:pt x="2" y="17"/>
                      <a:pt x="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9" name="Freeform 36">
                <a:extLst>
                  <a:ext uri="{FF2B5EF4-FFF2-40B4-BE49-F238E27FC236}">
                    <a16:creationId xmlns:a16="http://schemas.microsoft.com/office/drawing/2014/main" id="{80D07420-3241-230A-F82A-75E41C376D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03995" y="3626341"/>
                <a:ext cx="220800" cy="318531"/>
              </a:xfrm>
              <a:custGeom>
                <a:avLst/>
                <a:gdLst>
                  <a:gd name="T0" fmla="*/ 381 w 538"/>
                  <a:gd name="T1" fmla="*/ 766 h 775"/>
                  <a:gd name="T2" fmla="*/ 388 w 538"/>
                  <a:gd name="T3" fmla="*/ 736 h 775"/>
                  <a:gd name="T4" fmla="*/ 419 w 538"/>
                  <a:gd name="T5" fmla="*/ 702 h 775"/>
                  <a:gd name="T6" fmla="*/ 403 w 538"/>
                  <a:gd name="T7" fmla="*/ 760 h 775"/>
                  <a:gd name="T8" fmla="*/ 441 w 538"/>
                  <a:gd name="T9" fmla="*/ 740 h 775"/>
                  <a:gd name="T10" fmla="*/ 450 w 538"/>
                  <a:gd name="T11" fmla="*/ 733 h 775"/>
                  <a:gd name="T12" fmla="*/ 416 w 538"/>
                  <a:gd name="T13" fmla="*/ 572 h 775"/>
                  <a:gd name="T14" fmla="*/ 153 w 538"/>
                  <a:gd name="T15" fmla="*/ 622 h 775"/>
                  <a:gd name="T16" fmla="*/ 123 w 538"/>
                  <a:gd name="T17" fmla="*/ 241 h 775"/>
                  <a:gd name="T18" fmla="*/ 271 w 538"/>
                  <a:gd name="T19" fmla="*/ 119 h 775"/>
                  <a:gd name="T20" fmla="*/ 538 w 538"/>
                  <a:gd name="T21" fmla="*/ 232 h 775"/>
                  <a:gd name="T22" fmla="*/ 122 w 538"/>
                  <a:gd name="T23" fmla="*/ 45 h 775"/>
                  <a:gd name="T24" fmla="*/ 0 w 538"/>
                  <a:gd name="T25" fmla="*/ 399 h 775"/>
                  <a:gd name="T26" fmla="*/ 33 w 538"/>
                  <a:gd name="T27" fmla="*/ 656 h 775"/>
                  <a:gd name="T28" fmla="*/ 100 w 538"/>
                  <a:gd name="T29" fmla="*/ 736 h 775"/>
                  <a:gd name="T30" fmla="*/ 103 w 538"/>
                  <a:gd name="T31" fmla="*/ 725 h 775"/>
                  <a:gd name="T32" fmla="*/ 113 w 538"/>
                  <a:gd name="T33" fmla="*/ 746 h 775"/>
                  <a:gd name="T34" fmla="*/ 119 w 538"/>
                  <a:gd name="T35" fmla="*/ 750 h 775"/>
                  <a:gd name="T36" fmla="*/ 120 w 538"/>
                  <a:gd name="T37" fmla="*/ 743 h 775"/>
                  <a:gd name="T38" fmla="*/ 130 w 538"/>
                  <a:gd name="T39" fmla="*/ 738 h 775"/>
                  <a:gd name="T40" fmla="*/ 128 w 538"/>
                  <a:gd name="T41" fmla="*/ 757 h 775"/>
                  <a:gd name="T42" fmla="*/ 138 w 538"/>
                  <a:gd name="T43" fmla="*/ 744 h 775"/>
                  <a:gd name="T44" fmla="*/ 149 w 538"/>
                  <a:gd name="T45" fmla="*/ 748 h 775"/>
                  <a:gd name="T46" fmla="*/ 144 w 538"/>
                  <a:gd name="T47" fmla="*/ 726 h 775"/>
                  <a:gd name="T48" fmla="*/ 157 w 538"/>
                  <a:gd name="T49" fmla="*/ 759 h 775"/>
                  <a:gd name="T50" fmla="*/ 164 w 538"/>
                  <a:gd name="T51" fmla="*/ 753 h 775"/>
                  <a:gd name="T52" fmla="*/ 180 w 538"/>
                  <a:gd name="T53" fmla="*/ 757 h 775"/>
                  <a:gd name="T54" fmla="*/ 190 w 538"/>
                  <a:gd name="T55" fmla="*/ 771 h 775"/>
                  <a:gd name="T56" fmla="*/ 198 w 538"/>
                  <a:gd name="T57" fmla="*/ 711 h 775"/>
                  <a:gd name="T58" fmla="*/ 209 w 538"/>
                  <a:gd name="T59" fmla="*/ 768 h 775"/>
                  <a:gd name="T60" fmla="*/ 213 w 538"/>
                  <a:gd name="T61" fmla="*/ 734 h 775"/>
                  <a:gd name="T62" fmla="*/ 221 w 538"/>
                  <a:gd name="T63" fmla="*/ 753 h 775"/>
                  <a:gd name="T64" fmla="*/ 230 w 538"/>
                  <a:gd name="T65" fmla="*/ 755 h 775"/>
                  <a:gd name="T66" fmla="*/ 234 w 538"/>
                  <a:gd name="T67" fmla="*/ 741 h 775"/>
                  <a:gd name="T68" fmla="*/ 237 w 538"/>
                  <a:gd name="T69" fmla="*/ 742 h 775"/>
                  <a:gd name="T70" fmla="*/ 257 w 538"/>
                  <a:gd name="T71" fmla="*/ 723 h 775"/>
                  <a:gd name="T72" fmla="*/ 260 w 538"/>
                  <a:gd name="T73" fmla="*/ 728 h 775"/>
                  <a:gd name="T74" fmla="*/ 267 w 538"/>
                  <a:gd name="T75" fmla="*/ 740 h 775"/>
                  <a:gd name="T76" fmla="*/ 268 w 538"/>
                  <a:gd name="T77" fmla="*/ 775 h 775"/>
                  <a:gd name="T78" fmla="*/ 273 w 538"/>
                  <a:gd name="T79" fmla="*/ 753 h 775"/>
                  <a:gd name="T80" fmla="*/ 278 w 538"/>
                  <a:gd name="T81" fmla="*/ 755 h 775"/>
                  <a:gd name="T82" fmla="*/ 288 w 538"/>
                  <a:gd name="T83" fmla="*/ 765 h 775"/>
                  <a:gd name="T84" fmla="*/ 291 w 538"/>
                  <a:gd name="T85" fmla="*/ 762 h 775"/>
                  <a:gd name="T86" fmla="*/ 292 w 538"/>
                  <a:gd name="T87" fmla="*/ 743 h 775"/>
                  <a:gd name="T88" fmla="*/ 302 w 538"/>
                  <a:gd name="T89" fmla="*/ 766 h 775"/>
                  <a:gd name="T90" fmla="*/ 297 w 538"/>
                  <a:gd name="T91" fmla="*/ 736 h 775"/>
                  <a:gd name="T92" fmla="*/ 305 w 538"/>
                  <a:gd name="T93" fmla="*/ 753 h 775"/>
                  <a:gd name="T94" fmla="*/ 309 w 538"/>
                  <a:gd name="T95" fmla="*/ 756 h 775"/>
                  <a:gd name="T96" fmla="*/ 310 w 538"/>
                  <a:gd name="T97" fmla="*/ 770 h 775"/>
                  <a:gd name="T98" fmla="*/ 317 w 538"/>
                  <a:gd name="T99" fmla="*/ 754 h 775"/>
                  <a:gd name="T100" fmla="*/ 334 w 538"/>
                  <a:gd name="T101" fmla="*/ 741 h 775"/>
                  <a:gd name="T102" fmla="*/ 344 w 538"/>
                  <a:gd name="T103" fmla="*/ 723 h 775"/>
                  <a:gd name="T104" fmla="*/ 343 w 538"/>
                  <a:gd name="T105" fmla="*/ 771 h 775"/>
                  <a:gd name="T106" fmla="*/ 353 w 538"/>
                  <a:gd name="T107" fmla="*/ 722 h 775"/>
                  <a:gd name="T108" fmla="*/ 355 w 538"/>
                  <a:gd name="T109" fmla="*/ 755 h 775"/>
                  <a:gd name="T110" fmla="*/ 362 w 538"/>
                  <a:gd name="T111" fmla="*/ 75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38" h="775">
                    <a:moveTo>
                      <a:pt x="366" y="734"/>
                    </a:moveTo>
                    <a:cubicBezTo>
                      <a:pt x="365" y="739"/>
                      <a:pt x="367" y="747"/>
                      <a:pt x="369" y="753"/>
                    </a:cubicBezTo>
                    <a:cubicBezTo>
                      <a:pt x="372" y="760"/>
                      <a:pt x="376" y="765"/>
                      <a:pt x="381" y="766"/>
                    </a:cubicBezTo>
                    <a:cubicBezTo>
                      <a:pt x="381" y="763"/>
                      <a:pt x="382" y="758"/>
                      <a:pt x="383" y="756"/>
                    </a:cubicBezTo>
                    <a:cubicBezTo>
                      <a:pt x="386" y="750"/>
                      <a:pt x="387" y="741"/>
                      <a:pt x="387" y="735"/>
                    </a:cubicBezTo>
                    <a:cubicBezTo>
                      <a:pt x="387" y="735"/>
                      <a:pt x="388" y="736"/>
                      <a:pt x="388" y="736"/>
                    </a:cubicBezTo>
                    <a:cubicBezTo>
                      <a:pt x="390" y="745"/>
                      <a:pt x="392" y="752"/>
                      <a:pt x="394" y="763"/>
                    </a:cubicBezTo>
                    <a:cubicBezTo>
                      <a:pt x="395" y="751"/>
                      <a:pt x="400" y="741"/>
                      <a:pt x="405" y="731"/>
                    </a:cubicBezTo>
                    <a:cubicBezTo>
                      <a:pt x="410" y="722"/>
                      <a:pt x="416" y="713"/>
                      <a:pt x="419" y="702"/>
                    </a:cubicBezTo>
                    <a:cubicBezTo>
                      <a:pt x="419" y="710"/>
                      <a:pt x="419" y="716"/>
                      <a:pt x="415" y="723"/>
                    </a:cubicBezTo>
                    <a:cubicBezTo>
                      <a:pt x="411" y="730"/>
                      <a:pt x="409" y="734"/>
                      <a:pt x="408" y="739"/>
                    </a:cubicBezTo>
                    <a:cubicBezTo>
                      <a:pt x="406" y="743"/>
                      <a:pt x="405" y="749"/>
                      <a:pt x="403" y="760"/>
                    </a:cubicBezTo>
                    <a:cubicBezTo>
                      <a:pt x="403" y="759"/>
                      <a:pt x="416" y="750"/>
                      <a:pt x="415" y="751"/>
                    </a:cubicBezTo>
                    <a:cubicBezTo>
                      <a:pt x="415" y="754"/>
                      <a:pt x="415" y="756"/>
                      <a:pt x="416" y="758"/>
                    </a:cubicBezTo>
                    <a:cubicBezTo>
                      <a:pt x="425" y="753"/>
                      <a:pt x="433" y="747"/>
                      <a:pt x="441" y="740"/>
                    </a:cubicBezTo>
                    <a:cubicBezTo>
                      <a:pt x="442" y="740"/>
                      <a:pt x="442" y="740"/>
                      <a:pt x="443" y="739"/>
                    </a:cubicBezTo>
                    <a:cubicBezTo>
                      <a:pt x="443" y="739"/>
                      <a:pt x="443" y="739"/>
                      <a:pt x="443" y="739"/>
                    </a:cubicBezTo>
                    <a:cubicBezTo>
                      <a:pt x="445" y="737"/>
                      <a:pt x="447" y="735"/>
                      <a:pt x="450" y="733"/>
                    </a:cubicBezTo>
                    <a:cubicBezTo>
                      <a:pt x="451" y="732"/>
                      <a:pt x="453" y="731"/>
                      <a:pt x="454" y="729"/>
                    </a:cubicBezTo>
                    <a:cubicBezTo>
                      <a:pt x="495" y="691"/>
                      <a:pt x="523" y="638"/>
                      <a:pt x="538" y="572"/>
                    </a:cubicBezTo>
                    <a:lnTo>
                      <a:pt x="416" y="572"/>
                    </a:lnTo>
                    <a:cubicBezTo>
                      <a:pt x="384" y="643"/>
                      <a:pt x="336" y="679"/>
                      <a:pt x="271" y="679"/>
                    </a:cubicBezTo>
                    <a:cubicBezTo>
                      <a:pt x="244" y="679"/>
                      <a:pt x="221" y="673"/>
                      <a:pt x="201" y="661"/>
                    </a:cubicBezTo>
                    <a:cubicBezTo>
                      <a:pt x="181" y="651"/>
                      <a:pt x="165" y="638"/>
                      <a:pt x="153" y="622"/>
                    </a:cubicBezTo>
                    <a:cubicBezTo>
                      <a:pt x="138" y="605"/>
                      <a:pt x="128" y="583"/>
                      <a:pt x="123" y="556"/>
                    </a:cubicBezTo>
                    <a:cubicBezTo>
                      <a:pt x="118" y="528"/>
                      <a:pt x="115" y="476"/>
                      <a:pt x="115" y="399"/>
                    </a:cubicBezTo>
                    <a:cubicBezTo>
                      <a:pt x="115" y="322"/>
                      <a:pt x="118" y="269"/>
                      <a:pt x="123" y="241"/>
                    </a:cubicBezTo>
                    <a:cubicBezTo>
                      <a:pt x="128" y="214"/>
                      <a:pt x="138" y="193"/>
                      <a:pt x="153" y="176"/>
                    </a:cubicBezTo>
                    <a:cubicBezTo>
                      <a:pt x="165" y="160"/>
                      <a:pt x="181" y="146"/>
                      <a:pt x="201" y="135"/>
                    </a:cubicBezTo>
                    <a:cubicBezTo>
                      <a:pt x="221" y="125"/>
                      <a:pt x="244" y="119"/>
                      <a:pt x="271" y="119"/>
                    </a:cubicBezTo>
                    <a:cubicBezTo>
                      <a:pt x="308" y="119"/>
                      <a:pt x="339" y="130"/>
                      <a:pt x="365" y="152"/>
                    </a:cubicBezTo>
                    <a:cubicBezTo>
                      <a:pt x="390" y="174"/>
                      <a:pt x="407" y="201"/>
                      <a:pt x="416" y="232"/>
                    </a:cubicBezTo>
                    <a:lnTo>
                      <a:pt x="538" y="232"/>
                    </a:lnTo>
                    <a:cubicBezTo>
                      <a:pt x="526" y="167"/>
                      <a:pt x="497" y="112"/>
                      <a:pt x="451" y="68"/>
                    </a:cubicBezTo>
                    <a:cubicBezTo>
                      <a:pt x="404" y="24"/>
                      <a:pt x="345" y="1"/>
                      <a:pt x="271" y="0"/>
                    </a:cubicBezTo>
                    <a:cubicBezTo>
                      <a:pt x="212" y="1"/>
                      <a:pt x="162" y="16"/>
                      <a:pt x="122" y="45"/>
                    </a:cubicBezTo>
                    <a:cubicBezTo>
                      <a:pt x="81" y="73"/>
                      <a:pt x="52" y="105"/>
                      <a:pt x="33" y="141"/>
                    </a:cubicBezTo>
                    <a:cubicBezTo>
                      <a:pt x="22" y="160"/>
                      <a:pt x="13" y="185"/>
                      <a:pt x="8" y="216"/>
                    </a:cubicBezTo>
                    <a:cubicBezTo>
                      <a:pt x="3" y="247"/>
                      <a:pt x="0" y="308"/>
                      <a:pt x="0" y="399"/>
                    </a:cubicBezTo>
                    <a:cubicBezTo>
                      <a:pt x="0" y="489"/>
                      <a:pt x="3" y="549"/>
                      <a:pt x="8" y="581"/>
                    </a:cubicBezTo>
                    <a:cubicBezTo>
                      <a:pt x="11" y="598"/>
                      <a:pt x="14" y="612"/>
                      <a:pt x="18" y="623"/>
                    </a:cubicBezTo>
                    <a:cubicBezTo>
                      <a:pt x="23" y="633"/>
                      <a:pt x="28" y="645"/>
                      <a:pt x="33" y="656"/>
                    </a:cubicBezTo>
                    <a:cubicBezTo>
                      <a:pt x="42" y="674"/>
                      <a:pt x="54" y="690"/>
                      <a:pt x="67" y="705"/>
                    </a:cubicBezTo>
                    <a:cubicBezTo>
                      <a:pt x="68" y="706"/>
                      <a:pt x="68" y="706"/>
                      <a:pt x="69" y="707"/>
                    </a:cubicBezTo>
                    <a:cubicBezTo>
                      <a:pt x="78" y="717"/>
                      <a:pt x="88" y="727"/>
                      <a:pt x="100" y="736"/>
                    </a:cubicBezTo>
                    <a:cubicBezTo>
                      <a:pt x="99" y="730"/>
                      <a:pt x="99" y="724"/>
                      <a:pt x="99" y="718"/>
                    </a:cubicBezTo>
                    <a:cubicBezTo>
                      <a:pt x="99" y="711"/>
                      <a:pt x="100" y="704"/>
                      <a:pt x="101" y="697"/>
                    </a:cubicBezTo>
                    <a:cubicBezTo>
                      <a:pt x="100" y="706"/>
                      <a:pt x="101" y="716"/>
                      <a:pt x="103" y="725"/>
                    </a:cubicBezTo>
                    <a:cubicBezTo>
                      <a:pt x="104" y="731"/>
                      <a:pt x="106" y="736"/>
                      <a:pt x="108" y="742"/>
                    </a:cubicBezTo>
                    <a:cubicBezTo>
                      <a:pt x="110" y="743"/>
                      <a:pt x="111" y="745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5" y="747"/>
                      <a:pt x="116" y="748"/>
                      <a:pt x="118" y="750"/>
                    </a:cubicBezTo>
                    <a:lnTo>
                      <a:pt x="119" y="750"/>
                    </a:lnTo>
                    <a:cubicBezTo>
                      <a:pt x="119" y="750"/>
                      <a:pt x="119" y="750"/>
                      <a:pt x="119" y="750"/>
                    </a:cubicBezTo>
                    <a:cubicBezTo>
                      <a:pt x="120" y="750"/>
                      <a:pt x="120" y="751"/>
                      <a:pt x="121" y="752"/>
                    </a:cubicBezTo>
                    <a:cubicBezTo>
                      <a:pt x="121" y="749"/>
                      <a:pt x="121" y="746"/>
                      <a:pt x="120" y="743"/>
                    </a:cubicBezTo>
                    <a:cubicBezTo>
                      <a:pt x="120" y="743"/>
                      <a:pt x="122" y="745"/>
                      <a:pt x="122" y="745"/>
                    </a:cubicBezTo>
                    <a:cubicBezTo>
                      <a:pt x="122" y="746"/>
                      <a:pt x="123" y="747"/>
                      <a:pt x="124" y="749"/>
                    </a:cubicBezTo>
                    <a:cubicBezTo>
                      <a:pt x="126" y="745"/>
                      <a:pt x="129" y="741"/>
                      <a:pt x="130" y="738"/>
                    </a:cubicBezTo>
                    <a:cubicBezTo>
                      <a:pt x="135" y="731"/>
                      <a:pt x="146" y="721"/>
                      <a:pt x="147" y="710"/>
                    </a:cubicBezTo>
                    <a:cubicBezTo>
                      <a:pt x="146" y="719"/>
                      <a:pt x="142" y="727"/>
                      <a:pt x="138" y="735"/>
                    </a:cubicBezTo>
                    <a:cubicBezTo>
                      <a:pt x="134" y="742"/>
                      <a:pt x="130" y="749"/>
                      <a:pt x="128" y="757"/>
                    </a:cubicBezTo>
                    <a:cubicBezTo>
                      <a:pt x="131" y="758"/>
                      <a:pt x="133" y="760"/>
                      <a:pt x="135" y="761"/>
                    </a:cubicBezTo>
                    <a:cubicBezTo>
                      <a:pt x="136" y="759"/>
                      <a:pt x="137" y="756"/>
                      <a:pt x="137" y="754"/>
                    </a:cubicBezTo>
                    <a:cubicBezTo>
                      <a:pt x="137" y="751"/>
                      <a:pt x="137" y="747"/>
                      <a:pt x="138" y="744"/>
                    </a:cubicBezTo>
                    <a:cubicBezTo>
                      <a:pt x="137" y="751"/>
                      <a:pt x="139" y="758"/>
                      <a:pt x="141" y="764"/>
                    </a:cubicBezTo>
                    <a:cubicBezTo>
                      <a:pt x="144" y="766"/>
                      <a:pt x="147" y="768"/>
                      <a:pt x="150" y="769"/>
                    </a:cubicBezTo>
                    <a:cubicBezTo>
                      <a:pt x="150" y="762"/>
                      <a:pt x="150" y="755"/>
                      <a:pt x="149" y="748"/>
                    </a:cubicBezTo>
                    <a:cubicBezTo>
                      <a:pt x="148" y="741"/>
                      <a:pt x="146" y="734"/>
                      <a:pt x="144" y="726"/>
                    </a:cubicBezTo>
                    <a:cubicBezTo>
                      <a:pt x="144" y="726"/>
                      <a:pt x="144" y="726"/>
                      <a:pt x="144" y="725"/>
                    </a:cubicBezTo>
                    <a:cubicBezTo>
                      <a:pt x="144" y="726"/>
                      <a:pt x="144" y="726"/>
                      <a:pt x="144" y="726"/>
                    </a:cubicBezTo>
                    <a:cubicBezTo>
                      <a:pt x="145" y="728"/>
                      <a:pt x="147" y="730"/>
                      <a:pt x="148" y="731"/>
                    </a:cubicBezTo>
                    <a:cubicBezTo>
                      <a:pt x="149" y="734"/>
                      <a:pt x="151" y="739"/>
                      <a:pt x="152" y="743"/>
                    </a:cubicBezTo>
                    <a:cubicBezTo>
                      <a:pt x="153" y="747"/>
                      <a:pt x="156" y="754"/>
                      <a:pt x="157" y="759"/>
                    </a:cubicBezTo>
                    <a:cubicBezTo>
                      <a:pt x="159" y="762"/>
                      <a:pt x="163" y="772"/>
                      <a:pt x="165" y="773"/>
                    </a:cubicBezTo>
                    <a:cubicBezTo>
                      <a:pt x="165" y="772"/>
                      <a:pt x="164" y="769"/>
                      <a:pt x="164" y="767"/>
                    </a:cubicBezTo>
                    <a:cubicBezTo>
                      <a:pt x="164" y="763"/>
                      <a:pt x="164" y="758"/>
                      <a:pt x="164" y="753"/>
                    </a:cubicBezTo>
                    <a:cubicBezTo>
                      <a:pt x="164" y="761"/>
                      <a:pt x="173" y="768"/>
                      <a:pt x="178" y="771"/>
                    </a:cubicBezTo>
                    <a:cubicBezTo>
                      <a:pt x="178" y="769"/>
                      <a:pt x="179" y="768"/>
                      <a:pt x="179" y="766"/>
                    </a:cubicBezTo>
                    <a:cubicBezTo>
                      <a:pt x="180" y="763"/>
                      <a:pt x="180" y="760"/>
                      <a:pt x="180" y="757"/>
                    </a:cubicBezTo>
                    <a:cubicBezTo>
                      <a:pt x="181" y="751"/>
                      <a:pt x="182" y="742"/>
                      <a:pt x="180" y="735"/>
                    </a:cubicBezTo>
                    <a:cubicBezTo>
                      <a:pt x="182" y="740"/>
                      <a:pt x="184" y="745"/>
                      <a:pt x="186" y="751"/>
                    </a:cubicBezTo>
                    <a:cubicBezTo>
                      <a:pt x="187" y="757"/>
                      <a:pt x="189" y="764"/>
                      <a:pt x="190" y="771"/>
                    </a:cubicBezTo>
                    <a:cubicBezTo>
                      <a:pt x="191" y="758"/>
                      <a:pt x="190" y="765"/>
                      <a:pt x="195" y="753"/>
                    </a:cubicBezTo>
                    <a:cubicBezTo>
                      <a:pt x="198" y="745"/>
                      <a:pt x="199" y="737"/>
                      <a:pt x="200" y="730"/>
                    </a:cubicBezTo>
                    <a:cubicBezTo>
                      <a:pt x="200" y="722"/>
                      <a:pt x="200" y="715"/>
                      <a:pt x="198" y="711"/>
                    </a:cubicBezTo>
                    <a:cubicBezTo>
                      <a:pt x="198" y="713"/>
                      <a:pt x="204" y="722"/>
                      <a:pt x="205" y="726"/>
                    </a:cubicBezTo>
                    <a:cubicBezTo>
                      <a:pt x="205" y="736"/>
                      <a:pt x="202" y="742"/>
                      <a:pt x="202" y="751"/>
                    </a:cubicBezTo>
                    <a:cubicBezTo>
                      <a:pt x="200" y="766"/>
                      <a:pt x="199" y="759"/>
                      <a:pt x="209" y="768"/>
                    </a:cubicBezTo>
                    <a:cubicBezTo>
                      <a:pt x="209" y="768"/>
                      <a:pt x="208" y="765"/>
                      <a:pt x="208" y="764"/>
                    </a:cubicBezTo>
                    <a:cubicBezTo>
                      <a:pt x="208" y="758"/>
                      <a:pt x="208" y="754"/>
                      <a:pt x="209" y="749"/>
                    </a:cubicBezTo>
                    <a:cubicBezTo>
                      <a:pt x="210" y="745"/>
                      <a:pt x="211" y="740"/>
                      <a:pt x="213" y="734"/>
                    </a:cubicBezTo>
                    <a:cubicBezTo>
                      <a:pt x="213" y="742"/>
                      <a:pt x="216" y="756"/>
                      <a:pt x="222" y="762"/>
                    </a:cubicBezTo>
                    <a:cubicBezTo>
                      <a:pt x="222" y="761"/>
                      <a:pt x="221" y="759"/>
                      <a:pt x="221" y="758"/>
                    </a:cubicBezTo>
                    <a:cubicBezTo>
                      <a:pt x="221" y="756"/>
                      <a:pt x="221" y="757"/>
                      <a:pt x="221" y="753"/>
                    </a:cubicBezTo>
                    <a:cubicBezTo>
                      <a:pt x="220" y="754"/>
                      <a:pt x="222" y="758"/>
                      <a:pt x="224" y="759"/>
                    </a:cubicBezTo>
                    <a:cubicBezTo>
                      <a:pt x="225" y="759"/>
                      <a:pt x="226" y="761"/>
                      <a:pt x="228" y="762"/>
                    </a:cubicBezTo>
                    <a:cubicBezTo>
                      <a:pt x="228" y="760"/>
                      <a:pt x="229" y="757"/>
                      <a:pt x="230" y="755"/>
                    </a:cubicBezTo>
                    <a:cubicBezTo>
                      <a:pt x="232" y="752"/>
                      <a:pt x="233" y="748"/>
                      <a:pt x="234" y="743"/>
                    </a:cubicBezTo>
                    <a:cubicBezTo>
                      <a:pt x="233" y="743"/>
                      <a:pt x="232" y="742"/>
                      <a:pt x="231" y="741"/>
                    </a:cubicBezTo>
                    <a:cubicBezTo>
                      <a:pt x="232" y="740"/>
                      <a:pt x="233" y="741"/>
                      <a:pt x="234" y="741"/>
                    </a:cubicBezTo>
                    <a:cubicBezTo>
                      <a:pt x="234" y="739"/>
                      <a:pt x="234" y="736"/>
                      <a:pt x="235" y="734"/>
                    </a:cubicBezTo>
                    <a:cubicBezTo>
                      <a:pt x="235" y="734"/>
                      <a:pt x="235" y="736"/>
                      <a:pt x="235" y="736"/>
                    </a:cubicBezTo>
                    <a:cubicBezTo>
                      <a:pt x="236" y="738"/>
                      <a:pt x="236" y="740"/>
                      <a:pt x="237" y="742"/>
                    </a:cubicBezTo>
                    <a:cubicBezTo>
                      <a:pt x="239" y="744"/>
                      <a:pt x="242" y="746"/>
                      <a:pt x="244" y="749"/>
                    </a:cubicBezTo>
                    <a:cubicBezTo>
                      <a:pt x="246" y="742"/>
                      <a:pt x="250" y="735"/>
                      <a:pt x="254" y="729"/>
                    </a:cubicBezTo>
                    <a:cubicBezTo>
                      <a:pt x="254" y="727"/>
                      <a:pt x="256" y="725"/>
                      <a:pt x="257" y="723"/>
                    </a:cubicBezTo>
                    <a:cubicBezTo>
                      <a:pt x="260" y="716"/>
                      <a:pt x="264" y="710"/>
                      <a:pt x="267" y="702"/>
                    </a:cubicBezTo>
                    <a:cubicBezTo>
                      <a:pt x="266" y="710"/>
                      <a:pt x="266" y="716"/>
                      <a:pt x="262" y="723"/>
                    </a:cubicBezTo>
                    <a:cubicBezTo>
                      <a:pt x="261" y="725"/>
                      <a:pt x="260" y="726"/>
                      <a:pt x="260" y="728"/>
                    </a:cubicBezTo>
                    <a:cubicBezTo>
                      <a:pt x="259" y="732"/>
                      <a:pt x="259" y="736"/>
                      <a:pt x="260" y="740"/>
                    </a:cubicBezTo>
                    <a:cubicBezTo>
                      <a:pt x="265" y="734"/>
                      <a:pt x="271" y="730"/>
                      <a:pt x="279" y="728"/>
                    </a:cubicBezTo>
                    <a:cubicBezTo>
                      <a:pt x="278" y="732"/>
                      <a:pt x="269" y="736"/>
                      <a:pt x="267" y="740"/>
                    </a:cubicBezTo>
                    <a:cubicBezTo>
                      <a:pt x="265" y="744"/>
                      <a:pt x="264" y="748"/>
                      <a:pt x="264" y="753"/>
                    </a:cubicBezTo>
                    <a:cubicBezTo>
                      <a:pt x="264" y="754"/>
                      <a:pt x="265" y="756"/>
                      <a:pt x="265" y="757"/>
                    </a:cubicBezTo>
                    <a:cubicBezTo>
                      <a:pt x="267" y="762"/>
                      <a:pt x="267" y="768"/>
                      <a:pt x="268" y="775"/>
                    </a:cubicBezTo>
                    <a:cubicBezTo>
                      <a:pt x="270" y="773"/>
                      <a:pt x="273" y="771"/>
                      <a:pt x="274" y="769"/>
                    </a:cubicBezTo>
                    <a:lnTo>
                      <a:pt x="274" y="769"/>
                    </a:lnTo>
                    <a:cubicBezTo>
                      <a:pt x="274" y="764"/>
                      <a:pt x="274" y="758"/>
                      <a:pt x="273" y="753"/>
                    </a:cubicBezTo>
                    <a:cubicBezTo>
                      <a:pt x="273" y="754"/>
                      <a:pt x="274" y="755"/>
                      <a:pt x="275" y="756"/>
                    </a:cubicBezTo>
                    <a:cubicBezTo>
                      <a:pt x="276" y="757"/>
                      <a:pt x="277" y="759"/>
                      <a:pt x="278" y="761"/>
                    </a:cubicBezTo>
                    <a:cubicBezTo>
                      <a:pt x="278" y="759"/>
                      <a:pt x="278" y="757"/>
                      <a:pt x="278" y="755"/>
                    </a:cubicBezTo>
                    <a:cubicBezTo>
                      <a:pt x="280" y="757"/>
                      <a:pt x="282" y="760"/>
                      <a:pt x="283" y="762"/>
                    </a:cubicBezTo>
                    <a:cubicBezTo>
                      <a:pt x="285" y="764"/>
                      <a:pt x="287" y="767"/>
                      <a:pt x="288" y="770"/>
                    </a:cubicBezTo>
                    <a:cubicBezTo>
                      <a:pt x="288" y="768"/>
                      <a:pt x="287" y="766"/>
                      <a:pt x="288" y="765"/>
                    </a:cubicBezTo>
                    <a:cubicBezTo>
                      <a:pt x="288" y="762"/>
                      <a:pt x="290" y="758"/>
                      <a:pt x="290" y="755"/>
                    </a:cubicBezTo>
                    <a:cubicBezTo>
                      <a:pt x="290" y="758"/>
                      <a:pt x="290" y="760"/>
                      <a:pt x="291" y="763"/>
                    </a:cubicBezTo>
                    <a:cubicBezTo>
                      <a:pt x="291" y="763"/>
                      <a:pt x="291" y="762"/>
                      <a:pt x="291" y="762"/>
                    </a:cubicBezTo>
                    <a:cubicBezTo>
                      <a:pt x="291" y="759"/>
                      <a:pt x="291" y="754"/>
                      <a:pt x="292" y="751"/>
                    </a:cubicBezTo>
                    <a:cubicBezTo>
                      <a:pt x="292" y="745"/>
                      <a:pt x="290" y="739"/>
                      <a:pt x="286" y="736"/>
                    </a:cubicBezTo>
                    <a:cubicBezTo>
                      <a:pt x="287" y="736"/>
                      <a:pt x="292" y="742"/>
                      <a:pt x="292" y="743"/>
                    </a:cubicBezTo>
                    <a:cubicBezTo>
                      <a:pt x="295" y="747"/>
                      <a:pt x="296" y="752"/>
                      <a:pt x="298" y="757"/>
                    </a:cubicBezTo>
                    <a:cubicBezTo>
                      <a:pt x="299" y="762"/>
                      <a:pt x="300" y="767"/>
                      <a:pt x="301" y="772"/>
                    </a:cubicBezTo>
                    <a:cubicBezTo>
                      <a:pt x="301" y="770"/>
                      <a:pt x="302" y="768"/>
                      <a:pt x="302" y="766"/>
                    </a:cubicBezTo>
                    <a:cubicBezTo>
                      <a:pt x="302" y="761"/>
                      <a:pt x="301" y="756"/>
                      <a:pt x="300" y="751"/>
                    </a:cubicBezTo>
                    <a:cubicBezTo>
                      <a:pt x="299" y="746"/>
                      <a:pt x="298" y="742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8" y="738"/>
                      <a:pt x="300" y="741"/>
                      <a:pt x="300" y="742"/>
                    </a:cubicBezTo>
                    <a:cubicBezTo>
                      <a:pt x="302" y="745"/>
                      <a:pt x="304" y="750"/>
                      <a:pt x="305" y="753"/>
                    </a:cubicBezTo>
                    <a:cubicBezTo>
                      <a:pt x="305" y="754"/>
                      <a:pt x="305" y="756"/>
                      <a:pt x="306" y="758"/>
                    </a:cubicBezTo>
                    <a:cubicBezTo>
                      <a:pt x="307" y="754"/>
                      <a:pt x="309" y="750"/>
                      <a:pt x="311" y="747"/>
                    </a:cubicBezTo>
                    <a:cubicBezTo>
                      <a:pt x="310" y="750"/>
                      <a:pt x="310" y="753"/>
                      <a:pt x="309" y="756"/>
                    </a:cubicBezTo>
                    <a:cubicBezTo>
                      <a:pt x="309" y="758"/>
                      <a:pt x="310" y="759"/>
                      <a:pt x="309" y="761"/>
                    </a:cubicBezTo>
                    <a:cubicBezTo>
                      <a:pt x="309" y="762"/>
                      <a:pt x="310" y="765"/>
                      <a:pt x="310" y="766"/>
                    </a:cubicBezTo>
                    <a:cubicBezTo>
                      <a:pt x="310" y="767"/>
                      <a:pt x="310" y="768"/>
                      <a:pt x="310" y="770"/>
                    </a:cubicBezTo>
                    <a:cubicBezTo>
                      <a:pt x="311" y="772"/>
                      <a:pt x="313" y="773"/>
                      <a:pt x="315" y="773"/>
                    </a:cubicBezTo>
                    <a:cubicBezTo>
                      <a:pt x="315" y="771"/>
                      <a:pt x="316" y="769"/>
                      <a:pt x="317" y="767"/>
                    </a:cubicBezTo>
                    <a:cubicBezTo>
                      <a:pt x="317" y="763"/>
                      <a:pt x="317" y="758"/>
                      <a:pt x="317" y="754"/>
                    </a:cubicBezTo>
                    <a:cubicBezTo>
                      <a:pt x="317" y="757"/>
                      <a:pt x="318" y="760"/>
                      <a:pt x="320" y="762"/>
                    </a:cubicBezTo>
                    <a:cubicBezTo>
                      <a:pt x="323" y="757"/>
                      <a:pt x="326" y="752"/>
                      <a:pt x="328" y="749"/>
                    </a:cubicBezTo>
                    <a:cubicBezTo>
                      <a:pt x="329" y="746"/>
                      <a:pt x="332" y="744"/>
                      <a:pt x="334" y="741"/>
                    </a:cubicBezTo>
                    <a:cubicBezTo>
                      <a:pt x="333" y="738"/>
                      <a:pt x="332" y="735"/>
                      <a:pt x="331" y="733"/>
                    </a:cubicBezTo>
                    <a:cubicBezTo>
                      <a:pt x="333" y="735"/>
                      <a:pt x="334" y="737"/>
                      <a:pt x="335" y="739"/>
                    </a:cubicBezTo>
                    <a:cubicBezTo>
                      <a:pt x="339" y="734"/>
                      <a:pt x="343" y="729"/>
                      <a:pt x="344" y="723"/>
                    </a:cubicBezTo>
                    <a:cubicBezTo>
                      <a:pt x="343" y="730"/>
                      <a:pt x="340" y="736"/>
                      <a:pt x="337" y="742"/>
                    </a:cubicBezTo>
                    <a:cubicBezTo>
                      <a:pt x="339" y="747"/>
                      <a:pt x="340" y="751"/>
                      <a:pt x="341" y="756"/>
                    </a:cubicBezTo>
                    <a:cubicBezTo>
                      <a:pt x="342" y="761"/>
                      <a:pt x="342" y="766"/>
                      <a:pt x="343" y="771"/>
                    </a:cubicBezTo>
                    <a:cubicBezTo>
                      <a:pt x="343" y="765"/>
                      <a:pt x="344" y="760"/>
                      <a:pt x="345" y="755"/>
                    </a:cubicBezTo>
                    <a:cubicBezTo>
                      <a:pt x="345" y="751"/>
                      <a:pt x="346" y="746"/>
                      <a:pt x="348" y="740"/>
                    </a:cubicBezTo>
                    <a:cubicBezTo>
                      <a:pt x="350" y="733"/>
                      <a:pt x="352" y="727"/>
                      <a:pt x="353" y="722"/>
                    </a:cubicBezTo>
                    <a:cubicBezTo>
                      <a:pt x="353" y="718"/>
                      <a:pt x="353" y="713"/>
                      <a:pt x="349" y="709"/>
                    </a:cubicBezTo>
                    <a:cubicBezTo>
                      <a:pt x="361" y="709"/>
                      <a:pt x="358" y="729"/>
                      <a:pt x="357" y="737"/>
                    </a:cubicBezTo>
                    <a:cubicBezTo>
                      <a:pt x="357" y="745"/>
                      <a:pt x="355" y="750"/>
                      <a:pt x="355" y="755"/>
                    </a:cubicBezTo>
                    <a:cubicBezTo>
                      <a:pt x="355" y="760"/>
                      <a:pt x="357" y="764"/>
                      <a:pt x="362" y="769"/>
                    </a:cubicBezTo>
                    <a:cubicBezTo>
                      <a:pt x="362" y="768"/>
                      <a:pt x="361" y="765"/>
                      <a:pt x="361" y="764"/>
                    </a:cubicBezTo>
                    <a:cubicBezTo>
                      <a:pt x="361" y="758"/>
                      <a:pt x="361" y="754"/>
                      <a:pt x="362" y="750"/>
                    </a:cubicBezTo>
                    <a:cubicBezTo>
                      <a:pt x="363" y="745"/>
                      <a:pt x="364" y="741"/>
                      <a:pt x="366" y="7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0" name="Freeform 37">
                <a:extLst>
                  <a:ext uri="{FF2B5EF4-FFF2-40B4-BE49-F238E27FC236}">
                    <a16:creationId xmlns:a16="http://schemas.microsoft.com/office/drawing/2014/main" id="{10DFCB3C-637E-6B6A-71AE-F652951DE2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7156" y="3934013"/>
                <a:ext cx="1810" cy="3620"/>
              </a:xfrm>
              <a:custGeom>
                <a:avLst/>
                <a:gdLst>
                  <a:gd name="T0" fmla="*/ 2 w 3"/>
                  <a:gd name="T1" fmla="*/ 0 h 12"/>
                  <a:gd name="T2" fmla="*/ 0 w 3"/>
                  <a:gd name="T3" fmla="*/ 12 h 12"/>
                  <a:gd name="T4" fmla="*/ 3 w 3"/>
                  <a:gd name="T5" fmla="*/ 6 h 12"/>
                  <a:gd name="T6" fmla="*/ 3 w 3"/>
                  <a:gd name="T7" fmla="*/ 5 h 12"/>
                  <a:gd name="T8" fmla="*/ 2 w 3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2">
                    <a:moveTo>
                      <a:pt x="2" y="0"/>
                    </a:moveTo>
                    <a:cubicBezTo>
                      <a:pt x="2" y="4"/>
                      <a:pt x="1" y="7"/>
                      <a:pt x="0" y="12"/>
                    </a:cubicBezTo>
                    <a:cubicBezTo>
                      <a:pt x="0" y="11"/>
                      <a:pt x="2" y="8"/>
                      <a:pt x="3" y="6"/>
                    </a:cubicBezTo>
                    <a:cubicBezTo>
                      <a:pt x="3" y="6"/>
                      <a:pt x="3" y="5"/>
                      <a:pt x="3" y="5"/>
                    </a:cubicBezTo>
                    <a:cubicBezTo>
                      <a:pt x="3" y="3"/>
                      <a:pt x="3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1" name="Freeform 38">
                <a:extLst>
                  <a:ext uri="{FF2B5EF4-FFF2-40B4-BE49-F238E27FC236}">
                    <a16:creationId xmlns:a16="http://schemas.microsoft.com/office/drawing/2014/main" id="{D3CD4A97-49DB-DCCB-432F-F93F2AEBEF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1726" y="3934013"/>
                <a:ext cx="1810" cy="5430"/>
              </a:xfrm>
              <a:custGeom>
                <a:avLst/>
                <a:gdLst>
                  <a:gd name="T0" fmla="*/ 0 w 5"/>
                  <a:gd name="T1" fmla="*/ 0 h 14"/>
                  <a:gd name="T2" fmla="*/ 3 w 5"/>
                  <a:gd name="T3" fmla="*/ 14 h 14"/>
                  <a:gd name="T4" fmla="*/ 5 w 5"/>
                  <a:gd name="T5" fmla="*/ 6 h 14"/>
                  <a:gd name="T6" fmla="*/ 0 w 5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4">
                    <a:moveTo>
                      <a:pt x="0" y="0"/>
                    </a:moveTo>
                    <a:cubicBezTo>
                      <a:pt x="1" y="4"/>
                      <a:pt x="2" y="9"/>
                      <a:pt x="3" y="14"/>
                    </a:cubicBezTo>
                    <a:cubicBezTo>
                      <a:pt x="4" y="11"/>
                      <a:pt x="4" y="9"/>
                      <a:pt x="5" y="6"/>
                    </a:cubicBezTo>
                    <a:cubicBezTo>
                      <a:pt x="4" y="4"/>
                      <a:pt x="2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2" name="Freeform 39">
                <a:extLst>
                  <a:ext uri="{FF2B5EF4-FFF2-40B4-BE49-F238E27FC236}">
                    <a16:creationId xmlns:a16="http://schemas.microsoft.com/office/drawing/2014/main" id="{DEBA006C-188C-9F98-71AD-E953F5BB51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1051" y="39322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3" name="Freeform 40">
                <a:extLst>
                  <a:ext uri="{FF2B5EF4-FFF2-40B4-BE49-F238E27FC236}">
                    <a16:creationId xmlns:a16="http://schemas.microsoft.com/office/drawing/2014/main" id="{053EA6E6-A265-C0C4-4C5A-2E9CABB8FE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2861" y="3934013"/>
                <a:ext cx="0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4" name="Freeform 41">
                <a:extLst>
                  <a:ext uri="{FF2B5EF4-FFF2-40B4-BE49-F238E27FC236}">
                    <a16:creationId xmlns:a16="http://schemas.microsoft.com/office/drawing/2014/main" id="{A9F55A8B-ECAA-74C6-C3CA-B027BD5133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37923" y="3932203"/>
                <a:ext cx="3620" cy="10859"/>
              </a:xfrm>
              <a:custGeom>
                <a:avLst/>
                <a:gdLst>
                  <a:gd name="T0" fmla="*/ 9 w 10"/>
                  <a:gd name="T1" fmla="*/ 11 h 24"/>
                  <a:gd name="T2" fmla="*/ 10 w 10"/>
                  <a:gd name="T3" fmla="*/ 0 h 24"/>
                  <a:gd name="T4" fmla="*/ 0 w 10"/>
                  <a:gd name="T5" fmla="*/ 21 h 24"/>
                  <a:gd name="T6" fmla="*/ 6 w 10"/>
                  <a:gd name="T7" fmla="*/ 24 h 24"/>
                  <a:gd name="T8" fmla="*/ 7 w 10"/>
                  <a:gd name="T9" fmla="*/ 20 h 24"/>
                  <a:gd name="T10" fmla="*/ 9 w 10"/>
                  <a:gd name="T11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4">
                    <a:moveTo>
                      <a:pt x="9" y="11"/>
                    </a:moveTo>
                    <a:cubicBezTo>
                      <a:pt x="10" y="8"/>
                      <a:pt x="10" y="4"/>
                      <a:pt x="10" y="0"/>
                    </a:cubicBezTo>
                    <a:cubicBezTo>
                      <a:pt x="6" y="7"/>
                      <a:pt x="2" y="14"/>
                      <a:pt x="0" y="21"/>
                    </a:cubicBezTo>
                    <a:cubicBezTo>
                      <a:pt x="2" y="23"/>
                      <a:pt x="4" y="24"/>
                      <a:pt x="6" y="24"/>
                    </a:cubicBezTo>
                    <a:cubicBezTo>
                      <a:pt x="6" y="22"/>
                      <a:pt x="7" y="22"/>
                      <a:pt x="7" y="20"/>
                    </a:cubicBezTo>
                    <a:cubicBezTo>
                      <a:pt x="7" y="17"/>
                      <a:pt x="9" y="14"/>
                      <a:pt x="9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5" name="Freeform 42">
                <a:extLst>
                  <a:ext uri="{FF2B5EF4-FFF2-40B4-BE49-F238E27FC236}">
                    <a16:creationId xmlns:a16="http://schemas.microsoft.com/office/drawing/2014/main" id="{D3D378FD-218D-5549-9D5E-F5AD8B8A41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29360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6" name="Freeform 43">
                <a:extLst>
                  <a:ext uri="{FF2B5EF4-FFF2-40B4-BE49-F238E27FC236}">
                    <a16:creationId xmlns:a16="http://schemas.microsoft.com/office/drawing/2014/main" id="{4EF6B16F-0CE0-4816-06D8-3285B9681A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56048" y="4004596"/>
                <a:ext cx="54295" cy="74204"/>
              </a:xfrm>
              <a:custGeom>
                <a:avLst/>
                <a:gdLst>
                  <a:gd name="T0" fmla="*/ 84 w 130"/>
                  <a:gd name="T1" fmla="*/ 181 h 181"/>
                  <a:gd name="T2" fmla="*/ 84 w 130"/>
                  <a:gd name="T3" fmla="*/ 33 h 181"/>
                  <a:gd name="T4" fmla="*/ 130 w 130"/>
                  <a:gd name="T5" fmla="*/ 33 h 181"/>
                  <a:gd name="T6" fmla="*/ 130 w 130"/>
                  <a:gd name="T7" fmla="*/ 0 h 181"/>
                  <a:gd name="T8" fmla="*/ 0 w 130"/>
                  <a:gd name="T9" fmla="*/ 0 h 181"/>
                  <a:gd name="T10" fmla="*/ 0 w 130"/>
                  <a:gd name="T11" fmla="*/ 33 h 181"/>
                  <a:gd name="T12" fmla="*/ 45 w 130"/>
                  <a:gd name="T13" fmla="*/ 33 h 181"/>
                  <a:gd name="T14" fmla="*/ 45 w 130"/>
                  <a:gd name="T15" fmla="*/ 181 h 181"/>
                  <a:gd name="T16" fmla="*/ 84 w 130"/>
                  <a:gd name="T17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0" h="181">
                    <a:moveTo>
                      <a:pt x="84" y="181"/>
                    </a:moveTo>
                    <a:lnTo>
                      <a:pt x="84" y="33"/>
                    </a:lnTo>
                    <a:lnTo>
                      <a:pt x="130" y="33"/>
                    </a:lnTo>
                    <a:lnTo>
                      <a:pt x="130" y="0"/>
                    </a:lnTo>
                    <a:lnTo>
                      <a:pt x="0" y="0"/>
                    </a:lnTo>
                    <a:lnTo>
                      <a:pt x="0" y="33"/>
                    </a:lnTo>
                    <a:lnTo>
                      <a:pt x="45" y="33"/>
                    </a:lnTo>
                    <a:lnTo>
                      <a:pt x="45" y="181"/>
                    </a:lnTo>
                    <a:lnTo>
                      <a:pt x="84" y="1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7" name="Freeform 44">
                <a:extLst>
                  <a:ext uri="{FF2B5EF4-FFF2-40B4-BE49-F238E27FC236}">
                    <a16:creationId xmlns:a16="http://schemas.microsoft.com/office/drawing/2014/main" id="{6594D440-AFD7-D8A6-8A8E-782F5BA085C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81844" y="4002787"/>
                <a:ext cx="61534" cy="77823"/>
              </a:xfrm>
              <a:custGeom>
                <a:avLst/>
                <a:gdLst>
                  <a:gd name="T0" fmla="*/ 76 w 150"/>
                  <a:gd name="T1" fmla="*/ 154 h 187"/>
                  <a:gd name="T2" fmla="*/ 40 w 150"/>
                  <a:gd name="T3" fmla="*/ 92 h 187"/>
                  <a:gd name="T4" fmla="*/ 74 w 150"/>
                  <a:gd name="T5" fmla="*/ 33 h 187"/>
                  <a:gd name="T6" fmla="*/ 109 w 150"/>
                  <a:gd name="T7" fmla="*/ 95 h 187"/>
                  <a:gd name="T8" fmla="*/ 76 w 150"/>
                  <a:gd name="T9" fmla="*/ 154 h 187"/>
                  <a:gd name="T10" fmla="*/ 76 w 150"/>
                  <a:gd name="T11" fmla="*/ 0 h 187"/>
                  <a:gd name="T12" fmla="*/ 0 w 150"/>
                  <a:gd name="T13" fmla="*/ 95 h 187"/>
                  <a:gd name="T14" fmla="*/ 74 w 150"/>
                  <a:gd name="T15" fmla="*/ 187 h 187"/>
                  <a:gd name="T16" fmla="*/ 150 w 150"/>
                  <a:gd name="T17" fmla="*/ 93 h 187"/>
                  <a:gd name="T18" fmla="*/ 76 w 150"/>
                  <a:gd name="T1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87">
                    <a:moveTo>
                      <a:pt x="76" y="154"/>
                    </a:moveTo>
                    <a:cubicBezTo>
                      <a:pt x="54" y="154"/>
                      <a:pt x="40" y="138"/>
                      <a:pt x="40" y="92"/>
                    </a:cubicBezTo>
                    <a:cubicBezTo>
                      <a:pt x="40" y="47"/>
                      <a:pt x="54" y="33"/>
                      <a:pt x="74" y="33"/>
                    </a:cubicBezTo>
                    <a:cubicBezTo>
                      <a:pt x="96" y="33"/>
                      <a:pt x="109" y="49"/>
                      <a:pt x="109" y="95"/>
                    </a:cubicBezTo>
                    <a:cubicBezTo>
                      <a:pt x="109" y="139"/>
                      <a:pt x="97" y="154"/>
                      <a:pt x="76" y="154"/>
                    </a:cubicBezTo>
                    <a:close/>
                    <a:moveTo>
                      <a:pt x="76" y="0"/>
                    </a:moveTo>
                    <a:cubicBezTo>
                      <a:pt x="32" y="0"/>
                      <a:pt x="0" y="29"/>
                      <a:pt x="0" y="95"/>
                    </a:cubicBezTo>
                    <a:cubicBezTo>
                      <a:pt x="0" y="163"/>
                      <a:pt x="28" y="187"/>
                      <a:pt x="74" y="187"/>
                    </a:cubicBezTo>
                    <a:cubicBezTo>
                      <a:pt x="118" y="187"/>
                      <a:pt x="150" y="159"/>
                      <a:pt x="150" y="93"/>
                    </a:cubicBezTo>
                    <a:cubicBezTo>
                      <a:pt x="150" y="25"/>
                      <a:pt x="121" y="0"/>
                      <a:pt x="7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" name="Freeform 45">
                <a:extLst>
                  <a:ext uri="{FF2B5EF4-FFF2-40B4-BE49-F238E27FC236}">
                    <a16:creationId xmlns:a16="http://schemas.microsoft.com/office/drawing/2014/main" id="{4601378D-4F67-F047-B0A8-A32AFE6A54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07642" y="4004596"/>
                <a:ext cx="54295" cy="74204"/>
              </a:xfrm>
              <a:custGeom>
                <a:avLst/>
                <a:gdLst>
                  <a:gd name="T0" fmla="*/ 66 w 132"/>
                  <a:gd name="T1" fmla="*/ 149 h 181"/>
                  <a:gd name="T2" fmla="*/ 39 w 132"/>
                  <a:gd name="T3" fmla="*/ 149 h 181"/>
                  <a:gd name="T4" fmla="*/ 39 w 132"/>
                  <a:gd name="T5" fmla="*/ 105 h 181"/>
                  <a:gd name="T6" fmla="*/ 64 w 132"/>
                  <a:gd name="T7" fmla="*/ 105 h 181"/>
                  <a:gd name="T8" fmla="*/ 92 w 132"/>
                  <a:gd name="T9" fmla="*/ 127 h 181"/>
                  <a:gd name="T10" fmla="*/ 66 w 132"/>
                  <a:gd name="T11" fmla="*/ 149 h 181"/>
                  <a:gd name="T12" fmla="*/ 39 w 132"/>
                  <a:gd name="T13" fmla="*/ 33 h 181"/>
                  <a:gd name="T14" fmla="*/ 60 w 132"/>
                  <a:gd name="T15" fmla="*/ 33 h 181"/>
                  <a:gd name="T16" fmla="*/ 85 w 132"/>
                  <a:gd name="T17" fmla="*/ 52 h 181"/>
                  <a:gd name="T18" fmla="*/ 59 w 132"/>
                  <a:gd name="T19" fmla="*/ 73 h 181"/>
                  <a:gd name="T20" fmla="*/ 39 w 132"/>
                  <a:gd name="T21" fmla="*/ 73 h 181"/>
                  <a:gd name="T22" fmla="*/ 39 w 132"/>
                  <a:gd name="T23" fmla="*/ 33 h 181"/>
                  <a:gd name="T24" fmla="*/ 97 w 132"/>
                  <a:gd name="T25" fmla="*/ 86 h 181"/>
                  <a:gd name="T26" fmla="*/ 97 w 132"/>
                  <a:gd name="T27" fmla="*/ 85 h 181"/>
                  <a:gd name="T28" fmla="*/ 123 w 132"/>
                  <a:gd name="T29" fmla="*/ 47 h 181"/>
                  <a:gd name="T30" fmla="*/ 65 w 132"/>
                  <a:gd name="T31" fmla="*/ 0 h 181"/>
                  <a:gd name="T32" fmla="*/ 0 w 132"/>
                  <a:gd name="T33" fmla="*/ 0 h 181"/>
                  <a:gd name="T34" fmla="*/ 0 w 132"/>
                  <a:gd name="T35" fmla="*/ 181 h 181"/>
                  <a:gd name="T36" fmla="*/ 60 w 132"/>
                  <a:gd name="T37" fmla="*/ 181 h 181"/>
                  <a:gd name="T38" fmla="*/ 132 w 132"/>
                  <a:gd name="T39" fmla="*/ 126 h 181"/>
                  <a:gd name="T40" fmla="*/ 97 w 132"/>
                  <a:gd name="T41" fmla="*/ 86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2" h="181">
                    <a:moveTo>
                      <a:pt x="66" y="149"/>
                    </a:moveTo>
                    <a:lnTo>
                      <a:pt x="39" y="149"/>
                    </a:lnTo>
                    <a:lnTo>
                      <a:pt x="39" y="105"/>
                    </a:lnTo>
                    <a:lnTo>
                      <a:pt x="64" y="105"/>
                    </a:lnTo>
                    <a:cubicBezTo>
                      <a:pt x="79" y="105"/>
                      <a:pt x="92" y="111"/>
                      <a:pt x="92" y="127"/>
                    </a:cubicBezTo>
                    <a:cubicBezTo>
                      <a:pt x="92" y="137"/>
                      <a:pt x="86" y="149"/>
                      <a:pt x="66" y="149"/>
                    </a:cubicBezTo>
                    <a:close/>
                    <a:moveTo>
                      <a:pt x="39" y="33"/>
                    </a:moveTo>
                    <a:lnTo>
                      <a:pt x="60" y="33"/>
                    </a:lnTo>
                    <a:cubicBezTo>
                      <a:pt x="79" y="33"/>
                      <a:pt x="85" y="41"/>
                      <a:pt x="85" y="52"/>
                    </a:cubicBezTo>
                    <a:cubicBezTo>
                      <a:pt x="85" y="63"/>
                      <a:pt x="78" y="73"/>
                      <a:pt x="59" y="73"/>
                    </a:cubicBezTo>
                    <a:lnTo>
                      <a:pt x="39" y="73"/>
                    </a:lnTo>
                    <a:lnTo>
                      <a:pt x="39" y="33"/>
                    </a:lnTo>
                    <a:close/>
                    <a:moveTo>
                      <a:pt x="97" y="86"/>
                    </a:moveTo>
                    <a:lnTo>
                      <a:pt x="97" y="85"/>
                    </a:lnTo>
                    <a:cubicBezTo>
                      <a:pt x="111" y="80"/>
                      <a:pt x="123" y="67"/>
                      <a:pt x="123" y="47"/>
                    </a:cubicBezTo>
                    <a:cubicBezTo>
                      <a:pt x="123" y="10"/>
                      <a:pt x="97" y="0"/>
                      <a:pt x="65" y="0"/>
                    </a:cubicBezTo>
                    <a:lnTo>
                      <a:pt x="0" y="0"/>
                    </a:lnTo>
                    <a:lnTo>
                      <a:pt x="0" y="181"/>
                    </a:lnTo>
                    <a:lnTo>
                      <a:pt x="60" y="181"/>
                    </a:lnTo>
                    <a:cubicBezTo>
                      <a:pt x="120" y="181"/>
                      <a:pt x="132" y="149"/>
                      <a:pt x="132" y="126"/>
                    </a:cubicBezTo>
                    <a:cubicBezTo>
                      <a:pt x="132" y="100"/>
                      <a:pt x="114" y="88"/>
                      <a:pt x="9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" name="Freeform 46">
                <a:extLst>
                  <a:ext uri="{FF2B5EF4-FFF2-40B4-BE49-F238E27FC236}">
                    <a16:creationId xmlns:a16="http://schemas.microsoft.com/office/drawing/2014/main" id="{18E3DDB7-9F78-763E-9751-B10D6BD052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7182" y="4104138"/>
                <a:ext cx="30768" cy="39816"/>
              </a:xfrm>
              <a:custGeom>
                <a:avLst/>
                <a:gdLst>
                  <a:gd name="T0" fmla="*/ 53 w 74"/>
                  <a:gd name="T1" fmla="*/ 61 h 97"/>
                  <a:gd name="T2" fmla="*/ 38 w 74"/>
                  <a:gd name="T3" fmla="*/ 80 h 97"/>
                  <a:gd name="T4" fmla="*/ 21 w 74"/>
                  <a:gd name="T5" fmla="*/ 59 h 97"/>
                  <a:gd name="T6" fmla="*/ 21 w 74"/>
                  <a:gd name="T7" fmla="*/ 0 h 97"/>
                  <a:gd name="T8" fmla="*/ 0 w 74"/>
                  <a:gd name="T9" fmla="*/ 0 h 97"/>
                  <a:gd name="T10" fmla="*/ 0 w 74"/>
                  <a:gd name="T11" fmla="*/ 63 h 97"/>
                  <a:gd name="T12" fmla="*/ 35 w 74"/>
                  <a:gd name="T13" fmla="*/ 97 h 97"/>
                  <a:gd name="T14" fmla="*/ 74 w 74"/>
                  <a:gd name="T15" fmla="*/ 58 h 97"/>
                  <a:gd name="T16" fmla="*/ 74 w 74"/>
                  <a:gd name="T17" fmla="*/ 0 h 97"/>
                  <a:gd name="T18" fmla="*/ 53 w 74"/>
                  <a:gd name="T19" fmla="*/ 0 h 97"/>
                  <a:gd name="T20" fmla="*/ 53 w 74"/>
                  <a:gd name="T21" fmla="*/ 6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4" h="97">
                    <a:moveTo>
                      <a:pt x="53" y="61"/>
                    </a:moveTo>
                    <a:cubicBezTo>
                      <a:pt x="53" y="74"/>
                      <a:pt x="48" y="80"/>
                      <a:pt x="38" y="80"/>
                    </a:cubicBezTo>
                    <a:cubicBezTo>
                      <a:pt x="26" y="80"/>
                      <a:pt x="21" y="72"/>
                      <a:pt x="21" y="59"/>
                    </a:cubicBezTo>
                    <a:lnTo>
                      <a:pt x="21" y="0"/>
                    </a:lnTo>
                    <a:lnTo>
                      <a:pt x="0" y="0"/>
                    </a:lnTo>
                    <a:lnTo>
                      <a:pt x="0" y="63"/>
                    </a:lnTo>
                    <a:cubicBezTo>
                      <a:pt x="0" y="82"/>
                      <a:pt x="10" y="97"/>
                      <a:pt x="35" y="97"/>
                    </a:cubicBezTo>
                    <a:cubicBezTo>
                      <a:pt x="56" y="97"/>
                      <a:pt x="74" y="87"/>
                      <a:pt x="74" y="58"/>
                    </a:cubicBezTo>
                    <a:lnTo>
                      <a:pt x="74" y="0"/>
                    </a:lnTo>
                    <a:lnTo>
                      <a:pt x="53" y="0"/>
                    </a:lnTo>
                    <a:lnTo>
                      <a:pt x="53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" name="Freeform 47">
                <a:extLst>
                  <a:ext uri="{FF2B5EF4-FFF2-40B4-BE49-F238E27FC236}">
                    <a16:creationId xmlns:a16="http://schemas.microsoft.com/office/drawing/2014/main" id="{1E26F21C-4A53-95B3-D478-416610F192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9176" y="4104138"/>
                <a:ext cx="28957" cy="39816"/>
              </a:xfrm>
              <a:custGeom>
                <a:avLst/>
                <a:gdLst>
                  <a:gd name="T0" fmla="*/ 26 w 69"/>
                  <a:gd name="T1" fmla="*/ 26 h 98"/>
                  <a:gd name="T2" fmla="*/ 36 w 69"/>
                  <a:gd name="T3" fmla="*/ 18 h 98"/>
                  <a:gd name="T4" fmla="*/ 54 w 69"/>
                  <a:gd name="T5" fmla="*/ 27 h 98"/>
                  <a:gd name="T6" fmla="*/ 67 w 69"/>
                  <a:gd name="T7" fmla="*/ 11 h 98"/>
                  <a:gd name="T8" fmla="*/ 38 w 69"/>
                  <a:gd name="T9" fmla="*/ 0 h 98"/>
                  <a:gd name="T10" fmla="*/ 4 w 69"/>
                  <a:gd name="T11" fmla="*/ 28 h 98"/>
                  <a:gd name="T12" fmla="*/ 48 w 69"/>
                  <a:gd name="T13" fmla="*/ 71 h 98"/>
                  <a:gd name="T14" fmla="*/ 36 w 69"/>
                  <a:gd name="T15" fmla="*/ 81 h 98"/>
                  <a:gd name="T16" fmla="*/ 12 w 69"/>
                  <a:gd name="T17" fmla="*/ 69 h 98"/>
                  <a:gd name="T18" fmla="*/ 0 w 69"/>
                  <a:gd name="T19" fmla="*/ 86 h 98"/>
                  <a:gd name="T20" fmla="*/ 33 w 69"/>
                  <a:gd name="T21" fmla="*/ 98 h 98"/>
                  <a:gd name="T22" fmla="*/ 69 w 69"/>
                  <a:gd name="T23" fmla="*/ 70 h 98"/>
                  <a:gd name="T24" fmla="*/ 26 w 69"/>
                  <a:gd name="T25" fmla="*/ 2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98">
                    <a:moveTo>
                      <a:pt x="26" y="26"/>
                    </a:moveTo>
                    <a:cubicBezTo>
                      <a:pt x="26" y="22"/>
                      <a:pt x="29" y="18"/>
                      <a:pt x="36" y="18"/>
                    </a:cubicBezTo>
                    <a:cubicBezTo>
                      <a:pt x="46" y="18"/>
                      <a:pt x="52" y="24"/>
                      <a:pt x="54" y="27"/>
                    </a:cubicBezTo>
                    <a:lnTo>
                      <a:pt x="67" y="11"/>
                    </a:lnTo>
                    <a:cubicBezTo>
                      <a:pt x="64" y="7"/>
                      <a:pt x="54" y="0"/>
                      <a:pt x="38" y="0"/>
                    </a:cubicBezTo>
                    <a:cubicBezTo>
                      <a:pt x="18" y="0"/>
                      <a:pt x="4" y="12"/>
                      <a:pt x="4" y="28"/>
                    </a:cubicBezTo>
                    <a:cubicBezTo>
                      <a:pt x="4" y="58"/>
                      <a:pt x="48" y="56"/>
                      <a:pt x="48" y="71"/>
                    </a:cubicBezTo>
                    <a:cubicBezTo>
                      <a:pt x="48" y="76"/>
                      <a:pt x="44" y="81"/>
                      <a:pt x="36" y="81"/>
                    </a:cubicBezTo>
                    <a:cubicBezTo>
                      <a:pt x="24" y="81"/>
                      <a:pt x="16" y="73"/>
                      <a:pt x="12" y="69"/>
                    </a:cubicBezTo>
                    <a:lnTo>
                      <a:pt x="0" y="86"/>
                    </a:lnTo>
                    <a:cubicBezTo>
                      <a:pt x="4" y="90"/>
                      <a:pt x="15" y="98"/>
                      <a:pt x="33" y="98"/>
                    </a:cubicBezTo>
                    <a:cubicBezTo>
                      <a:pt x="58" y="98"/>
                      <a:pt x="69" y="84"/>
                      <a:pt x="69" y="70"/>
                    </a:cubicBezTo>
                    <a:cubicBezTo>
                      <a:pt x="69" y="40"/>
                      <a:pt x="26" y="42"/>
                      <a:pt x="2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" name="Freeform 48">
                <a:extLst>
                  <a:ext uri="{FF2B5EF4-FFF2-40B4-BE49-F238E27FC236}">
                    <a16:creationId xmlns:a16="http://schemas.microsoft.com/office/drawing/2014/main" id="{7DF84786-29CF-9077-5450-A5361B78CFE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83628" y="4104138"/>
                <a:ext cx="27148" cy="39816"/>
              </a:xfrm>
              <a:custGeom>
                <a:avLst/>
                <a:gdLst>
                  <a:gd name="T0" fmla="*/ 27 w 66"/>
                  <a:gd name="T1" fmla="*/ 45 h 96"/>
                  <a:gd name="T2" fmla="*/ 21 w 66"/>
                  <a:gd name="T3" fmla="*/ 45 h 96"/>
                  <a:gd name="T4" fmla="*/ 21 w 66"/>
                  <a:gd name="T5" fmla="*/ 18 h 96"/>
                  <a:gd name="T6" fmla="*/ 29 w 66"/>
                  <a:gd name="T7" fmla="*/ 18 h 96"/>
                  <a:gd name="T8" fmla="*/ 44 w 66"/>
                  <a:gd name="T9" fmla="*/ 31 h 96"/>
                  <a:gd name="T10" fmla="*/ 27 w 66"/>
                  <a:gd name="T11" fmla="*/ 45 h 96"/>
                  <a:gd name="T12" fmla="*/ 32 w 66"/>
                  <a:gd name="T13" fmla="*/ 0 h 96"/>
                  <a:gd name="T14" fmla="*/ 0 w 66"/>
                  <a:gd name="T15" fmla="*/ 0 h 96"/>
                  <a:gd name="T16" fmla="*/ 0 w 66"/>
                  <a:gd name="T17" fmla="*/ 96 h 96"/>
                  <a:gd name="T18" fmla="*/ 21 w 66"/>
                  <a:gd name="T19" fmla="*/ 96 h 96"/>
                  <a:gd name="T20" fmla="*/ 21 w 66"/>
                  <a:gd name="T21" fmla="*/ 62 h 96"/>
                  <a:gd name="T22" fmla="*/ 29 w 66"/>
                  <a:gd name="T23" fmla="*/ 62 h 96"/>
                  <a:gd name="T24" fmla="*/ 66 w 66"/>
                  <a:gd name="T25" fmla="*/ 29 h 96"/>
                  <a:gd name="T26" fmla="*/ 32 w 66"/>
                  <a:gd name="T27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6" h="96">
                    <a:moveTo>
                      <a:pt x="27" y="45"/>
                    </a:moveTo>
                    <a:lnTo>
                      <a:pt x="21" y="45"/>
                    </a:lnTo>
                    <a:lnTo>
                      <a:pt x="21" y="18"/>
                    </a:lnTo>
                    <a:lnTo>
                      <a:pt x="29" y="18"/>
                    </a:lnTo>
                    <a:cubicBezTo>
                      <a:pt x="40" y="18"/>
                      <a:pt x="44" y="22"/>
                      <a:pt x="44" y="31"/>
                    </a:cubicBezTo>
                    <a:cubicBezTo>
                      <a:pt x="44" y="39"/>
                      <a:pt x="41" y="45"/>
                      <a:pt x="27" y="45"/>
                    </a:cubicBezTo>
                    <a:close/>
                    <a:moveTo>
                      <a:pt x="32" y="0"/>
                    </a:move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2"/>
                    </a:lnTo>
                    <a:lnTo>
                      <a:pt x="29" y="62"/>
                    </a:lnTo>
                    <a:cubicBezTo>
                      <a:pt x="57" y="62"/>
                      <a:pt x="66" y="46"/>
                      <a:pt x="66" y="29"/>
                    </a:cubicBezTo>
                    <a:cubicBezTo>
                      <a:pt x="66" y="7"/>
                      <a:pt x="52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" name="Freeform 49">
                <a:extLst>
                  <a:ext uri="{FF2B5EF4-FFF2-40B4-BE49-F238E27FC236}">
                    <a16:creationId xmlns:a16="http://schemas.microsoft.com/office/drawing/2014/main" id="{28CF7D54-9617-1DD7-4977-2034381895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31143" y="4104138"/>
                <a:ext cx="39816" cy="39816"/>
              </a:xfrm>
              <a:custGeom>
                <a:avLst/>
                <a:gdLst>
                  <a:gd name="T0" fmla="*/ 51 w 100"/>
                  <a:gd name="T1" fmla="*/ 52 h 96"/>
                  <a:gd name="T2" fmla="*/ 50 w 100"/>
                  <a:gd name="T3" fmla="*/ 52 h 96"/>
                  <a:gd name="T4" fmla="*/ 32 w 100"/>
                  <a:gd name="T5" fmla="*/ 0 h 96"/>
                  <a:gd name="T6" fmla="*/ 0 w 100"/>
                  <a:gd name="T7" fmla="*/ 0 h 96"/>
                  <a:gd name="T8" fmla="*/ 0 w 100"/>
                  <a:gd name="T9" fmla="*/ 96 h 96"/>
                  <a:gd name="T10" fmla="*/ 19 w 100"/>
                  <a:gd name="T11" fmla="*/ 96 h 96"/>
                  <a:gd name="T12" fmla="*/ 19 w 100"/>
                  <a:gd name="T13" fmla="*/ 25 h 96"/>
                  <a:gd name="T14" fmla="*/ 20 w 100"/>
                  <a:gd name="T15" fmla="*/ 25 h 96"/>
                  <a:gd name="T16" fmla="*/ 41 w 100"/>
                  <a:gd name="T17" fmla="*/ 84 h 96"/>
                  <a:gd name="T18" fmla="*/ 58 w 100"/>
                  <a:gd name="T19" fmla="*/ 84 h 96"/>
                  <a:gd name="T20" fmla="*/ 80 w 100"/>
                  <a:gd name="T21" fmla="*/ 25 h 96"/>
                  <a:gd name="T22" fmla="*/ 80 w 100"/>
                  <a:gd name="T23" fmla="*/ 25 h 96"/>
                  <a:gd name="T24" fmla="*/ 80 w 100"/>
                  <a:gd name="T25" fmla="*/ 96 h 96"/>
                  <a:gd name="T26" fmla="*/ 100 w 100"/>
                  <a:gd name="T27" fmla="*/ 96 h 96"/>
                  <a:gd name="T28" fmla="*/ 100 w 100"/>
                  <a:gd name="T29" fmla="*/ 0 h 96"/>
                  <a:gd name="T30" fmla="*/ 69 w 100"/>
                  <a:gd name="T31" fmla="*/ 0 h 96"/>
                  <a:gd name="T32" fmla="*/ 51 w 100"/>
                  <a:gd name="T33" fmla="*/ 5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96">
                    <a:moveTo>
                      <a:pt x="51" y="52"/>
                    </a:moveTo>
                    <a:lnTo>
                      <a:pt x="50" y="52"/>
                    </a:lnTo>
                    <a:lnTo>
                      <a:pt x="32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25"/>
                    </a:lnTo>
                    <a:lnTo>
                      <a:pt x="20" y="25"/>
                    </a:lnTo>
                    <a:lnTo>
                      <a:pt x="41" y="84"/>
                    </a:lnTo>
                    <a:lnTo>
                      <a:pt x="58" y="84"/>
                    </a:lnTo>
                    <a:lnTo>
                      <a:pt x="80" y="25"/>
                    </a:lnTo>
                    <a:lnTo>
                      <a:pt x="80" y="25"/>
                    </a:lnTo>
                    <a:lnTo>
                      <a:pt x="80" y="96"/>
                    </a:lnTo>
                    <a:lnTo>
                      <a:pt x="100" y="96"/>
                    </a:lnTo>
                    <a:lnTo>
                      <a:pt x="100" y="0"/>
                    </a:lnTo>
                    <a:lnTo>
                      <a:pt x="69" y="0"/>
                    </a:lnTo>
                    <a:lnTo>
                      <a:pt x="51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" name="Freeform 50">
                <a:extLst>
                  <a:ext uri="{FF2B5EF4-FFF2-40B4-BE49-F238E27FC236}">
                    <a16:creationId xmlns:a16="http://schemas.microsoft.com/office/drawing/2014/main" id="{347C4EAB-25E0-1317-7E3A-70BCEE5A14E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1077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4 w 87"/>
                  <a:gd name="T7" fmla="*/ 15 h 96"/>
                  <a:gd name="T8" fmla="*/ 51 w 87"/>
                  <a:gd name="T9" fmla="*/ 43 h 96"/>
                  <a:gd name="T10" fmla="*/ 55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2" y="23"/>
                      <a:pt x="43" y="15"/>
                    </a:cubicBezTo>
                    <a:lnTo>
                      <a:pt x="44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5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" name="Freeform 51">
                <a:extLst>
                  <a:ext uri="{FF2B5EF4-FFF2-40B4-BE49-F238E27FC236}">
                    <a16:creationId xmlns:a16="http://schemas.microsoft.com/office/drawing/2014/main" id="{DFD74453-0C4D-4FD2-3976-FA2B804399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81819" y="4004596"/>
                <a:ext cx="59725" cy="74204"/>
              </a:xfrm>
              <a:custGeom>
                <a:avLst/>
                <a:gdLst>
                  <a:gd name="T0" fmla="*/ 0 w 146"/>
                  <a:gd name="T1" fmla="*/ 0 h 181"/>
                  <a:gd name="T2" fmla="*/ 0 w 146"/>
                  <a:gd name="T3" fmla="*/ 181 h 181"/>
                  <a:gd name="T4" fmla="*/ 38 w 146"/>
                  <a:gd name="T5" fmla="*/ 181 h 181"/>
                  <a:gd name="T6" fmla="*/ 38 w 146"/>
                  <a:gd name="T7" fmla="*/ 113 h 181"/>
                  <a:gd name="T8" fmla="*/ 35 w 146"/>
                  <a:gd name="T9" fmla="*/ 49 h 181"/>
                  <a:gd name="T10" fmla="*/ 36 w 146"/>
                  <a:gd name="T11" fmla="*/ 49 h 181"/>
                  <a:gd name="T12" fmla="*/ 60 w 146"/>
                  <a:gd name="T13" fmla="*/ 105 h 181"/>
                  <a:gd name="T14" fmla="*/ 100 w 146"/>
                  <a:gd name="T15" fmla="*/ 181 h 181"/>
                  <a:gd name="T16" fmla="*/ 146 w 146"/>
                  <a:gd name="T17" fmla="*/ 181 h 181"/>
                  <a:gd name="T18" fmla="*/ 146 w 146"/>
                  <a:gd name="T19" fmla="*/ 0 h 181"/>
                  <a:gd name="T20" fmla="*/ 109 w 146"/>
                  <a:gd name="T21" fmla="*/ 0 h 181"/>
                  <a:gd name="T22" fmla="*/ 109 w 146"/>
                  <a:gd name="T23" fmla="*/ 57 h 181"/>
                  <a:gd name="T24" fmla="*/ 111 w 146"/>
                  <a:gd name="T25" fmla="*/ 127 h 181"/>
                  <a:gd name="T26" fmla="*/ 110 w 146"/>
                  <a:gd name="T27" fmla="*/ 127 h 181"/>
                  <a:gd name="T28" fmla="*/ 84 w 146"/>
                  <a:gd name="T29" fmla="*/ 71 h 181"/>
                  <a:gd name="T30" fmla="*/ 47 w 146"/>
                  <a:gd name="T31" fmla="*/ 0 h 181"/>
                  <a:gd name="T32" fmla="*/ 0 w 146"/>
                  <a:gd name="T33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6" h="181">
                    <a:moveTo>
                      <a:pt x="0" y="0"/>
                    </a:moveTo>
                    <a:lnTo>
                      <a:pt x="0" y="181"/>
                    </a:lnTo>
                    <a:lnTo>
                      <a:pt x="38" y="181"/>
                    </a:lnTo>
                    <a:lnTo>
                      <a:pt x="38" y="113"/>
                    </a:lnTo>
                    <a:cubicBezTo>
                      <a:pt x="38" y="81"/>
                      <a:pt x="37" y="67"/>
                      <a:pt x="35" y="49"/>
                    </a:cubicBezTo>
                    <a:lnTo>
                      <a:pt x="36" y="49"/>
                    </a:lnTo>
                    <a:cubicBezTo>
                      <a:pt x="44" y="69"/>
                      <a:pt x="51" y="87"/>
                      <a:pt x="60" y="105"/>
                    </a:cubicBezTo>
                    <a:lnTo>
                      <a:pt x="100" y="181"/>
                    </a:lnTo>
                    <a:lnTo>
                      <a:pt x="146" y="181"/>
                    </a:lnTo>
                    <a:lnTo>
                      <a:pt x="146" y="0"/>
                    </a:lnTo>
                    <a:lnTo>
                      <a:pt x="109" y="0"/>
                    </a:lnTo>
                    <a:lnTo>
                      <a:pt x="109" y="57"/>
                    </a:lnTo>
                    <a:cubicBezTo>
                      <a:pt x="109" y="77"/>
                      <a:pt x="109" y="102"/>
                      <a:pt x="111" y="127"/>
                    </a:cubicBezTo>
                    <a:lnTo>
                      <a:pt x="110" y="127"/>
                    </a:lnTo>
                    <a:cubicBezTo>
                      <a:pt x="103" y="109"/>
                      <a:pt x="93" y="89"/>
                      <a:pt x="84" y="71"/>
                    </a:cubicBezTo>
                    <a:lnTo>
                      <a:pt x="4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" name="Freeform 52">
                <a:extLst>
                  <a:ext uri="{FF2B5EF4-FFF2-40B4-BE49-F238E27FC236}">
                    <a16:creationId xmlns:a16="http://schemas.microsoft.com/office/drawing/2014/main" id="{D1FC3F30-BE36-F71E-F605-9DCF6AE9CA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5421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2 w 77"/>
                  <a:gd name="T23" fmla="*/ 55 h 96"/>
                  <a:gd name="T24" fmla="*/ 53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2" y="55"/>
                    </a:cubicBezTo>
                    <a:lnTo>
                      <a:pt x="53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" name="Freeform 53">
                <a:extLst>
                  <a:ext uri="{FF2B5EF4-FFF2-40B4-BE49-F238E27FC236}">
                    <a16:creationId xmlns:a16="http://schemas.microsoft.com/office/drawing/2014/main" id="{51842938-D227-FC41-ECCC-84902079045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59641" y="4004596"/>
                <a:ext cx="68774" cy="74204"/>
              </a:xfrm>
              <a:custGeom>
                <a:avLst/>
                <a:gdLst>
                  <a:gd name="T0" fmla="*/ 61 w 165"/>
                  <a:gd name="T1" fmla="*/ 107 h 181"/>
                  <a:gd name="T2" fmla="*/ 68 w 165"/>
                  <a:gd name="T3" fmla="*/ 81 h 181"/>
                  <a:gd name="T4" fmla="*/ 82 w 165"/>
                  <a:gd name="T5" fmla="*/ 27 h 181"/>
                  <a:gd name="T6" fmla="*/ 83 w 165"/>
                  <a:gd name="T7" fmla="*/ 27 h 181"/>
                  <a:gd name="T8" fmla="*/ 96 w 165"/>
                  <a:gd name="T9" fmla="*/ 82 h 181"/>
                  <a:gd name="T10" fmla="*/ 103 w 165"/>
                  <a:gd name="T11" fmla="*/ 107 h 181"/>
                  <a:gd name="T12" fmla="*/ 61 w 165"/>
                  <a:gd name="T13" fmla="*/ 107 h 181"/>
                  <a:gd name="T14" fmla="*/ 55 w 165"/>
                  <a:gd name="T15" fmla="*/ 0 h 181"/>
                  <a:gd name="T16" fmla="*/ 0 w 165"/>
                  <a:gd name="T17" fmla="*/ 181 h 181"/>
                  <a:gd name="T18" fmla="*/ 40 w 165"/>
                  <a:gd name="T19" fmla="*/ 181 h 181"/>
                  <a:gd name="T20" fmla="*/ 52 w 165"/>
                  <a:gd name="T21" fmla="*/ 140 h 181"/>
                  <a:gd name="T22" fmla="*/ 112 w 165"/>
                  <a:gd name="T23" fmla="*/ 140 h 181"/>
                  <a:gd name="T24" fmla="*/ 124 w 165"/>
                  <a:gd name="T25" fmla="*/ 181 h 181"/>
                  <a:gd name="T26" fmla="*/ 165 w 165"/>
                  <a:gd name="T27" fmla="*/ 181 h 181"/>
                  <a:gd name="T28" fmla="*/ 110 w 165"/>
                  <a:gd name="T29" fmla="*/ 0 h 181"/>
                  <a:gd name="T30" fmla="*/ 55 w 165"/>
                  <a:gd name="T31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1" y="107"/>
                    </a:moveTo>
                    <a:lnTo>
                      <a:pt x="68" y="81"/>
                    </a:lnTo>
                    <a:cubicBezTo>
                      <a:pt x="75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close/>
                    <a:moveTo>
                      <a:pt x="55" y="0"/>
                    </a:move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" name="Freeform 54">
                <a:extLst>
                  <a:ext uri="{FF2B5EF4-FFF2-40B4-BE49-F238E27FC236}">
                    <a16:creationId xmlns:a16="http://schemas.microsoft.com/office/drawing/2014/main" id="{5A979611-55E5-D61E-8768-C55E2E31DE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94028" y="4104138"/>
                <a:ext cx="34387" cy="39816"/>
              </a:xfrm>
              <a:custGeom>
                <a:avLst/>
                <a:gdLst>
                  <a:gd name="T0" fmla="*/ 63 w 85"/>
                  <a:gd name="T1" fmla="*/ 0 h 96"/>
                  <a:gd name="T2" fmla="*/ 43 w 85"/>
                  <a:gd name="T3" fmla="*/ 44 h 96"/>
                  <a:gd name="T4" fmla="*/ 43 w 85"/>
                  <a:gd name="T5" fmla="*/ 44 h 96"/>
                  <a:gd name="T6" fmla="*/ 23 w 85"/>
                  <a:gd name="T7" fmla="*/ 0 h 96"/>
                  <a:gd name="T8" fmla="*/ 0 w 85"/>
                  <a:gd name="T9" fmla="*/ 0 h 96"/>
                  <a:gd name="T10" fmla="*/ 32 w 85"/>
                  <a:gd name="T11" fmla="*/ 65 h 96"/>
                  <a:gd name="T12" fmla="*/ 32 w 85"/>
                  <a:gd name="T13" fmla="*/ 96 h 96"/>
                  <a:gd name="T14" fmla="*/ 53 w 85"/>
                  <a:gd name="T15" fmla="*/ 96 h 96"/>
                  <a:gd name="T16" fmla="*/ 53 w 85"/>
                  <a:gd name="T17" fmla="*/ 65 h 96"/>
                  <a:gd name="T18" fmla="*/ 85 w 85"/>
                  <a:gd name="T19" fmla="*/ 0 h 96"/>
                  <a:gd name="T20" fmla="*/ 63 w 85"/>
                  <a:gd name="T2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" h="96">
                    <a:moveTo>
                      <a:pt x="63" y="0"/>
                    </a:moveTo>
                    <a:lnTo>
                      <a:pt x="43" y="44"/>
                    </a:lnTo>
                    <a:lnTo>
                      <a:pt x="43" y="44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32" y="65"/>
                    </a:lnTo>
                    <a:lnTo>
                      <a:pt x="32" y="96"/>
                    </a:lnTo>
                    <a:lnTo>
                      <a:pt x="53" y="96"/>
                    </a:lnTo>
                    <a:lnTo>
                      <a:pt x="53" y="65"/>
                    </a:lnTo>
                    <a:lnTo>
                      <a:pt x="85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" name="Freeform 55">
                <a:extLst>
                  <a:ext uri="{FF2B5EF4-FFF2-40B4-BE49-F238E27FC236}">
                    <a16:creationId xmlns:a16="http://schemas.microsoft.com/office/drawing/2014/main" id="{5A06A503-0349-B80B-B350-B3CFC72AE02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94946" y="4004596"/>
                <a:ext cx="66964" cy="74204"/>
              </a:xfrm>
              <a:custGeom>
                <a:avLst/>
                <a:gdLst>
                  <a:gd name="T0" fmla="*/ 68 w 165"/>
                  <a:gd name="T1" fmla="*/ 81 h 181"/>
                  <a:gd name="T2" fmla="*/ 82 w 165"/>
                  <a:gd name="T3" fmla="*/ 27 h 181"/>
                  <a:gd name="T4" fmla="*/ 83 w 165"/>
                  <a:gd name="T5" fmla="*/ 27 h 181"/>
                  <a:gd name="T6" fmla="*/ 96 w 165"/>
                  <a:gd name="T7" fmla="*/ 82 h 181"/>
                  <a:gd name="T8" fmla="*/ 103 w 165"/>
                  <a:gd name="T9" fmla="*/ 107 h 181"/>
                  <a:gd name="T10" fmla="*/ 61 w 165"/>
                  <a:gd name="T11" fmla="*/ 107 h 181"/>
                  <a:gd name="T12" fmla="*/ 68 w 165"/>
                  <a:gd name="T13" fmla="*/ 81 h 181"/>
                  <a:gd name="T14" fmla="*/ 52 w 165"/>
                  <a:gd name="T15" fmla="*/ 140 h 181"/>
                  <a:gd name="T16" fmla="*/ 112 w 165"/>
                  <a:gd name="T17" fmla="*/ 140 h 181"/>
                  <a:gd name="T18" fmla="*/ 124 w 165"/>
                  <a:gd name="T19" fmla="*/ 181 h 181"/>
                  <a:gd name="T20" fmla="*/ 165 w 165"/>
                  <a:gd name="T21" fmla="*/ 181 h 181"/>
                  <a:gd name="T22" fmla="*/ 110 w 165"/>
                  <a:gd name="T23" fmla="*/ 0 h 181"/>
                  <a:gd name="T24" fmla="*/ 55 w 165"/>
                  <a:gd name="T25" fmla="*/ 0 h 181"/>
                  <a:gd name="T26" fmla="*/ 0 w 165"/>
                  <a:gd name="T27" fmla="*/ 181 h 181"/>
                  <a:gd name="T28" fmla="*/ 40 w 165"/>
                  <a:gd name="T29" fmla="*/ 181 h 181"/>
                  <a:gd name="T30" fmla="*/ 52 w 165"/>
                  <a:gd name="T31" fmla="*/ 14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8" y="81"/>
                    </a:moveTo>
                    <a:cubicBezTo>
                      <a:pt x="74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lnTo>
                      <a:pt x="68" y="81"/>
                    </a:lnTo>
                    <a:close/>
                    <a:moveTo>
                      <a:pt x="52" y="140"/>
                    </a:move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" name="Freeform 56">
                <a:extLst>
                  <a:ext uri="{FF2B5EF4-FFF2-40B4-BE49-F238E27FC236}">
                    <a16:creationId xmlns:a16="http://schemas.microsoft.com/office/drawing/2014/main" id="{2598F916-0952-48DD-F888-3DA1144BB8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2482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19 w 77"/>
                  <a:gd name="T15" fmla="*/ 96 h 96"/>
                  <a:gd name="T16" fmla="*/ 19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60"/>
                    </a:lnTo>
                    <a:cubicBezTo>
                      <a:pt x="19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" name="Freeform 57">
                <a:extLst>
                  <a:ext uri="{FF2B5EF4-FFF2-40B4-BE49-F238E27FC236}">
                    <a16:creationId xmlns:a16="http://schemas.microsoft.com/office/drawing/2014/main" id="{519F0C0C-26A4-AEA7-775A-A691BBCB6B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448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" name="Freeform 58">
                <a:extLst>
                  <a:ext uri="{FF2B5EF4-FFF2-40B4-BE49-F238E27FC236}">
                    <a16:creationId xmlns:a16="http://schemas.microsoft.com/office/drawing/2014/main" id="{5D180926-7ADF-D7EE-EA9C-00A6C1BF85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19392" y="4002787"/>
                <a:ext cx="54295" cy="77823"/>
              </a:xfrm>
              <a:custGeom>
                <a:avLst/>
                <a:gdLst>
                  <a:gd name="T0" fmla="*/ 68 w 131"/>
                  <a:gd name="T1" fmla="*/ 154 h 187"/>
                  <a:gd name="T2" fmla="*/ 22 w 131"/>
                  <a:gd name="T3" fmla="*/ 132 h 187"/>
                  <a:gd name="T4" fmla="*/ 0 w 131"/>
                  <a:gd name="T5" fmla="*/ 164 h 187"/>
                  <a:gd name="T6" fmla="*/ 63 w 131"/>
                  <a:gd name="T7" fmla="*/ 187 h 187"/>
                  <a:gd name="T8" fmla="*/ 131 w 131"/>
                  <a:gd name="T9" fmla="*/ 133 h 187"/>
                  <a:gd name="T10" fmla="*/ 48 w 131"/>
                  <a:gd name="T11" fmla="*/ 51 h 187"/>
                  <a:gd name="T12" fmla="*/ 68 w 131"/>
                  <a:gd name="T13" fmla="*/ 35 h 187"/>
                  <a:gd name="T14" fmla="*/ 102 w 131"/>
                  <a:gd name="T15" fmla="*/ 51 h 187"/>
                  <a:gd name="T16" fmla="*/ 127 w 131"/>
                  <a:gd name="T17" fmla="*/ 22 h 187"/>
                  <a:gd name="T18" fmla="*/ 72 w 131"/>
                  <a:gd name="T19" fmla="*/ 0 h 187"/>
                  <a:gd name="T20" fmla="*/ 8 w 131"/>
                  <a:gd name="T21" fmla="*/ 54 h 187"/>
                  <a:gd name="T22" fmla="*/ 91 w 131"/>
                  <a:gd name="T23" fmla="*/ 136 h 187"/>
                  <a:gd name="T24" fmla="*/ 68 w 131"/>
                  <a:gd name="T25" fmla="*/ 154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1" h="187">
                    <a:moveTo>
                      <a:pt x="68" y="154"/>
                    </a:moveTo>
                    <a:cubicBezTo>
                      <a:pt x="46" y="154"/>
                      <a:pt x="30" y="140"/>
                      <a:pt x="22" y="132"/>
                    </a:cubicBezTo>
                    <a:lnTo>
                      <a:pt x="0" y="164"/>
                    </a:lnTo>
                    <a:cubicBezTo>
                      <a:pt x="6" y="171"/>
                      <a:pt x="28" y="187"/>
                      <a:pt x="63" y="187"/>
                    </a:cubicBezTo>
                    <a:cubicBezTo>
                      <a:pt x="109" y="187"/>
                      <a:pt x="131" y="160"/>
                      <a:pt x="131" y="133"/>
                    </a:cubicBezTo>
                    <a:cubicBezTo>
                      <a:pt x="131" y="76"/>
                      <a:pt x="48" y="80"/>
                      <a:pt x="48" y="51"/>
                    </a:cubicBezTo>
                    <a:cubicBezTo>
                      <a:pt x="48" y="42"/>
                      <a:pt x="55" y="35"/>
                      <a:pt x="68" y="35"/>
                    </a:cubicBezTo>
                    <a:cubicBezTo>
                      <a:pt x="87" y="35"/>
                      <a:pt x="98" y="46"/>
                      <a:pt x="102" y="51"/>
                    </a:cubicBezTo>
                    <a:lnTo>
                      <a:pt x="127" y="22"/>
                    </a:lnTo>
                    <a:cubicBezTo>
                      <a:pt x="121" y="14"/>
                      <a:pt x="102" y="0"/>
                      <a:pt x="72" y="0"/>
                    </a:cubicBezTo>
                    <a:cubicBezTo>
                      <a:pt x="34" y="0"/>
                      <a:pt x="8" y="24"/>
                      <a:pt x="8" y="54"/>
                    </a:cubicBezTo>
                    <a:cubicBezTo>
                      <a:pt x="8" y="111"/>
                      <a:pt x="91" y="107"/>
                      <a:pt x="91" y="136"/>
                    </a:cubicBezTo>
                    <a:cubicBezTo>
                      <a:pt x="91" y="145"/>
                      <a:pt x="84" y="154"/>
                      <a:pt x="68" y="1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" name="Freeform 59">
                <a:extLst>
                  <a:ext uri="{FF2B5EF4-FFF2-40B4-BE49-F238E27FC236}">
                    <a16:creationId xmlns:a16="http://schemas.microsoft.com/office/drawing/2014/main" id="{9B52BA26-0092-30FB-F960-84B5CB9199A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48809" y="4104138"/>
                <a:ext cx="28957" cy="39816"/>
              </a:xfrm>
              <a:custGeom>
                <a:avLst/>
                <a:gdLst>
                  <a:gd name="T0" fmla="*/ 29 w 71"/>
                  <a:gd name="T1" fmla="*/ 44 h 96"/>
                  <a:gd name="T2" fmla="*/ 21 w 71"/>
                  <a:gd name="T3" fmla="*/ 44 h 96"/>
                  <a:gd name="T4" fmla="*/ 21 w 71"/>
                  <a:gd name="T5" fmla="*/ 17 h 96"/>
                  <a:gd name="T6" fmla="*/ 29 w 71"/>
                  <a:gd name="T7" fmla="*/ 17 h 96"/>
                  <a:gd name="T8" fmla="*/ 43 w 71"/>
                  <a:gd name="T9" fmla="*/ 30 h 96"/>
                  <a:gd name="T10" fmla="*/ 29 w 71"/>
                  <a:gd name="T11" fmla="*/ 44 h 96"/>
                  <a:gd name="T12" fmla="*/ 44 w 71"/>
                  <a:gd name="T13" fmla="*/ 55 h 96"/>
                  <a:gd name="T14" fmla="*/ 44 w 71"/>
                  <a:gd name="T15" fmla="*/ 55 h 96"/>
                  <a:gd name="T16" fmla="*/ 64 w 71"/>
                  <a:gd name="T17" fmla="*/ 28 h 96"/>
                  <a:gd name="T18" fmla="*/ 31 w 71"/>
                  <a:gd name="T19" fmla="*/ 0 h 96"/>
                  <a:gd name="T20" fmla="*/ 0 w 71"/>
                  <a:gd name="T21" fmla="*/ 0 h 96"/>
                  <a:gd name="T22" fmla="*/ 0 w 71"/>
                  <a:gd name="T23" fmla="*/ 96 h 96"/>
                  <a:gd name="T24" fmla="*/ 21 w 71"/>
                  <a:gd name="T25" fmla="*/ 96 h 96"/>
                  <a:gd name="T26" fmla="*/ 21 w 71"/>
                  <a:gd name="T27" fmla="*/ 60 h 96"/>
                  <a:gd name="T28" fmla="*/ 22 w 71"/>
                  <a:gd name="T29" fmla="*/ 60 h 96"/>
                  <a:gd name="T30" fmla="*/ 31 w 71"/>
                  <a:gd name="T31" fmla="*/ 65 h 96"/>
                  <a:gd name="T32" fmla="*/ 47 w 71"/>
                  <a:gd name="T33" fmla="*/ 96 h 96"/>
                  <a:gd name="T34" fmla="*/ 71 w 71"/>
                  <a:gd name="T35" fmla="*/ 96 h 96"/>
                  <a:gd name="T36" fmla="*/ 57 w 71"/>
                  <a:gd name="T37" fmla="*/ 69 h 96"/>
                  <a:gd name="T38" fmla="*/ 44 w 71"/>
                  <a:gd name="T39" fmla="*/ 55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96">
                    <a:moveTo>
                      <a:pt x="29" y="44"/>
                    </a:moveTo>
                    <a:lnTo>
                      <a:pt x="21" y="44"/>
                    </a:lnTo>
                    <a:lnTo>
                      <a:pt x="21" y="17"/>
                    </a:lnTo>
                    <a:lnTo>
                      <a:pt x="29" y="17"/>
                    </a:lnTo>
                    <a:cubicBezTo>
                      <a:pt x="38" y="17"/>
                      <a:pt x="43" y="21"/>
                      <a:pt x="43" y="30"/>
                    </a:cubicBezTo>
                    <a:cubicBezTo>
                      <a:pt x="43" y="39"/>
                      <a:pt x="40" y="44"/>
                      <a:pt x="29" y="44"/>
                    </a:cubicBezTo>
                    <a:close/>
                    <a:moveTo>
                      <a:pt x="44" y="55"/>
                    </a:moveTo>
                    <a:lnTo>
                      <a:pt x="44" y="55"/>
                    </a:lnTo>
                    <a:cubicBezTo>
                      <a:pt x="55" y="53"/>
                      <a:pt x="64" y="45"/>
                      <a:pt x="64" y="28"/>
                    </a:cubicBezTo>
                    <a:cubicBezTo>
                      <a:pt x="64" y="8"/>
                      <a:pt x="52" y="0"/>
                      <a:pt x="31" y="0"/>
                    </a:cubicBez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0"/>
                    </a:lnTo>
                    <a:lnTo>
                      <a:pt x="22" y="60"/>
                    </a:lnTo>
                    <a:cubicBezTo>
                      <a:pt x="26" y="60"/>
                      <a:pt x="29" y="61"/>
                      <a:pt x="31" y="65"/>
                    </a:cubicBezTo>
                    <a:lnTo>
                      <a:pt x="47" y="96"/>
                    </a:lnTo>
                    <a:lnTo>
                      <a:pt x="71" y="96"/>
                    </a:lnTo>
                    <a:lnTo>
                      <a:pt x="57" y="69"/>
                    </a:lnTo>
                    <a:cubicBezTo>
                      <a:pt x="52" y="61"/>
                      <a:pt x="49" y="58"/>
                      <a:pt x="44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3" name="Freeform 60">
                <a:extLst>
                  <a:ext uri="{FF2B5EF4-FFF2-40B4-BE49-F238E27FC236}">
                    <a16:creationId xmlns:a16="http://schemas.microsoft.com/office/drawing/2014/main" id="{6C9D3E94-8240-5E7C-3FF7-0E3B273149A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8138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3 w 87"/>
                  <a:gd name="T7" fmla="*/ 15 h 96"/>
                  <a:gd name="T8" fmla="*/ 51 w 87"/>
                  <a:gd name="T9" fmla="*/ 43 h 96"/>
                  <a:gd name="T10" fmla="*/ 54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1" y="23"/>
                      <a:pt x="43" y="15"/>
                    </a:cubicBezTo>
                    <a:lnTo>
                      <a:pt x="43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4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4" name="Freeform 61">
                <a:extLst>
                  <a:ext uri="{FF2B5EF4-FFF2-40B4-BE49-F238E27FC236}">
                    <a16:creationId xmlns:a16="http://schemas.microsoft.com/office/drawing/2014/main" id="{0F17F7EB-46EF-1DC9-6A59-544A82E9A8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89516" y="4104138"/>
                <a:ext cx="32577" cy="39816"/>
              </a:xfrm>
              <a:custGeom>
                <a:avLst/>
                <a:gdLst>
                  <a:gd name="T0" fmla="*/ 40 w 79"/>
                  <a:gd name="T1" fmla="*/ 81 h 98"/>
                  <a:gd name="T2" fmla="*/ 21 w 79"/>
                  <a:gd name="T3" fmla="*/ 48 h 98"/>
                  <a:gd name="T4" fmla="*/ 39 w 79"/>
                  <a:gd name="T5" fmla="*/ 17 h 98"/>
                  <a:gd name="T6" fmla="*/ 57 w 79"/>
                  <a:gd name="T7" fmla="*/ 49 h 98"/>
                  <a:gd name="T8" fmla="*/ 40 w 79"/>
                  <a:gd name="T9" fmla="*/ 81 h 98"/>
                  <a:gd name="T10" fmla="*/ 40 w 79"/>
                  <a:gd name="T11" fmla="*/ 0 h 98"/>
                  <a:gd name="T12" fmla="*/ 0 w 79"/>
                  <a:gd name="T13" fmla="*/ 50 h 98"/>
                  <a:gd name="T14" fmla="*/ 39 w 79"/>
                  <a:gd name="T15" fmla="*/ 98 h 98"/>
                  <a:gd name="T16" fmla="*/ 79 w 79"/>
                  <a:gd name="T17" fmla="*/ 48 h 98"/>
                  <a:gd name="T18" fmla="*/ 40 w 79"/>
                  <a:gd name="T19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98">
                    <a:moveTo>
                      <a:pt x="40" y="81"/>
                    </a:moveTo>
                    <a:cubicBezTo>
                      <a:pt x="28" y="81"/>
                      <a:pt x="21" y="72"/>
                      <a:pt x="21" y="48"/>
                    </a:cubicBezTo>
                    <a:cubicBezTo>
                      <a:pt x="21" y="25"/>
                      <a:pt x="28" y="17"/>
                      <a:pt x="39" y="17"/>
                    </a:cubicBezTo>
                    <a:cubicBezTo>
                      <a:pt x="50" y="17"/>
                      <a:pt x="57" y="26"/>
                      <a:pt x="57" y="49"/>
                    </a:cubicBezTo>
                    <a:cubicBezTo>
                      <a:pt x="57" y="73"/>
                      <a:pt x="51" y="81"/>
                      <a:pt x="40" y="81"/>
                    </a:cubicBezTo>
                    <a:close/>
                    <a:moveTo>
                      <a:pt x="40" y="0"/>
                    </a:moveTo>
                    <a:cubicBezTo>
                      <a:pt x="17" y="0"/>
                      <a:pt x="0" y="15"/>
                      <a:pt x="0" y="50"/>
                    </a:cubicBezTo>
                    <a:cubicBezTo>
                      <a:pt x="0" y="85"/>
                      <a:pt x="15" y="98"/>
                      <a:pt x="39" y="98"/>
                    </a:cubicBezTo>
                    <a:cubicBezTo>
                      <a:pt x="62" y="98"/>
                      <a:pt x="79" y="83"/>
                      <a:pt x="79" y="48"/>
                    </a:cubicBezTo>
                    <a:cubicBezTo>
                      <a:pt x="79" y="13"/>
                      <a:pt x="64" y="0"/>
                      <a:pt x="4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5" name="Freeform 62">
                <a:extLst>
                  <a:ext uri="{FF2B5EF4-FFF2-40B4-BE49-F238E27FC236}">
                    <a16:creationId xmlns:a16="http://schemas.microsoft.com/office/drawing/2014/main" id="{DDF503F3-293B-CECE-929F-ACC97FDD43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04455" y="4104138"/>
                <a:ext cx="23528" cy="39816"/>
              </a:xfrm>
              <a:custGeom>
                <a:avLst/>
                <a:gdLst>
                  <a:gd name="T0" fmla="*/ 0 w 58"/>
                  <a:gd name="T1" fmla="*/ 0 h 96"/>
                  <a:gd name="T2" fmla="*/ 0 w 58"/>
                  <a:gd name="T3" fmla="*/ 96 h 96"/>
                  <a:gd name="T4" fmla="*/ 58 w 58"/>
                  <a:gd name="T5" fmla="*/ 96 h 96"/>
                  <a:gd name="T6" fmla="*/ 58 w 58"/>
                  <a:gd name="T7" fmla="*/ 79 h 96"/>
                  <a:gd name="T8" fmla="*/ 20 w 58"/>
                  <a:gd name="T9" fmla="*/ 79 h 96"/>
                  <a:gd name="T10" fmla="*/ 20 w 58"/>
                  <a:gd name="T11" fmla="*/ 56 h 96"/>
                  <a:gd name="T12" fmla="*/ 51 w 58"/>
                  <a:gd name="T13" fmla="*/ 56 h 96"/>
                  <a:gd name="T14" fmla="*/ 51 w 58"/>
                  <a:gd name="T15" fmla="*/ 39 h 96"/>
                  <a:gd name="T16" fmla="*/ 20 w 58"/>
                  <a:gd name="T17" fmla="*/ 39 h 96"/>
                  <a:gd name="T18" fmla="*/ 20 w 58"/>
                  <a:gd name="T19" fmla="*/ 17 h 96"/>
                  <a:gd name="T20" fmla="*/ 56 w 58"/>
                  <a:gd name="T21" fmla="*/ 17 h 96"/>
                  <a:gd name="T22" fmla="*/ 56 w 58"/>
                  <a:gd name="T23" fmla="*/ 0 h 96"/>
                  <a:gd name="T24" fmla="*/ 0 w 58"/>
                  <a:gd name="T25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" h="96">
                    <a:moveTo>
                      <a:pt x="0" y="0"/>
                    </a:moveTo>
                    <a:lnTo>
                      <a:pt x="0" y="96"/>
                    </a:lnTo>
                    <a:lnTo>
                      <a:pt x="58" y="96"/>
                    </a:lnTo>
                    <a:lnTo>
                      <a:pt x="58" y="79"/>
                    </a:lnTo>
                    <a:lnTo>
                      <a:pt x="20" y="79"/>
                    </a:lnTo>
                    <a:lnTo>
                      <a:pt x="20" y="56"/>
                    </a:lnTo>
                    <a:lnTo>
                      <a:pt x="51" y="56"/>
                    </a:lnTo>
                    <a:lnTo>
                      <a:pt x="51" y="39"/>
                    </a:lnTo>
                    <a:lnTo>
                      <a:pt x="20" y="39"/>
                    </a:lnTo>
                    <a:lnTo>
                      <a:pt x="20" y="17"/>
                    </a:lnTo>
                    <a:lnTo>
                      <a:pt x="56" y="17"/>
                    </a:lnTo>
                    <a:lnTo>
                      <a:pt x="5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6" name="Freeform 63">
                <a:extLst>
                  <a:ext uri="{FF2B5EF4-FFF2-40B4-BE49-F238E27FC236}">
                    <a16:creationId xmlns:a16="http://schemas.microsoft.com/office/drawing/2014/main" id="{96336945-B614-23A3-4628-9049D7D00E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3320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7" name="Freeform 64">
                <a:extLst>
                  <a:ext uri="{FF2B5EF4-FFF2-40B4-BE49-F238E27FC236}">
                    <a16:creationId xmlns:a16="http://schemas.microsoft.com/office/drawing/2014/main" id="{68C171AE-89C5-26AC-0B39-4EC1B1CA59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6356" y="4004596"/>
                <a:ext cx="101351" cy="74204"/>
              </a:xfrm>
              <a:custGeom>
                <a:avLst/>
                <a:gdLst>
                  <a:gd name="T0" fmla="*/ 188 w 246"/>
                  <a:gd name="T1" fmla="*/ 77 h 181"/>
                  <a:gd name="T2" fmla="*/ 178 w 246"/>
                  <a:gd name="T3" fmla="*/ 137 h 181"/>
                  <a:gd name="T4" fmla="*/ 177 w 246"/>
                  <a:gd name="T5" fmla="*/ 137 h 181"/>
                  <a:gd name="T6" fmla="*/ 168 w 246"/>
                  <a:gd name="T7" fmla="*/ 88 h 181"/>
                  <a:gd name="T8" fmla="*/ 148 w 246"/>
                  <a:gd name="T9" fmla="*/ 0 h 181"/>
                  <a:gd name="T10" fmla="*/ 101 w 246"/>
                  <a:gd name="T11" fmla="*/ 0 h 181"/>
                  <a:gd name="T12" fmla="*/ 81 w 246"/>
                  <a:gd name="T13" fmla="*/ 89 h 181"/>
                  <a:gd name="T14" fmla="*/ 73 w 246"/>
                  <a:gd name="T15" fmla="*/ 137 h 181"/>
                  <a:gd name="T16" fmla="*/ 72 w 246"/>
                  <a:gd name="T17" fmla="*/ 137 h 181"/>
                  <a:gd name="T18" fmla="*/ 61 w 246"/>
                  <a:gd name="T19" fmla="*/ 73 h 181"/>
                  <a:gd name="T20" fmla="*/ 43 w 246"/>
                  <a:gd name="T21" fmla="*/ 0 h 181"/>
                  <a:gd name="T22" fmla="*/ 0 w 246"/>
                  <a:gd name="T23" fmla="*/ 0 h 181"/>
                  <a:gd name="T24" fmla="*/ 46 w 246"/>
                  <a:gd name="T25" fmla="*/ 181 h 181"/>
                  <a:gd name="T26" fmla="*/ 93 w 246"/>
                  <a:gd name="T27" fmla="*/ 181 h 181"/>
                  <a:gd name="T28" fmla="*/ 114 w 246"/>
                  <a:gd name="T29" fmla="*/ 93 h 181"/>
                  <a:gd name="T30" fmla="*/ 123 w 246"/>
                  <a:gd name="T31" fmla="*/ 44 h 181"/>
                  <a:gd name="T32" fmla="*/ 124 w 246"/>
                  <a:gd name="T33" fmla="*/ 44 h 181"/>
                  <a:gd name="T34" fmla="*/ 134 w 246"/>
                  <a:gd name="T35" fmla="*/ 101 h 181"/>
                  <a:gd name="T36" fmla="*/ 153 w 246"/>
                  <a:gd name="T37" fmla="*/ 181 h 181"/>
                  <a:gd name="T38" fmla="*/ 199 w 246"/>
                  <a:gd name="T39" fmla="*/ 181 h 181"/>
                  <a:gd name="T40" fmla="*/ 246 w 246"/>
                  <a:gd name="T41" fmla="*/ 0 h 181"/>
                  <a:gd name="T42" fmla="*/ 206 w 246"/>
                  <a:gd name="T43" fmla="*/ 0 h 181"/>
                  <a:gd name="T44" fmla="*/ 188 w 246"/>
                  <a:gd name="T45" fmla="*/ 77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6" h="181">
                    <a:moveTo>
                      <a:pt x="188" y="77"/>
                    </a:moveTo>
                    <a:cubicBezTo>
                      <a:pt x="183" y="100"/>
                      <a:pt x="179" y="121"/>
                      <a:pt x="178" y="137"/>
                    </a:cubicBezTo>
                    <a:lnTo>
                      <a:pt x="177" y="137"/>
                    </a:lnTo>
                    <a:cubicBezTo>
                      <a:pt x="175" y="120"/>
                      <a:pt x="173" y="108"/>
                      <a:pt x="168" y="88"/>
                    </a:cubicBezTo>
                    <a:lnTo>
                      <a:pt x="148" y="0"/>
                    </a:lnTo>
                    <a:lnTo>
                      <a:pt x="101" y="0"/>
                    </a:lnTo>
                    <a:lnTo>
                      <a:pt x="81" y="89"/>
                    </a:lnTo>
                    <a:cubicBezTo>
                      <a:pt x="78" y="106"/>
                      <a:pt x="75" y="116"/>
                      <a:pt x="73" y="137"/>
                    </a:cubicBezTo>
                    <a:lnTo>
                      <a:pt x="72" y="137"/>
                    </a:lnTo>
                    <a:cubicBezTo>
                      <a:pt x="71" y="118"/>
                      <a:pt x="66" y="93"/>
                      <a:pt x="61" y="73"/>
                    </a:cubicBezTo>
                    <a:lnTo>
                      <a:pt x="43" y="0"/>
                    </a:lnTo>
                    <a:lnTo>
                      <a:pt x="0" y="0"/>
                    </a:lnTo>
                    <a:lnTo>
                      <a:pt x="46" y="181"/>
                    </a:lnTo>
                    <a:lnTo>
                      <a:pt x="93" y="181"/>
                    </a:lnTo>
                    <a:lnTo>
                      <a:pt x="114" y="93"/>
                    </a:lnTo>
                    <a:cubicBezTo>
                      <a:pt x="118" y="77"/>
                      <a:pt x="120" y="63"/>
                      <a:pt x="123" y="44"/>
                    </a:cubicBezTo>
                    <a:lnTo>
                      <a:pt x="124" y="44"/>
                    </a:lnTo>
                    <a:cubicBezTo>
                      <a:pt x="126" y="62"/>
                      <a:pt x="129" y="76"/>
                      <a:pt x="134" y="101"/>
                    </a:cubicBezTo>
                    <a:lnTo>
                      <a:pt x="153" y="181"/>
                    </a:lnTo>
                    <a:lnTo>
                      <a:pt x="199" y="181"/>
                    </a:lnTo>
                    <a:lnTo>
                      <a:pt x="246" y="0"/>
                    </a:lnTo>
                    <a:lnTo>
                      <a:pt x="206" y="0"/>
                    </a:lnTo>
                    <a:lnTo>
                      <a:pt x="188" y="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8" name="Freeform 65">
                <a:extLst>
                  <a:ext uri="{FF2B5EF4-FFF2-40B4-BE49-F238E27FC236}">
                    <a16:creationId xmlns:a16="http://schemas.microsoft.com/office/drawing/2014/main" id="{716BF435-0864-3C11-4C7C-49E2E5F0D4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6815" y="3935822"/>
                <a:ext cx="3620" cy="5430"/>
              </a:xfrm>
              <a:custGeom>
                <a:avLst/>
                <a:gdLst>
                  <a:gd name="T0" fmla="*/ 2 w 7"/>
                  <a:gd name="T1" fmla="*/ 11 h 12"/>
                  <a:gd name="T2" fmla="*/ 3 w 7"/>
                  <a:gd name="T3" fmla="*/ 12 h 12"/>
                  <a:gd name="T4" fmla="*/ 7 w 7"/>
                  <a:gd name="T5" fmla="*/ 0 h 12"/>
                  <a:gd name="T6" fmla="*/ 0 w 7"/>
                  <a:gd name="T7" fmla="*/ 4 h 12"/>
                  <a:gd name="T8" fmla="*/ 2 w 7"/>
                  <a:gd name="T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2" y="11"/>
                    </a:moveTo>
                    <a:cubicBezTo>
                      <a:pt x="2" y="11"/>
                      <a:pt x="2" y="12"/>
                      <a:pt x="3" y="12"/>
                    </a:cubicBezTo>
                    <a:cubicBezTo>
                      <a:pt x="3" y="9"/>
                      <a:pt x="5" y="5"/>
                      <a:pt x="7" y="0"/>
                    </a:cubicBezTo>
                    <a:cubicBezTo>
                      <a:pt x="5" y="2"/>
                      <a:pt x="3" y="3"/>
                      <a:pt x="0" y="4"/>
                    </a:cubicBezTo>
                    <a:cubicBezTo>
                      <a:pt x="1" y="6"/>
                      <a:pt x="2" y="6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9" name="Freeform 66">
                <a:extLst>
                  <a:ext uri="{FF2B5EF4-FFF2-40B4-BE49-F238E27FC236}">
                    <a16:creationId xmlns:a16="http://schemas.microsoft.com/office/drawing/2014/main" id="{BE07557B-A83C-771C-B0DE-43C0DDF100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1386" y="3941252"/>
                <a:ext cx="0" cy="0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0" name="Freeform 67">
                <a:extLst>
                  <a:ext uri="{FF2B5EF4-FFF2-40B4-BE49-F238E27FC236}">
                    <a16:creationId xmlns:a16="http://schemas.microsoft.com/office/drawing/2014/main" id="{D9D128CF-3700-9D38-AB3D-DF24E35C7C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8992" y="3937633"/>
                <a:ext cx="0" cy="5430"/>
              </a:xfrm>
              <a:custGeom>
                <a:avLst/>
                <a:gdLst>
                  <a:gd name="T0" fmla="*/ 1 w 2"/>
                  <a:gd name="T1" fmla="*/ 0 h 14"/>
                  <a:gd name="T2" fmla="*/ 1 w 2"/>
                  <a:gd name="T3" fmla="*/ 11 h 14"/>
                  <a:gd name="T4" fmla="*/ 2 w 2"/>
                  <a:gd name="T5" fmla="*/ 14 h 14"/>
                  <a:gd name="T6" fmla="*/ 1 w 2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4">
                    <a:moveTo>
                      <a:pt x="1" y="0"/>
                    </a:moveTo>
                    <a:cubicBezTo>
                      <a:pt x="0" y="4"/>
                      <a:pt x="1" y="8"/>
                      <a:pt x="1" y="11"/>
                    </a:cubicBezTo>
                    <a:cubicBezTo>
                      <a:pt x="1" y="12"/>
                      <a:pt x="2" y="13"/>
                      <a:pt x="2" y="14"/>
                    </a:cubicBezTo>
                    <a:cubicBezTo>
                      <a:pt x="2" y="9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1" name="Freeform 68">
                <a:extLst>
                  <a:ext uri="{FF2B5EF4-FFF2-40B4-BE49-F238E27FC236}">
                    <a16:creationId xmlns:a16="http://schemas.microsoft.com/office/drawing/2014/main" id="{04677334-B32C-D78F-CCF6-75E41199CC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6907" y="3926774"/>
                <a:ext cx="7239" cy="16289"/>
              </a:xfrm>
              <a:custGeom>
                <a:avLst/>
                <a:gdLst>
                  <a:gd name="T0" fmla="*/ 6 w 19"/>
                  <a:gd name="T1" fmla="*/ 26 h 42"/>
                  <a:gd name="T2" fmla="*/ 13 w 19"/>
                  <a:gd name="T3" fmla="*/ 34 h 42"/>
                  <a:gd name="T4" fmla="*/ 15 w 19"/>
                  <a:gd name="T5" fmla="*/ 23 h 42"/>
                  <a:gd name="T6" fmla="*/ 19 w 19"/>
                  <a:gd name="T7" fmla="*/ 27 h 42"/>
                  <a:gd name="T8" fmla="*/ 19 w 19"/>
                  <a:gd name="T9" fmla="*/ 25 h 42"/>
                  <a:gd name="T10" fmla="*/ 13 w 19"/>
                  <a:gd name="T11" fmla="*/ 0 h 42"/>
                  <a:gd name="T12" fmla="*/ 4 w 19"/>
                  <a:gd name="T13" fmla="*/ 8 h 42"/>
                  <a:gd name="T14" fmla="*/ 0 w 19"/>
                  <a:gd name="T15" fmla="*/ 25 h 42"/>
                  <a:gd name="T16" fmla="*/ 4 w 19"/>
                  <a:gd name="T17" fmla="*/ 42 h 42"/>
                  <a:gd name="T18" fmla="*/ 7 w 19"/>
                  <a:gd name="T19" fmla="*/ 40 h 42"/>
                  <a:gd name="T20" fmla="*/ 7 w 19"/>
                  <a:gd name="T21" fmla="*/ 39 h 42"/>
                  <a:gd name="T22" fmla="*/ 3 w 19"/>
                  <a:gd name="T23" fmla="*/ 26 h 42"/>
                  <a:gd name="T24" fmla="*/ 3 w 19"/>
                  <a:gd name="T25" fmla="*/ 20 h 42"/>
                  <a:gd name="T26" fmla="*/ 6 w 19"/>
                  <a:gd name="T27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42">
                    <a:moveTo>
                      <a:pt x="6" y="26"/>
                    </a:moveTo>
                    <a:cubicBezTo>
                      <a:pt x="8" y="28"/>
                      <a:pt x="10" y="30"/>
                      <a:pt x="13" y="34"/>
                    </a:cubicBezTo>
                    <a:cubicBezTo>
                      <a:pt x="14" y="31"/>
                      <a:pt x="15" y="26"/>
                      <a:pt x="15" y="23"/>
                    </a:cubicBezTo>
                    <a:cubicBezTo>
                      <a:pt x="16" y="24"/>
                      <a:pt x="18" y="25"/>
                      <a:pt x="19" y="27"/>
                    </a:cubicBezTo>
                    <a:lnTo>
                      <a:pt x="19" y="25"/>
                    </a:lnTo>
                    <a:cubicBezTo>
                      <a:pt x="19" y="17"/>
                      <a:pt x="15" y="8"/>
                      <a:pt x="13" y="0"/>
                    </a:cubicBezTo>
                    <a:cubicBezTo>
                      <a:pt x="10" y="3"/>
                      <a:pt x="5" y="5"/>
                      <a:pt x="4" y="8"/>
                    </a:cubicBezTo>
                    <a:cubicBezTo>
                      <a:pt x="2" y="13"/>
                      <a:pt x="1" y="19"/>
                      <a:pt x="0" y="25"/>
                    </a:cubicBezTo>
                    <a:cubicBezTo>
                      <a:pt x="0" y="31"/>
                      <a:pt x="1" y="37"/>
                      <a:pt x="4" y="42"/>
                    </a:cubicBezTo>
                    <a:cubicBezTo>
                      <a:pt x="5" y="42"/>
                      <a:pt x="6" y="41"/>
                      <a:pt x="7" y="40"/>
                    </a:cubicBezTo>
                    <a:cubicBezTo>
                      <a:pt x="7" y="40"/>
                      <a:pt x="7" y="40"/>
                      <a:pt x="7" y="39"/>
                    </a:cubicBezTo>
                    <a:cubicBezTo>
                      <a:pt x="6" y="35"/>
                      <a:pt x="4" y="30"/>
                      <a:pt x="3" y="26"/>
                    </a:cubicBezTo>
                    <a:cubicBezTo>
                      <a:pt x="3" y="23"/>
                      <a:pt x="2" y="25"/>
                      <a:pt x="3" y="20"/>
                    </a:cubicBezTo>
                    <a:cubicBezTo>
                      <a:pt x="2" y="22"/>
                      <a:pt x="4" y="25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2" name="Freeform 69">
                <a:extLst>
                  <a:ext uri="{FF2B5EF4-FFF2-40B4-BE49-F238E27FC236}">
                    <a16:creationId xmlns:a16="http://schemas.microsoft.com/office/drawing/2014/main" id="{BC8EE769-7F69-68E6-4E0F-74D048F0A2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98133" y="3785607"/>
                <a:ext cx="18098" cy="9050"/>
              </a:xfrm>
              <a:custGeom>
                <a:avLst/>
                <a:gdLst>
                  <a:gd name="T0" fmla="*/ 36 w 44"/>
                  <a:gd name="T1" fmla="*/ 20 h 25"/>
                  <a:gd name="T2" fmla="*/ 22 w 44"/>
                  <a:gd name="T3" fmla="*/ 3 h 25"/>
                  <a:gd name="T4" fmla="*/ 1 w 44"/>
                  <a:gd name="T5" fmla="*/ 10 h 25"/>
                  <a:gd name="T6" fmla="*/ 36 w 44"/>
                  <a:gd name="T7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25">
                    <a:moveTo>
                      <a:pt x="36" y="20"/>
                    </a:moveTo>
                    <a:cubicBezTo>
                      <a:pt x="27" y="12"/>
                      <a:pt x="32" y="6"/>
                      <a:pt x="22" y="3"/>
                    </a:cubicBezTo>
                    <a:cubicBezTo>
                      <a:pt x="12" y="0"/>
                      <a:pt x="0" y="4"/>
                      <a:pt x="1" y="10"/>
                    </a:cubicBezTo>
                    <a:cubicBezTo>
                      <a:pt x="3" y="19"/>
                      <a:pt x="44" y="25"/>
                      <a:pt x="3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3" name="Freeform 70">
                <a:extLst>
                  <a:ext uri="{FF2B5EF4-FFF2-40B4-BE49-F238E27FC236}">
                    <a16:creationId xmlns:a16="http://schemas.microsoft.com/office/drawing/2014/main" id="{E55442D0-DA80-D289-C156-8BDD56CCAE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9451" y="3628150"/>
                <a:ext cx="217180" cy="322151"/>
              </a:xfrm>
              <a:custGeom>
                <a:avLst/>
                <a:gdLst>
                  <a:gd name="T0" fmla="*/ 357 w 531"/>
                  <a:gd name="T1" fmla="*/ 727 h 784"/>
                  <a:gd name="T2" fmla="*/ 383 w 531"/>
                  <a:gd name="T3" fmla="*/ 715 h 784"/>
                  <a:gd name="T4" fmla="*/ 380 w 531"/>
                  <a:gd name="T5" fmla="*/ 734 h 784"/>
                  <a:gd name="T6" fmla="*/ 400 w 531"/>
                  <a:gd name="T7" fmla="*/ 720 h 784"/>
                  <a:gd name="T8" fmla="*/ 413 w 531"/>
                  <a:gd name="T9" fmla="*/ 743 h 784"/>
                  <a:gd name="T10" fmla="*/ 421 w 531"/>
                  <a:gd name="T11" fmla="*/ 759 h 784"/>
                  <a:gd name="T12" fmla="*/ 420 w 531"/>
                  <a:gd name="T13" fmla="*/ 690 h 784"/>
                  <a:gd name="T14" fmla="*/ 431 w 531"/>
                  <a:gd name="T15" fmla="*/ 748 h 784"/>
                  <a:gd name="T16" fmla="*/ 440 w 531"/>
                  <a:gd name="T17" fmla="*/ 746 h 784"/>
                  <a:gd name="T18" fmla="*/ 449 w 531"/>
                  <a:gd name="T19" fmla="*/ 731 h 784"/>
                  <a:gd name="T20" fmla="*/ 465 w 531"/>
                  <a:gd name="T21" fmla="*/ 727 h 784"/>
                  <a:gd name="T22" fmla="*/ 501 w 531"/>
                  <a:gd name="T23" fmla="*/ 448 h 784"/>
                  <a:gd name="T24" fmla="*/ 455 w 531"/>
                  <a:gd name="T25" fmla="*/ 349 h 784"/>
                  <a:gd name="T26" fmla="*/ 463 w 531"/>
                  <a:gd name="T27" fmla="*/ 58 h 784"/>
                  <a:gd name="T28" fmla="*/ 0 w 531"/>
                  <a:gd name="T29" fmla="*/ 0 h 784"/>
                  <a:gd name="T30" fmla="*/ 203 w 531"/>
                  <a:gd name="T31" fmla="*/ 234 h 784"/>
                  <a:gd name="T32" fmla="*/ 274 w 531"/>
                  <a:gd name="T33" fmla="*/ 227 h 784"/>
                  <a:gd name="T34" fmla="*/ 341 w 531"/>
                  <a:gd name="T35" fmla="*/ 226 h 784"/>
                  <a:gd name="T36" fmla="*/ 269 w 531"/>
                  <a:gd name="T37" fmla="*/ 284 h 784"/>
                  <a:gd name="T38" fmla="*/ 321 w 531"/>
                  <a:gd name="T39" fmla="*/ 312 h 784"/>
                  <a:gd name="T40" fmla="*/ 362 w 531"/>
                  <a:gd name="T41" fmla="*/ 425 h 784"/>
                  <a:gd name="T42" fmla="*/ 99 w 531"/>
                  <a:gd name="T43" fmla="*/ 574 h 784"/>
                  <a:gd name="T44" fmla="*/ 65 w 531"/>
                  <a:gd name="T45" fmla="*/ 605 h 784"/>
                  <a:gd name="T46" fmla="*/ 63 w 531"/>
                  <a:gd name="T47" fmla="*/ 728 h 784"/>
                  <a:gd name="T48" fmla="*/ 151 w 531"/>
                  <a:gd name="T49" fmla="*/ 776 h 784"/>
                  <a:gd name="T50" fmla="*/ 158 w 531"/>
                  <a:gd name="T51" fmla="*/ 772 h 784"/>
                  <a:gd name="T52" fmla="*/ 160 w 531"/>
                  <a:gd name="T53" fmla="*/ 753 h 784"/>
                  <a:gd name="T54" fmla="*/ 171 w 531"/>
                  <a:gd name="T55" fmla="*/ 751 h 784"/>
                  <a:gd name="T56" fmla="*/ 172 w 531"/>
                  <a:gd name="T57" fmla="*/ 754 h 784"/>
                  <a:gd name="T58" fmla="*/ 181 w 531"/>
                  <a:gd name="T59" fmla="*/ 763 h 784"/>
                  <a:gd name="T60" fmla="*/ 190 w 531"/>
                  <a:gd name="T61" fmla="*/ 747 h 784"/>
                  <a:gd name="T62" fmla="*/ 196 w 531"/>
                  <a:gd name="T63" fmla="*/ 750 h 784"/>
                  <a:gd name="T64" fmla="*/ 202 w 531"/>
                  <a:gd name="T65" fmla="*/ 756 h 784"/>
                  <a:gd name="T66" fmla="*/ 211 w 531"/>
                  <a:gd name="T67" fmla="*/ 760 h 784"/>
                  <a:gd name="T68" fmla="*/ 217 w 531"/>
                  <a:gd name="T69" fmla="*/ 746 h 784"/>
                  <a:gd name="T70" fmla="*/ 221 w 531"/>
                  <a:gd name="T71" fmla="*/ 735 h 784"/>
                  <a:gd name="T72" fmla="*/ 229 w 531"/>
                  <a:gd name="T73" fmla="*/ 733 h 784"/>
                  <a:gd name="T74" fmla="*/ 237 w 531"/>
                  <a:gd name="T75" fmla="*/ 770 h 784"/>
                  <a:gd name="T76" fmla="*/ 247 w 531"/>
                  <a:gd name="T77" fmla="*/ 754 h 784"/>
                  <a:gd name="T78" fmla="*/ 253 w 531"/>
                  <a:gd name="T79" fmla="*/ 769 h 784"/>
                  <a:gd name="T80" fmla="*/ 256 w 531"/>
                  <a:gd name="T81" fmla="*/ 753 h 784"/>
                  <a:gd name="T82" fmla="*/ 264 w 531"/>
                  <a:gd name="T83" fmla="*/ 753 h 784"/>
                  <a:gd name="T84" fmla="*/ 267 w 531"/>
                  <a:gd name="T85" fmla="*/ 774 h 784"/>
                  <a:gd name="T86" fmla="*/ 266 w 531"/>
                  <a:gd name="T87" fmla="*/ 726 h 784"/>
                  <a:gd name="T88" fmla="*/ 280 w 531"/>
                  <a:gd name="T89" fmla="*/ 761 h 784"/>
                  <a:gd name="T90" fmla="*/ 286 w 531"/>
                  <a:gd name="T91" fmla="*/ 763 h 784"/>
                  <a:gd name="T92" fmla="*/ 289 w 531"/>
                  <a:gd name="T93" fmla="*/ 753 h 784"/>
                  <a:gd name="T94" fmla="*/ 298 w 531"/>
                  <a:gd name="T95" fmla="*/ 760 h 784"/>
                  <a:gd name="T96" fmla="*/ 299 w 531"/>
                  <a:gd name="T97" fmla="*/ 724 h 784"/>
                  <a:gd name="T98" fmla="*/ 316 w 531"/>
                  <a:gd name="T99" fmla="*/ 730 h 784"/>
                  <a:gd name="T100" fmla="*/ 324 w 531"/>
                  <a:gd name="T101" fmla="*/ 745 h 784"/>
                  <a:gd name="T102" fmla="*/ 334 w 531"/>
                  <a:gd name="T103" fmla="*/ 725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31" h="784">
                    <a:moveTo>
                      <a:pt x="349" y="756"/>
                    </a:moveTo>
                    <a:cubicBezTo>
                      <a:pt x="349" y="754"/>
                      <a:pt x="350" y="748"/>
                      <a:pt x="351" y="746"/>
                    </a:cubicBezTo>
                    <a:cubicBezTo>
                      <a:pt x="354" y="741"/>
                      <a:pt x="355" y="732"/>
                      <a:pt x="356" y="726"/>
                    </a:cubicBezTo>
                    <a:cubicBezTo>
                      <a:pt x="356" y="726"/>
                      <a:pt x="356" y="727"/>
                      <a:pt x="357" y="727"/>
                    </a:cubicBezTo>
                    <a:cubicBezTo>
                      <a:pt x="359" y="736"/>
                      <a:pt x="360" y="742"/>
                      <a:pt x="363" y="753"/>
                    </a:cubicBezTo>
                    <a:cubicBezTo>
                      <a:pt x="364" y="742"/>
                      <a:pt x="368" y="732"/>
                      <a:pt x="373" y="723"/>
                    </a:cubicBezTo>
                    <a:cubicBezTo>
                      <a:pt x="378" y="714"/>
                      <a:pt x="384" y="705"/>
                      <a:pt x="388" y="694"/>
                    </a:cubicBezTo>
                    <a:cubicBezTo>
                      <a:pt x="387" y="702"/>
                      <a:pt x="388" y="708"/>
                      <a:pt x="383" y="715"/>
                    </a:cubicBezTo>
                    <a:cubicBezTo>
                      <a:pt x="379" y="722"/>
                      <a:pt x="377" y="725"/>
                      <a:pt x="376" y="730"/>
                    </a:cubicBezTo>
                    <a:cubicBezTo>
                      <a:pt x="375" y="734"/>
                      <a:pt x="374" y="740"/>
                      <a:pt x="371" y="751"/>
                    </a:cubicBezTo>
                    <a:cubicBezTo>
                      <a:pt x="371" y="750"/>
                      <a:pt x="374" y="747"/>
                      <a:pt x="374" y="745"/>
                    </a:cubicBezTo>
                    <a:cubicBezTo>
                      <a:pt x="375" y="741"/>
                      <a:pt x="378" y="737"/>
                      <a:pt x="380" y="734"/>
                    </a:cubicBezTo>
                    <a:cubicBezTo>
                      <a:pt x="384" y="727"/>
                      <a:pt x="390" y="723"/>
                      <a:pt x="396" y="721"/>
                    </a:cubicBezTo>
                    <a:cubicBezTo>
                      <a:pt x="396" y="721"/>
                      <a:pt x="396" y="720"/>
                      <a:pt x="395" y="720"/>
                    </a:cubicBezTo>
                    <a:cubicBezTo>
                      <a:pt x="396" y="720"/>
                      <a:pt x="396" y="720"/>
                      <a:pt x="397" y="721"/>
                    </a:cubicBezTo>
                    <a:cubicBezTo>
                      <a:pt x="398" y="720"/>
                      <a:pt x="399" y="720"/>
                      <a:pt x="400" y="720"/>
                    </a:cubicBezTo>
                    <a:cubicBezTo>
                      <a:pt x="399" y="721"/>
                      <a:pt x="399" y="722"/>
                      <a:pt x="398" y="722"/>
                    </a:cubicBezTo>
                    <a:cubicBezTo>
                      <a:pt x="400" y="725"/>
                      <a:pt x="403" y="730"/>
                      <a:pt x="405" y="735"/>
                    </a:cubicBezTo>
                    <a:cubicBezTo>
                      <a:pt x="407" y="741"/>
                      <a:pt x="410" y="747"/>
                      <a:pt x="412" y="753"/>
                    </a:cubicBezTo>
                    <a:cubicBezTo>
                      <a:pt x="412" y="750"/>
                      <a:pt x="413" y="746"/>
                      <a:pt x="413" y="743"/>
                    </a:cubicBezTo>
                    <a:cubicBezTo>
                      <a:pt x="413" y="736"/>
                      <a:pt x="411" y="731"/>
                      <a:pt x="407" y="727"/>
                    </a:cubicBezTo>
                    <a:cubicBezTo>
                      <a:pt x="408" y="727"/>
                      <a:pt x="413" y="734"/>
                      <a:pt x="413" y="735"/>
                    </a:cubicBezTo>
                    <a:cubicBezTo>
                      <a:pt x="418" y="741"/>
                      <a:pt x="419" y="751"/>
                      <a:pt x="421" y="759"/>
                    </a:cubicBezTo>
                    <a:cubicBezTo>
                      <a:pt x="421" y="759"/>
                      <a:pt x="421" y="759"/>
                      <a:pt x="421" y="759"/>
                    </a:cubicBezTo>
                    <a:cubicBezTo>
                      <a:pt x="421" y="755"/>
                      <a:pt x="421" y="751"/>
                      <a:pt x="421" y="747"/>
                    </a:cubicBezTo>
                    <a:cubicBezTo>
                      <a:pt x="420" y="742"/>
                      <a:pt x="419" y="737"/>
                      <a:pt x="419" y="731"/>
                    </a:cubicBezTo>
                    <a:cubicBezTo>
                      <a:pt x="418" y="725"/>
                      <a:pt x="418" y="718"/>
                      <a:pt x="418" y="711"/>
                    </a:cubicBezTo>
                    <a:cubicBezTo>
                      <a:pt x="418" y="704"/>
                      <a:pt x="419" y="697"/>
                      <a:pt x="420" y="690"/>
                    </a:cubicBezTo>
                    <a:cubicBezTo>
                      <a:pt x="419" y="699"/>
                      <a:pt x="420" y="709"/>
                      <a:pt x="422" y="718"/>
                    </a:cubicBezTo>
                    <a:cubicBezTo>
                      <a:pt x="424" y="727"/>
                      <a:pt x="427" y="736"/>
                      <a:pt x="429" y="744"/>
                    </a:cubicBezTo>
                    <a:cubicBezTo>
                      <a:pt x="430" y="743"/>
                      <a:pt x="431" y="740"/>
                      <a:pt x="432" y="739"/>
                    </a:cubicBezTo>
                    <a:cubicBezTo>
                      <a:pt x="431" y="742"/>
                      <a:pt x="431" y="745"/>
                      <a:pt x="431" y="748"/>
                    </a:cubicBezTo>
                    <a:cubicBezTo>
                      <a:pt x="431" y="748"/>
                      <a:pt x="431" y="748"/>
                      <a:pt x="431" y="749"/>
                    </a:cubicBezTo>
                    <a:cubicBezTo>
                      <a:pt x="432" y="751"/>
                      <a:pt x="432" y="752"/>
                      <a:pt x="433" y="752"/>
                    </a:cubicBezTo>
                    <a:cubicBezTo>
                      <a:pt x="435" y="751"/>
                      <a:pt x="437" y="750"/>
                      <a:pt x="439" y="748"/>
                    </a:cubicBezTo>
                    <a:cubicBezTo>
                      <a:pt x="439" y="747"/>
                      <a:pt x="440" y="747"/>
                      <a:pt x="440" y="746"/>
                    </a:cubicBezTo>
                    <a:cubicBezTo>
                      <a:pt x="440" y="743"/>
                      <a:pt x="439" y="739"/>
                      <a:pt x="439" y="736"/>
                    </a:cubicBezTo>
                    <a:cubicBezTo>
                      <a:pt x="439" y="736"/>
                      <a:pt x="440" y="738"/>
                      <a:pt x="441" y="738"/>
                    </a:cubicBezTo>
                    <a:cubicBezTo>
                      <a:pt x="441" y="739"/>
                      <a:pt x="442" y="740"/>
                      <a:pt x="442" y="742"/>
                    </a:cubicBezTo>
                    <a:cubicBezTo>
                      <a:pt x="445" y="738"/>
                      <a:pt x="447" y="734"/>
                      <a:pt x="449" y="731"/>
                    </a:cubicBezTo>
                    <a:cubicBezTo>
                      <a:pt x="454" y="724"/>
                      <a:pt x="465" y="714"/>
                      <a:pt x="466" y="703"/>
                    </a:cubicBezTo>
                    <a:cubicBezTo>
                      <a:pt x="465" y="712"/>
                      <a:pt x="461" y="720"/>
                      <a:pt x="457" y="728"/>
                    </a:cubicBezTo>
                    <a:cubicBezTo>
                      <a:pt x="455" y="731"/>
                      <a:pt x="452" y="736"/>
                      <a:pt x="451" y="739"/>
                    </a:cubicBezTo>
                    <a:cubicBezTo>
                      <a:pt x="455" y="736"/>
                      <a:pt x="460" y="731"/>
                      <a:pt x="465" y="727"/>
                    </a:cubicBezTo>
                    <a:cubicBezTo>
                      <a:pt x="465" y="726"/>
                      <a:pt x="466" y="726"/>
                      <a:pt x="466" y="725"/>
                    </a:cubicBezTo>
                    <a:cubicBezTo>
                      <a:pt x="468" y="724"/>
                      <a:pt x="469" y="723"/>
                      <a:pt x="470" y="722"/>
                    </a:cubicBezTo>
                    <a:cubicBezTo>
                      <a:pt x="510" y="683"/>
                      <a:pt x="530" y="629"/>
                      <a:pt x="531" y="561"/>
                    </a:cubicBezTo>
                    <a:cubicBezTo>
                      <a:pt x="531" y="520"/>
                      <a:pt x="521" y="482"/>
                      <a:pt x="501" y="448"/>
                    </a:cubicBezTo>
                    <a:cubicBezTo>
                      <a:pt x="489" y="429"/>
                      <a:pt x="473" y="413"/>
                      <a:pt x="455" y="401"/>
                    </a:cubicBezTo>
                    <a:lnTo>
                      <a:pt x="407" y="381"/>
                    </a:lnTo>
                    <a:lnTo>
                      <a:pt x="407" y="378"/>
                    </a:lnTo>
                    <a:cubicBezTo>
                      <a:pt x="426" y="369"/>
                      <a:pt x="441" y="360"/>
                      <a:pt x="455" y="349"/>
                    </a:cubicBezTo>
                    <a:cubicBezTo>
                      <a:pt x="457" y="347"/>
                      <a:pt x="460" y="345"/>
                      <a:pt x="463" y="343"/>
                    </a:cubicBezTo>
                    <a:cubicBezTo>
                      <a:pt x="477" y="330"/>
                      <a:pt x="489" y="317"/>
                      <a:pt x="497" y="303"/>
                    </a:cubicBezTo>
                    <a:cubicBezTo>
                      <a:pt x="512" y="273"/>
                      <a:pt x="520" y="242"/>
                      <a:pt x="519" y="210"/>
                    </a:cubicBezTo>
                    <a:cubicBezTo>
                      <a:pt x="519" y="147"/>
                      <a:pt x="500" y="96"/>
                      <a:pt x="463" y="58"/>
                    </a:cubicBezTo>
                    <a:cubicBezTo>
                      <a:pt x="460" y="56"/>
                      <a:pt x="457" y="53"/>
                      <a:pt x="455" y="51"/>
                    </a:cubicBezTo>
                    <a:cubicBezTo>
                      <a:pt x="448" y="45"/>
                      <a:pt x="442" y="40"/>
                      <a:pt x="434" y="36"/>
                    </a:cubicBezTo>
                    <a:cubicBezTo>
                      <a:pt x="399" y="13"/>
                      <a:pt x="352" y="0"/>
                      <a:pt x="294" y="0"/>
                    </a:cubicBezTo>
                    <a:lnTo>
                      <a:pt x="0" y="0"/>
                    </a:lnTo>
                    <a:lnTo>
                      <a:pt x="0" y="275"/>
                    </a:lnTo>
                    <a:cubicBezTo>
                      <a:pt x="70" y="281"/>
                      <a:pt x="147" y="280"/>
                      <a:pt x="168" y="249"/>
                    </a:cubicBezTo>
                    <a:cubicBezTo>
                      <a:pt x="172" y="244"/>
                      <a:pt x="173" y="231"/>
                      <a:pt x="193" y="233"/>
                    </a:cubicBezTo>
                    <a:cubicBezTo>
                      <a:pt x="195" y="233"/>
                      <a:pt x="199" y="233"/>
                      <a:pt x="203" y="234"/>
                    </a:cubicBezTo>
                    <a:cubicBezTo>
                      <a:pt x="205" y="234"/>
                      <a:pt x="207" y="234"/>
                      <a:pt x="209" y="234"/>
                    </a:cubicBezTo>
                    <a:cubicBezTo>
                      <a:pt x="225" y="234"/>
                      <a:pt x="246" y="233"/>
                      <a:pt x="269" y="229"/>
                    </a:cubicBezTo>
                    <a:cubicBezTo>
                      <a:pt x="270" y="228"/>
                      <a:pt x="272" y="228"/>
                      <a:pt x="273" y="228"/>
                    </a:cubicBezTo>
                    <a:cubicBezTo>
                      <a:pt x="273" y="227"/>
                      <a:pt x="273" y="227"/>
                      <a:pt x="274" y="227"/>
                    </a:cubicBezTo>
                    <a:cubicBezTo>
                      <a:pt x="282" y="225"/>
                      <a:pt x="290" y="223"/>
                      <a:pt x="298" y="220"/>
                    </a:cubicBezTo>
                    <a:cubicBezTo>
                      <a:pt x="303" y="218"/>
                      <a:pt x="309" y="215"/>
                      <a:pt x="314" y="212"/>
                    </a:cubicBezTo>
                    <a:cubicBezTo>
                      <a:pt x="357" y="188"/>
                      <a:pt x="379" y="160"/>
                      <a:pt x="379" y="160"/>
                    </a:cubicBezTo>
                    <a:cubicBezTo>
                      <a:pt x="379" y="160"/>
                      <a:pt x="366" y="196"/>
                      <a:pt x="341" y="226"/>
                    </a:cubicBezTo>
                    <a:cubicBezTo>
                      <a:pt x="326" y="245"/>
                      <a:pt x="311" y="259"/>
                      <a:pt x="295" y="270"/>
                    </a:cubicBezTo>
                    <a:cubicBezTo>
                      <a:pt x="288" y="275"/>
                      <a:pt x="280" y="279"/>
                      <a:pt x="273" y="282"/>
                    </a:cubicBezTo>
                    <a:cubicBezTo>
                      <a:pt x="272" y="283"/>
                      <a:pt x="271" y="283"/>
                      <a:pt x="270" y="284"/>
                    </a:cubicBezTo>
                    <a:cubicBezTo>
                      <a:pt x="270" y="284"/>
                      <a:pt x="270" y="284"/>
                      <a:pt x="269" y="284"/>
                    </a:cubicBezTo>
                    <a:cubicBezTo>
                      <a:pt x="232" y="301"/>
                      <a:pt x="203" y="299"/>
                      <a:pt x="203" y="299"/>
                    </a:cubicBezTo>
                    <a:cubicBezTo>
                      <a:pt x="244" y="303"/>
                      <a:pt x="282" y="299"/>
                      <a:pt x="319" y="280"/>
                    </a:cubicBezTo>
                    <a:cubicBezTo>
                      <a:pt x="352" y="264"/>
                      <a:pt x="361" y="248"/>
                      <a:pt x="363" y="244"/>
                    </a:cubicBezTo>
                    <a:cubicBezTo>
                      <a:pt x="360" y="251"/>
                      <a:pt x="339" y="297"/>
                      <a:pt x="321" y="312"/>
                    </a:cubicBezTo>
                    <a:lnTo>
                      <a:pt x="302" y="329"/>
                    </a:lnTo>
                    <a:lnTo>
                      <a:pt x="288" y="340"/>
                    </a:lnTo>
                    <a:cubicBezTo>
                      <a:pt x="288" y="340"/>
                      <a:pt x="284" y="352"/>
                      <a:pt x="314" y="383"/>
                    </a:cubicBezTo>
                    <a:cubicBezTo>
                      <a:pt x="326" y="394"/>
                      <a:pt x="345" y="411"/>
                      <a:pt x="362" y="425"/>
                    </a:cubicBezTo>
                    <a:cubicBezTo>
                      <a:pt x="371" y="433"/>
                      <a:pt x="379" y="440"/>
                      <a:pt x="385" y="446"/>
                    </a:cubicBezTo>
                    <a:cubicBezTo>
                      <a:pt x="418" y="478"/>
                      <a:pt x="348" y="531"/>
                      <a:pt x="304" y="504"/>
                    </a:cubicBezTo>
                    <a:cubicBezTo>
                      <a:pt x="282" y="491"/>
                      <a:pt x="211" y="521"/>
                      <a:pt x="167" y="515"/>
                    </a:cubicBezTo>
                    <a:cubicBezTo>
                      <a:pt x="111" y="508"/>
                      <a:pt x="121" y="546"/>
                      <a:pt x="99" y="574"/>
                    </a:cubicBezTo>
                    <a:cubicBezTo>
                      <a:pt x="68" y="614"/>
                      <a:pt x="45" y="559"/>
                      <a:pt x="42" y="540"/>
                    </a:cubicBezTo>
                    <a:cubicBezTo>
                      <a:pt x="38" y="513"/>
                      <a:pt x="28" y="484"/>
                      <a:pt x="0" y="472"/>
                    </a:cubicBezTo>
                    <a:lnTo>
                      <a:pt x="0" y="474"/>
                    </a:lnTo>
                    <a:cubicBezTo>
                      <a:pt x="50" y="501"/>
                      <a:pt x="11" y="562"/>
                      <a:pt x="65" y="605"/>
                    </a:cubicBezTo>
                    <a:cubicBezTo>
                      <a:pt x="58" y="622"/>
                      <a:pt x="49" y="636"/>
                      <a:pt x="45" y="650"/>
                    </a:cubicBezTo>
                    <a:cubicBezTo>
                      <a:pt x="46" y="653"/>
                      <a:pt x="48" y="655"/>
                      <a:pt x="49" y="657"/>
                    </a:cubicBezTo>
                    <a:cubicBezTo>
                      <a:pt x="54" y="665"/>
                      <a:pt x="69" y="666"/>
                      <a:pt x="69" y="675"/>
                    </a:cubicBezTo>
                    <a:cubicBezTo>
                      <a:pt x="70" y="683"/>
                      <a:pt x="68" y="722"/>
                      <a:pt x="63" y="728"/>
                    </a:cubicBezTo>
                    <a:cubicBezTo>
                      <a:pt x="59" y="733"/>
                      <a:pt x="60" y="761"/>
                      <a:pt x="41" y="784"/>
                    </a:cubicBezTo>
                    <a:lnTo>
                      <a:pt x="129" y="784"/>
                    </a:lnTo>
                    <a:cubicBezTo>
                      <a:pt x="136" y="782"/>
                      <a:pt x="143" y="779"/>
                      <a:pt x="151" y="777"/>
                    </a:cubicBezTo>
                    <a:cubicBezTo>
                      <a:pt x="151" y="777"/>
                      <a:pt x="151" y="776"/>
                      <a:pt x="151" y="776"/>
                    </a:cubicBezTo>
                    <a:cubicBezTo>
                      <a:pt x="153" y="768"/>
                      <a:pt x="150" y="762"/>
                      <a:pt x="146" y="756"/>
                    </a:cubicBezTo>
                    <a:cubicBezTo>
                      <a:pt x="143" y="749"/>
                      <a:pt x="139" y="743"/>
                      <a:pt x="138" y="736"/>
                    </a:cubicBezTo>
                    <a:cubicBezTo>
                      <a:pt x="139" y="743"/>
                      <a:pt x="146" y="749"/>
                      <a:pt x="149" y="754"/>
                    </a:cubicBezTo>
                    <a:cubicBezTo>
                      <a:pt x="152" y="758"/>
                      <a:pt x="158" y="767"/>
                      <a:pt x="158" y="772"/>
                    </a:cubicBezTo>
                    <a:cubicBezTo>
                      <a:pt x="159" y="770"/>
                      <a:pt x="161" y="767"/>
                      <a:pt x="161" y="765"/>
                    </a:cubicBezTo>
                    <a:lnTo>
                      <a:pt x="161" y="762"/>
                    </a:lnTo>
                    <a:cubicBezTo>
                      <a:pt x="161" y="761"/>
                      <a:pt x="161" y="760"/>
                      <a:pt x="161" y="759"/>
                    </a:cubicBezTo>
                    <a:cubicBezTo>
                      <a:pt x="161" y="757"/>
                      <a:pt x="160" y="755"/>
                      <a:pt x="160" y="753"/>
                    </a:cubicBezTo>
                    <a:cubicBezTo>
                      <a:pt x="161" y="756"/>
                      <a:pt x="162" y="758"/>
                      <a:pt x="163" y="761"/>
                    </a:cubicBezTo>
                    <a:cubicBezTo>
                      <a:pt x="164" y="763"/>
                      <a:pt x="166" y="766"/>
                      <a:pt x="166" y="769"/>
                    </a:cubicBezTo>
                    <a:cubicBezTo>
                      <a:pt x="167" y="764"/>
                      <a:pt x="168" y="759"/>
                      <a:pt x="170" y="755"/>
                    </a:cubicBezTo>
                    <a:cubicBezTo>
                      <a:pt x="170" y="753"/>
                      <a:pt x="171" y="752"/>
                      <a:pt x="171" y="751"/>
                    </a:cubicBezTo>
                    <a:cubicBezTo>
                      <a:pt x="171" y="751"/>
                      <a:pt x="171" y="752"/>
                      <a:pt x="171" y="752"/>
                    </a:cubicBezTo>
                    <a:cubicBezTo>
                      <a:pt x="171" y="752"/>
                      <a:pt x="171" y="751"/>
                      <a:pt x="172" y="751"/>
                    </a:cubicBezTo>
                    <a:cubicBezTo>
                      <a:pt x="172" y="750"/>
                      <a:pt x="175" y="747"/>
                      <a:pt x="176" y="747"/>
                    </a:cubicBezTo>
                    <a:cubicBezTo>
                      <a:pt x="173" y="749"/>
                      <a:pt x="172" y="751"/>
                      <a:pt x="172" y="754"/>
                    </a:cubicBezTo>
                    <a:cubicBezTo>
                      <a:pt x="173" y="756"/>
                      <a:pt x="174" y="757"/>
                      <a:pt x="175" y="758"/>
                    </a:cubicBezTo>
                    <a:cubicBezTo>
                      <a:pt x="175" y="759"/>
                      <a:pt x="177" y="760"/>
                      <a:pt x="179" y="761"/>
                    </a:cubicBezTo>
                    <a:cubicBezTo>
                      <a:pt x="179" y="760"/>
                      <a:pt x="180" y="760"/>
                      <a:pt x="181" y="759"/>
                    </a:cubicBezTo>
                    <a:cubicBezTo>
                      <a:pt x="181" y="760"/>
                      <a:pt x="181" y="761"/>
                      <a:pt x="181" y="763"/>
                    </a:cubicBezTo>
                    <a:cubicBezTo>
                      <a:pt x="184" y="764"/>
                      <a:pt x="187" y="765"/>
                      <a:pt x="190" y="765"/>
                    </a:cubicBezTo>
                    <a:cubicBezTo>
                      <a:pt x="191" y="760"/>
                      <a:pt x="189" y="754"/>
                      <a:pt x="188" y="750"/>
                    </a:cubicBezTo>
                    <a:cubicBezTo>
                      <a:pt x="187" y="747"/>
                      <a:pt x="181" y="745"/>
                      <a:pt x="180" y="742"/>
                    </a:cubicBezTo>
                    <a:cubicBezTo>
                      <a:pt x="184" y="743"/>
                      <a:pt x="187" y="745"/>
                      <a:pt x="190" y="747"/>
                    </a:cubicBezTo>
                    <a:cubicBezTo>
                      <a:pt x="189" y="747"/>
                      <a:pt x="189" y="746"/>
                      <a:pt x="189" y="746"/>
                    </a:cubicBezTo>
                    <a:cubicBezTo>
                      <a:pt x="189" y="744"/>
                      <a:pt x="189" y="745"/>
                      <a:pt x="189" y="741"/>
                    </a:cubicBezTo>
                    <a:cubicBezTo>
                      <a:pt x="189" y="742"/>
                      <a:pt x="191" y="746"/>
                      <a:pt x="192" y="746"/>
                    </a:cubicBezTo>
                    <a:cubicBezTo>
                      <a:pt x="193" y="747"/>
                      <a:pt x="194" y="748"/>
                      <a:pt x="196" y="750"/>
                    </a:cubicBezTo>
                    <a:cubicBezTo>
                      <a:pt x="195" y="746"/>
                      <a:pt x="193" y="744"/>
                      <a:pt x="191" y="739"/>
                    </a:cubicBezTo>
                    <a:cubicBezTo>
                      <a:pt x="188" y="735"/>
                      <a:pt x="188" y="731"/>
                      <a:pt x="188" y="726"/>
                    </a:cubicBezTo>
                    <a:cubicBezTo>
                      <a:pt x="190" y="732"/>
                      <a:pt x="193" y="737"/>
                      <a:pt x="195" y="741"/>
                    </a:cubicBezTo>
                    <a:cubicBezTo>
                      <a:pt x="198" y="746"/>
                      <a:pt x="200" y="751"/>
                      <a:pt x="202" y="756"/>
                    </a:cubicBezTo>
                    <a:cubicBezTo>
                      <a:pt x="203" y="757"/>
                      <a:pt x="204" y="758"/>
                      <a:pt x="205" y="759"/>
                    </a:cubicBezTo>
                    <a:cubicBezTo>
                      <a:pt x="206" y="755"/>
                      <a:pt x="207" y="752"/>
                      <a:pt x="208" y="748"/>
                    </a:cubicBezTo>
                    <a:cubicBezTo>
                      <a:pt x="208" y="748"/>
                      <a:pt x="208" y="747"/>
                      <a:pt x="208" y="747"/>
                    </a:cubicBezTo>
                    <a:cubicBezTo>
                      <a:pt x="209" y="751"/>
                      <a:pt x="209" y="756"/>
                      <a:pt x="211" y="760"/>
                    </a:cubicBezTo>
                    <a:lnTo>
                      <a:pt x="211" y="760"/>
                    </a:lnTo>
                    <a:cubicBezTo>
                      <a:pt x="212" y="757"/>
                      <a:pt x="212" y="754"/>
                      <a:pt x="212" y="751"/>
                    </a:cubicBezTo>
                    <a:cubicBezTo>
                      <a:pt x="214" y="740"/>
                      <a:pt x="206" y="737"/>
                      <a:pt x="199" y="729"/>
                    </a:cubicBezTo>
                    <a:cubicBezTo>
                      <a:pt x="204" y="728"/>
                      <a:pt x="213" y="736"/>
                      <a:pt x="217" y="746"/>
                    </a:cubicBezTo>
                    <a:cubicBezTo>
                      <a:pt x="219" y="749"/>
                      <a:pt x="220" y="753"/>
                      <a:pt x="221" y="757"/>
                    </a:cubicBezTo>
                    <a:cubicBezTo>
                      <a:pt x="222" y="753"/>
                      <a:pt x="222" y="750"/>
                      <a:pt x="222" y="747"/>
                    </a:cubicBezTo>
                    <a:cubicBezTo>
                      <a:pt x="223" y="749"/>
                      <a:pt x="223" y="751"/>
                      <a:pt x="224" y="753"/>
                    </a:cubicBezTo>
                    <a:cubicBezTo>
                      <a:pt x="223" y="748"/>
                      <a:pt x="222" y="742"/>
                      <a:pt x="221" y="735"/>
                    </a:cubicBezTo>
                    <a:cubicBezTo>
                      <a:pt x="219" y="727"/>
                      <a:pt x="220" y="721"/>
                      <a:pt x="223" y="716"/>
                    </a:cubicBezTo>
                    <a:cubicBezTo>
                      <a:pt x="225" y="711"/>
                      <a:pt x="229" y="708"/>
                      <a:pt x="231" y="704"/>
                    </a:cubicBezTo>
                    <a:cubicBezTo>
                      <a:pt x="229" y="711"/>
                      <a:pt x="228" y="715"/>
                      <a:pt x="228" y="720"/>
                    </a:cubicBezTo>
                    <a:cubicBezTo>
                      <a:pt x="227" y="724"/>
                      <a:pt x="228" y="728"/>
                      <a:pt x="229" y="733"/>
                    </a:cubicBezTo>
                    <a:cubicBezTo>
                      <a:pt x="230" y="732"/>
                      <a:pt x="231" y="731"/>
                      <a:pt x="232" y="731"/>
                    </a:cubicBezTo>
                    <a:cubicBezTo>
                      <a:pt x="231" y="733"/>
                      <a:pt x="231" y="734"/>
                      <a:pt x="230" y="736"/>
                    </a:cubicBezTo>
                    <a:cubicBezTo>
                      <a:pt x="231" y="739"/>
                      <a:pt x="232" y="742"/>
                      <a:pt x="233" y="746"/>
                    </a:cubicBezTo>
                    <a:cubicBezTo>
                      <a:pt x="236" y="752"/>
                      <a:pt x="236" y="761"/>
                      <a:pt x="237" y="770"/>
                    </a:cubicBezTo>
                    <a:cubicBezTo>
                      <a:pt x="237" y="763"/>
                      <a:pt x="237" y="755"/>
                      <a:pt x="242" y="749"/>
                    </a:cubicBezTo>
                    <a:cubicBezTo>
                      <a:pt x="242" y="747"/>
                      <a:pt x="242" y="744"/>
                      <a:pt x="241" y="742"/>
                    </a:cubicBezTo>
                    <a:cubicBezTo>
                      <a:pt x="241" y="743"/>
                      <a:pt x="243" y="744"/>
                      <a:pt x="243" y="745"/>
                    </a:cubicBezTo>
                    <a:cubicBezTo>
                      <a:pt x="245" y="747"/>
                      <a:pt x="247" y="752"/>
                      <a:pt x="247" y="754"/>
                    </a:cubicBezTo>
                    <a:cubicBezTo>
                      <a:pt x="248" y="758"/>
                      <a:pt x="250" y="762"/>
                      <a:pt x="251" y="765"/>
                    </a:cubicBezTo>
                    <a:cubicBezTo>
                      <a:pt x="252" y="764"/>
                      <a:pt x="253" y="762"/>
                      <a:pt x="253" y="760"/>
                    </a:cubicBezTo>
                    <a:cubicBezTo>
                      <a:pt x="253" y="763"/>
                      <a:pt x="253" y="766"/>
                      <a:pt x="253" y="769"/>
                    </a:cubicBezTo>
                    <a:lnTo>
                      <a:pt x="253" y="769"/>
                    </a:lnTo>
                    <a:cubicBezTo>
                      <a:pt x="253" y="770"/>
                      <a:pt x="254" y="771"/>
                      <a:pt x="254" y="772"/>
                    </a:cubicBezTo>
                    <a:cubicBezTo>
                      <a:pt x="254" y="772"/>
                      <a:pt x="255" y="772"/>
                      <a:pt x="255" y="771"/>
                    </a:cubicBezTo>
                    <a:cubicBezTo>
                      <a:pt x="256" y="768"/>
                      <a:pt x="256" y="765"/>
                      <a:pt x="256" y="762"/>
                    </a:cubicBezTo>
                    <a:cubicBezTo>
                      <a:pt x="256" y="759"/>
                      <a:pt x="256" y="756"/>
                      <a:pt x="256" y="753"/>
                    </a:cubicBezTo>
                    <a:cubicBezTo>
                      <a:pt x="256" y="751"/>
                      <a:pt x="258" y="747"/>
                      <a:pt x="259" y="744"/>
                    </a:cubicBezTo>
                    <a:cubicBezTo>
                      <a:pt x="258" y="749"/>
                      <a:pt x="259" y="755"/>
                      <a:pt x="261" y="760"/>
                    </a:cubicBezTo>
                    <a:cubicBezTo>
                      <a:pt x="261" y="760"/>
                      <a:pt x="261" y="760"/>
                      <a:pt x="261" y="759"/>
                    </a:cubicBezTo>
                    <a:cubicBezTo>
                      <a:pt x="261" y="758"/>
                      <a:pt x="263" y="754"/>
                      <a:pt x="264" y="753"/>
                    </a:cubicBezTo>
                    <a:cubicBezTo>
                      <a:pt x="264" y="752"/>
                      <a:pt x="266" y="750"/>
                      <a:pt x="266" y="749"/>
                    </a:cubicBezTo>
                    <a:cubicBezTo>
                      <a:pt x="264" y="754"/>
                      <a:pt x="263" y="760"/>
                      <a:pt x="263" y="765"/>
                    </a:cubicBezTo>
                    <a:cubicBezTo>
                      <a:pt x="264" y="768"/>
                      <a:pt x="265" y="770"/>
                      <a:pt x="266" y="772"/>
                    </a:cubicBezTo>
                    <a:cubicBezTo>
                      <a:pt x="267" y="773"/>
                      <a:pt x="267" y="774"/>
                      <a:pt x="267" y="774"/>
                    </a:cubicBezTo>
                    <a:cubicBezTo>
                      <a:pt x="269" y="770"/>
                      <a:pt x="270" y="765"/>
                      <a:pt x="270" y="761"/>
                    </a:cubicBezTo>
                    <a:cubicBezTo>
                      <a:pt x="270" y="762"/>
                      <a:pt x="271" y="763"/>
                      <a:pt x="271" y="764"/>
                    </a:cubicBezTo>
                    <a:cubicBezTo>
                      <a:pt x="271" y="758"/>
                      <a:pt x="270" y="751"/>
                      <a:pt x="269" y="745"/>
                    </a:cubicBezTo>
                    <a:cubicBezTo>
                      <a:pt x="269" y="739"/>
                      <a:pt x="267" y="733"/>
                      <a:pt x="266" y="726"/>
                    </a:cubicBezTo>
                    <a:cubicBezTo>
                      <a:pt x="266" y="728"/>
                      <a:pt x="268" y="731"/>
                      <a:pt x="269" y="731"/>
                    </a:cubicBezTo>
                    <a:cubicBezTo>
                      <a:pt x="270" y="734"/>
                      <a:pt x="272" y="739"/>
                      <a:pt x="273" y="743"/>
                    </a:cubicBezTo>
                    <a:cubicBezTo>
                      <a:pt x="274" y="747"/>
                      <a:pt x="277" y="754"/>
                      <a:pt x="279" y="759"/>
                    </a:cubicBezTo>
                    <a:cubicBezTo>
                      <a:pt x="279" y="760"/>
                      <a:pt x="280" y="760"/>
                      <a:pt x="280" y="761"/>
                    </a:cubicBezTo>
                    <a:cubicBezTo>
                      <a:pt x="281" y="761"/>
                      <a:pt x="281" y="760"/>
                      <a:pt x="281" y="760"/>
                    </a:cubicBezTo>
                    <a:lnTo>
                      <a:pt x="281" y="761"/>
                    </a:lnTo>
                    <a:cubicBezTo>
                      <a:pt x="282" y="762"/>
                      <a:pt x="284" y="763"/>
                      <a:pt x="286" y="763"/>
                    </a:cubicBezTo>
                    <a:cubicBezTo>
                      <a:pt x="286" y="763"/>
                      <a:pt x="286" y="763"/>
                      <a:pt x="286" y="763"/>
                    </a:cubicBezTo>
                    <a:cubicBezTo>
                      <a:pt x="286" y="762"/>
                      <a:pt x="286" y="762"/>
                      <a:pt x="286" y="762"/>
                    </a:cubicBezTo>
                    <a:cubicBezTo>
                      <a:pt x="286" y="760"/>
                      <a:pt x="286" y="758"/>
                      <a:pt x="286" y="758"/>
                    </a:cubicBezTo>
                    <a:cubicBezTo>
                      <a:pt x="286" y="753"/>
                      <a:pt x="285" y="748"/>
                      <a:pt x="285" y="743"/>
                    </a:cubicBezTo>
                    <a:cubicBezTo>
                      <a:pt x="285" y="747"/>
                      <a:pt x="287" y="750"/>
                      <a:pt x="289" y="753"/>
                    </a:cubicBezTo>
                    <a:cubicBezTo>
                      <a:pt x="290" y="748"/>
                      <a:pt x="290" y="744"/>
                      <a:pt x="287" y="736"/>
                    </a:cubicBezTo>
                    <a:cubicBezTo>
                      <a:pt x="290" y="740"/>
                      <a:pt x="297" y="746"/>
                      <a:pt x="294" y="756"/>
                    </a:cubicBezTo>
                    <a:cubicBezTo>
                      <a:pt x="294" y="757"/>
                      <a:pt x="294" y="757"/>
                      <a:pt x="294" y="758"/>
                    </a:cubicBezTo>
                    <a:cubicBezTo>
                      <a:pt x="295" y="759"/>
                      <a:pt x="297" y="760"/>
                      <a:pt x="298" y="760"/>
                    </a:cubicBezTo>
                    <a:cubicBezTo>
                      <a:pt x="299" y="759"/>
                      <a:pt x="300" y="758"/>
                      <a:pt x="300" y="757"/>
                    </a:cubicBezTo>
                    <a:cubicBezTo>
                      <a:pt x="300" y="757"/>
                      <a:pt x="300" y="756"/>
                      <a:pt x="300" y="756"/>
                    </a:cubicBezTo>
                    <a:cubicBezTo>
                      <a:pt x="301" y="754"/>
                      <a:pt x="302" y="750"/>
                      <a:pt x="303" y="748"/>
                    </a:cubicBezTo>
                    <a:cubicBezTo>
                      <a:pt x="303" y="740"/>
                      <a:pt x="304" y="730"/>
                      <a:pt x="299" y="724"/>
                    </a:cubicBezTo>
                    <a:cubicBezTo>
                      <a:pt x="305" y="729"/>
                      <a:pt x="307" y="735"/>
                      <a:pt x="309" y="741"/>
                    </a:cubicBezTo>
                    <a:cubicBezTo>
                      <a:pt x="310" y="748"/>
                      <a:pt x="310" y="754"/>
                      <a:pt x="311" y="761"/>
                    </a:cubicBezTo>
                    <a:cubicBezTo>
                      <a:pt x="311" y="755"/>
                      <a:pt x="312" y="750"/>
                      <a:pt x="313" y="745"/>
                    </a:cubicBezTo>
                    <a:cubicBezTo>
                      <a:pt x="313" y="741"/>
                      <a:pt x="315" y="736"/>
                      <a:pt x="316" y="730"/>
                    </a:cubicBezTo>
                    <a:cubicBezTo>
                      <a:pt x="319" y="724"/>
                      <a:pt x="320" y="718"/>
                      <a:pt x="321" y="713"/>
                    </a:cubicBezTo>
                    <a:cubicBezTo>
                      <a:pt x="322" y="708"/>
                      <a:pt x="321" y="704"/>
                      <a:pt x="318" y="700"/>
                    </a:cubicBezTo>
                    <a:cubicBezTo>
                      <a:pt x="330" y="700"/>
                      <a:pt x="327" y="720"/>
                      <a:pt x="326" y="728"/>
                    </a:cubicBezTo>
                    <a:cubicBezTo>
                      <a:pt x="325" y="735"/>
                      <a:pt x="324" y="741"/>
                      <a:pt x="324" y="745"/>
                    </a:cubicBezTo>
                    <a:cubicBezTo>
                      <a:pt x="324" y="750"/>
                      <a:pt x="325" y="754"/>
                      <a:pt x="330" y="759"/>
                    </a:cubicBezTo>
                    <a:cubicBezTo>
                      <a:pt x="330" y="758"/>
                      <a:pt x="330" y="756"/>
                      <a:pt x="330" y="754"/>
                    </a:cubicBezTo>
                    <a:cubicBezTo>
                      <a:pt x="329" y="749"/>
                      <a:pt x="330" y="744"/>
                      <a:pt x="330" y="740"/>
                    </a:cubicBezTo>
                    <a:cubicBezTo>
                      <a:pt x="331" y="736"/>
                      <a:pt x="333" y="731"/>
                      <a:pt x="334" y="725"/>
                    </a:cubicBezTo>
                    <a:cubicBezTo>
                      <a:pt x="334" y="730"/>
                      <a:pt x="335" y="738"/>
                      <a:pt x="338" y="744"/>
                    </a:cubicBezTo>
                    <a:cubicBezTo>
                      <a:pt x="340" y="750"/>
                      <a:pt x="344" y="755"/>
                      <a:pt x="349" y="7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4" name="Freeform 71">
                <a:extLst>
                  <a:ext uri="{FF2B5EF4-FFF2-40B4-BE49-F238E27FC236}">
                    <a16:creationId xmlns:a16="http://schemas.microsoft.com/office/drawing/2014/main" id="{4AC9149E-97D6-07CE-70D4-EC5FD689F1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9851" y="3743980"/>
                <a:ext cx="1810" cy="1810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1 w 4"/>
                  <a:gd name="T5" fmla="*/ 2 h 2"/>
                  <a:gd name="T6" fmla="*/ 4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cubicBezTo>
                      <a:pt x="3" y="1"/>
                      <a:pt x="2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3" y="1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15" name="Line 72">
              <a:extLst>
                <a:ext uri="{FF2B5EF4-FFF2-40B4-BE49-F238E27FC236}">
                  <a16:creationId xmlns:a16="http://schemas.microsoft.com/office/drawing/2014/main" id="{234250B4-4ECD-3DC7-2DB7-C0ACCE30B05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228600" y="3438118"/>
              <a:ext cx="2880000" cy="0"/>
            </a:xfrm>
            <a:prstGeom prst="line">
              <a:avLst/>
            </a:prstGeom>
            <a:grp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868BD23-9AC6-2EA4-7E80-AE4071CB8F6A}"/>
                </a:ext>
              </a:extLst>
            </p:cNvPr>
            <p:cNvGrpSpPr/>
            <p:nvPr userDrawn="1"/>
          </p:nvGrpSpPr>
          <p:grpSpPr>
            <a:xfrm>
              <a:off x="230912" y="2150376"/>
              <a:ext cx="2904030" cy="1130935"/>
              <a:chOff x="230912" y="1828800"/>
              <a:chExt cx="2904030" cy="1130935"/>
            </a:xfrm>
            <a:grpFill/>
          </p:grpSpPr>
          <p:sp>
            <p:nvSpPr>
              <p:cNvPr id="117" name="Freeform 5">
                <a:extLst>
                  <a:ext uri="{FF2B5EF4-FFF2-40B4-BE49-F238E27FC236}">
                    <a16:creationId xmlns:a16="http://schemas.microsoft.com/office/drawing/2014/main" id="{710D7C26-FC26-F26E-2791-673B32C20D5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62437" y="2629387"/>
                <a:ext cx="333719" cy="330348"/>
              </a:xfrm>
              <a:custGeom>
                <a:avLst/>
                <a:gdLst>
                  <a:gd name="T0" fmla="*/ 864 w 870"/>
                  <a:gd name="T1" fmla="*/ 406 h 856"/>
                  <a:gd name="T2" fmla="*/ 435 w 870"/>
                  <a:gd name="T3" fmla="*/ 0 h 856"/>
                  <a:gd name="T4" fmla="*/ 0 w 870"/>
                  <a:gd name="T5" fmla="*/ 430 h 856"/>
                  <a:gd name="T6" fmla="*/ 432 w 870"/>
                  <a:gd name="T7" fmla="*/ 856 h 856"/>
                  <a:gd name="T8" fmla="*/ 735 w 870"/>
                  <a:gd name="T9" fmla="*/ 744 h 856"/>
                  <a:gd name="T10" fmla="*/ 864 w 870"/>
                  <a:gd name="T11" fmla="*/ 406 h 856"/>
                  <a:gd name="T12" fmla="*/ 665 w 870"/>
                  <a:gd name="T13" fmla="*/ 684 h 856"/>
                  <a:gd name="T14" fmla="*/ 434 w 870"/>
                  <a:gd name="T15" fmla="*/ 808 h 856"/>
                  <a:gd name="T16" fmla="*/ 148 w 870"/>
                  <a:gd name="T17" fmla="*/ 553 h 856"/>
                  <a:gd name="T18" fmla="*/ 136 w 870"/>
                  <a:gd name="T19" fmla="*/ 422 h 856"/>
                  <a:gd name="T20" fmla="*/ 304 w 870"/>
                  <a:gd name="T21" fmla="*/ 77 h 856"/>
                  <a:gd name="T22" fmla="*/ 431 w 870"/>
                  <a:gd name="T23" fmla="*/ 48 h 856"/>
                  <a:gd name="T24" fmla="*/ 655 w 870"/>
                  <a:gd name="T25" fmla="*/ 159 h 856"/>
                  <a:gd name="T26" fmla="*/ 727 w 870"/>
                  <a:gd name="T27" fmla="*/ 412 h 856"/>
                  <a:gd name="T28" fmla="*/ 665 w 870"/>
                  <a:gd name="T29" fmla="*/ 68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0" h="856">
                    <a:moveTo>
                      <a:pt x="864" y="406"/>
                    </a:moveTo>
                    <a:cubicBezTo>
                      <a:pt x="854" y="204"/>
                      <a:pt x="717" y="0"/>
                      <a:pt x="435" y="0"/>
                    </a:cubicBezTo>
                    <a:cubicBezTo>
                      <a:pt x="175" y="0"/>
                      <a:pt x="0" y="173"/>
                      <a:pt x="0" y="430"/>
                    </a:cubicBezTo>
                    <a:cubicBezTo>
                      <a:pt x="0" y="724"/>
                      <a:pt x="217" y="856"/>
                      <a:pt x="432" y="856"/>
                    </a:cubicBezTo>
                    <a:cubicBezTo>
                      <a:pt x="552" y="856"/>
                      <a:pt x="657" y="817"/>
                      <a:pt x="735" y="744"/>
                    </a:cubicBezTo>
                    <a:cubicBezTo>
                      <a:pt x="825" y="661"/>
                      <a:pt x="870" y="541"/>
                      <a:pt x="864" y="406"/>
                    </a:cubicBezTo>
                    <a:close/>
                    <a:moveTo>
                      <a:pt x="665" y="684"/>
                    </a:moveTo>
                    <a:cubicBezTo>
                      <a:pt x="590" y="796"/>
                      <a:pt x="478" y="808"/>
                      <a:pt x="434" y="808"/>
                    </a:cubicBezTo>
                    <a:cubicBezTo>
                      <a:pt x="395" y="808"/>
                      <a:pt x="199" y="796"/>
                      <a:pt x="148" y="553"/>
                    </a:cubicBezTo>
                    <a:cubicBezTo>
                      <a:pt x="140" y="514"/>
                      <a:pt x="136" y="471"/>
                      <a:pt x="136" y="422"/>
                    </a:cubicBezTo>
                    <a:cubicBezTo>
                      <a:pt x="136" y="249"/>
                      <a:pt x="193" y="133"/>
                      <a:pt x="304" y="77"/>
                    </a:cubicBezTo>
                    <a:cubicBezTo>
                      <a:pt x="341" y="58"/>
                      <a:pt x="386" y="48"/>
                      <a:pt x="431" y="48"/>
                    </a:cubicBezTo>
                    <a:cubicBezTo>
                      <a:pt x="546" y="48"/>
                      <a:pt x="617" y="109"/>
                      <a:pt x="655" y="159"/>
                    </a:cubicBezTo>
                    <a:cubicBezTo>
                      <a:pt x="717" y="243"/>
                      <a:pt x="726" y="344"/>
                      <a:pt x="727" y="412"/>
                    </a:cubicBezTo>
                    <a:cubicBezTo>
                      <a:pt x="729" y="526"/>
                      <a:pt x="708" y="617"/>
                      <a:pt x="665" y="6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6">
                <a:extLst>
                  <a:ext uri="{FF2B5EF4-FFF2-40B4-BE49-F238E27FC236}">
                    <a16:creationId xmlns:a16="http://schemas.microsoft.com/office/drawing/2014/main" id="{538F93D2-D74F-0A2D-003A-0A4A737A3E5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97293" y="2632758"/>
                <a:ext cx="237649" cy="321921"/>
              </a:xfrm>
              <a:custGeom>
                <a:avLst/>
                <a:gdLst>
                  <a:gd name="T0" fmla="*/ 0 w 619"/>
                  <a:gd name="T1" fmla="*/ 839 h 839"/>
                  <a:gd name="T2" fmla="*/ 0 w 619"/>
                  <a:gd name="T3" fmla="*/ 0 h 839"/>
                  <a:gd name="T4" fmla="*/ 239 w 619"/>
                  <a:gd name="T5" fmla="*/ 0 h 839"/>
                  <a:gd name="T6" fmla="*/ 619 w 619"/>
                  <a:gd name="T7" fmla="*/ 230 h 839"/>
                  <a:gd name="T8" fmla="*/ 243 w 619"/>
                  <a:gd name="T9" fmla="*/ 461 h 839"/>
                  <a:gd name="T10" fmla="*/ 122 w 619"/>
                  <a:gd name="T11" fmla="*/ 461 h 839"/>
                  <a:gd name="T12" fmla="*/ 122 w 619"/>
                  <a:gd name="T13" fmla="*/ 839 h 839"/>
                  <a:gd name="T14" fmla="*/ 0 w 619"/>
                  <a:gd name="T15" fmla="*/ 839 h 839"/>
                  <a:gd name="T16" fmla="*/ 227 w 619"/>
                  <a:gd name="T17" fmla="*/ 40 h 839"/>
                  <a:gd name="T18" fmla="*/ 122 w 619"/>
                  <a:gd name="T19" fmla="*/ 49 h 839"/>
                  <a:gd name="T20" fmla="*/ 122 w 619"/>
                  <a:gd name="T21" fmla="*/ 412 h 839"/>
                  <a:gd name="T22" fmla="*/ 218 w 619"/>
                  <a:gd name="T23" fmla="*/ 412 h 839"/>
                  <a:gd name="T24" fmla="*/ 487 w 619"/>
                  <a:gd name="T25" fmla="*/ 231 h 839"/>
                  <a:gd name="T26" fmla="*/ 227 w 619"/>
                  <a:gd name="T27" fmla="*/ 4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9" h="839">
                    <a:moveTo>
                      <a:pt x="0" y="839"/>
                    </a:moveTo>
                    <a:lnTo>
                      <a:pt x="0" y="0"/>
                    </a:lnTo>
                    <a:lnTo>
                      <a:pt x="239" y="0"/>
                    </a:lnTo>
                    <a:cubicBezTo>
                      <a:pt x="494" y="0"/>
                      <a:pt x="619" y="76"/>
                      <a:pt x="619" y="230"/>
                    </a:cubicBezTo>
                    <a:cubicBezTo>
                      <a:pt x="619" y="446"/>
                      <a:pt x="356" y="461"/>
                      <a:pt x="243" y="461"/>
                    </a:cubicBezTo>
                    <a:lnTo>
                      <a:pt x="122" y="461"/>
                    </a:lnTo>
                    <a:lnTo>
                      <a:pt x="122" y="839"/>
                    </a:lnTo>
                    <a:lnTo>
                      <a:pt x="0" y="839"/>
                    </a:lnTo>
                    <a:close/>
                    <a:moveTo>
                      <a:pt x="227" y="40"/>
                    </a:moveTo>
                    <a:cubicBezTo>
                      <a:pt x="165" y="40"/>
                      <a:pt x="122" y="49"/>
                      <a:pt x="122" y="49"/>
                    </a:cubicBezTo>
                    <a:lnTo>
                      <a:pt x="122" y="412"/>
                    </a:lnTo>
                    <a:lnTo>
                      <a:pt x="218" y="412"/>
                    </a:lnTo>
                    <a:cubicBezTo>
                      <a:pt x="397" y="412"/>
                      <a:pt x="487" y="368"/>
                      <a:pt x="487" y="231"/>
                    </a:cubicBezTo>
                    <a:cubicBezTo>
                      <a:pt x="487" y="140"/>
                      <a:pt x="442" y="40"/>
                      <a:pt x="227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7">
                <a:extLst>
                  <a:ext uri="{FF2B5EF4-FFF2-40B4-BE49-F238E27FC236}">
                    <a16:creationId xmlns:a16="http://schemas.microsoft.com/office/drawing/2014/main" id="{A01F8BB3-B00E-2B3B-89D7-262C85C8E1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70316" y="2632758"/>
                <a:ext cx="242705" cy="326977"/>
              </a:xfrm>
              <a:custGeom>
                <a:avLst/>
                <a:gdLst>
                  <a:gd name="T0" fmla="*/ 336 w 631"/>
                  <a:gd name="T1" fmla="*/ 848 h 848"/>
                  <a:gd name="T2" fmla="*/ 29 w 631"/>
                  <a:gd name="T3" fmla="*/ 729 h 848"/>
                  <a:gd name="T4" fmla="*/ 0 w 631"/>
                  <a:gd name="T5" fmla="*/ 593 h 848"/>
                  <a:gd name="T6" fmla="*/ 0 w 631"/>
                  <a:gd name="T7" fmla="*/ 0 h 848"/>
                  <a:gd name="T8" fmla="*/ 122 w 631"/>
                  <a:gd name="T9" fmla="*/ 0 h 848"/>
                  <a:gd name="T10" fmla="*/ 122 w 631"/>
                  <a:gd name="T11" fmla="*/ 588 h 848"/>
                  <a:gd name="T12" fmla="*/ 336 w 631"/>
                  <a:gd name="T13" fmla="*/ 800 h 848"/>
                  <a:gd name="T14" fmla="*/ 545 w 631"/>
                  <a:gd name="T15" fmla="*/ 601 h 848"/>
                  <a:gd name="T16" fmla="*/ 545 w 631"/>
                  <a:gd name="T17" fmla="*/ 0 h 848"/>
                  <a:gd name="T18" fmla="*/ 631 w 631"/>
                  <a:gd name="T19" fmla="*/ 0 h 848"/>
                  <a:gd name="T20" fmla="*/ 631 w 631"/>
                  <a:gd name="T21" fmla="*/ 609 h 848"/>
                  <a:gd name="T22" fmla="*/ 604 w 631"/>
                  <a:gd name="T23" fmla="*/ 726 h 848"/>
                  <a:gd name="T24" fmla="*/ 336 w 631"/>
                  <a:gd name="T25" fmla="*/ 848 h 8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1" h="848">
                    <a:moveTo>
                      <a:pt x="336" y="848"/>
                    </a:moveTo>
                    <a:cubicBezTo>
                      <a:pt x="236" y="848"/>
                      <a:pt x="88" y="835"/>
                      <a:pt x="29" y="729"/>
                    </a:cubicBezTo>
                    <a:cubicBezTo>
                      <a:pt x="11" y="697"/>
                      <a:pt x="0" y="651"/>
                      <a:pt x="0" y="593"/>
                    </a:cubicBezTo>
                    <a:lnTo>
                      <a:pt x="0" y="0"/>
                    </a:lnTo>
                    <a:lnTo>
                      <a:pt x="122" y="0"/>
                    </a:lnTo>
                    <a:lnTo>
                      <a:pt x="122" y="588"/>
                    </a:lnTo>
                    <a:cubicBezTo>
                      <a:pt x="123" y="641"/>
                      <a:pt x="128" y="800"/>
                      <a:pt x="336" y="800"/>
                    </a:cubicBezTo>
                    <a:cubicBezTo>
                      <a:pt x="399" y="800"/>
                      <a:pt x="545" y="780"/>
                      <a:pt x="545" y="601"/>
                    </a:cubicBezTo>
                    <a:lnTo>
                      <a:pt x="545" y="0"/>
                    </a:lnTo>
                    <a:lnTo>
                      <a:pt x="631" y="0"/>
                    </a:lnTo>
                    <a:lnTo>
                      <a:pt x="631" y="609"/>
                    </a:lnTo>
                    <a:cubicBezTo>
                      <a:pt x="629" y="645"/>
                      <a:pt x="628" y="686"/>
                      <a:pt x="604" y="726"/>
                    </a:cubicBezTo>
                    <a:cubicBezTo>
                      <a:pt x="579" y="771"/>
                      <a:pt x="529" y="848"/>
                      <a:pt x="336" y="8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8">
                <a:extLst>
                  <a:ext uri="{FF2B5EF4-FFF2-40B4-BE49-F238E27FC236}">
                    <a16:creationId xmlns:a16="http://schemas.microsoft.com/office/drawing/2014/main" id="{5F1544A6-66A1-10BB-0575-4A8183369B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83200" y="2629387"/>
                <a:ext cx="294954" cy="330348"/>
              </a:xfrm>
              <a:custGeom>
                <a:avLst/>
                <a:gdLst>
                  <a:gd name="T0" fmla="*/ 457 w 767"/>
                  <a:gd name="T1" fmla="*/ 856 h 856"/>
                  <a:gd name="T2" fmla="*/ 0 w 767"/>
                  <a:gd name="T3" fmla="*/ 428 h 856"/>
                  <a:gd name="T4" fmla="*/ 443 w 767"/>
                  <a:gd name="T5" fmla="*/ 0 h 856"/>
                  <a:gd name="T6" fmla="*/ 767 w 767"/>
                  <a:gd name="T7" fmla="*/ 156 h 856"/>
                  <a:gd name="T8" fmla="*/ 717 w 767"/>
                  <a:gd name="T9" fmla="*/ 208 h 856"/>
                  <a:gd name="T10" fmla="*/ 651 w 767"/>
                  <a:gd name="T11" fmla="*/ 163 h 856"/>
                  <a:gd name="T12" fmla="*/ 441 w 767"/>
                  <a:gd name="T13" fmla="*/ 48 h 856"/>
                  <a:gd name="T14" fmla="*/ 142 w 767"/>
                  <a:gd name="T15" fmla="*/ 407 h 856"/>
                  <a:gd name="T16" fmla="*/ 471 w 767"/>
                  <a:gd name="T17" fmla="*/ 808 h 856"/>
                  <a:gd name="T18" fmla="*/ 600 w 767"/>
                  <a:gd name="T19" fmla="*/ 779 h 856"/>
                  <a:gd name="T20" fmla="*/ 650 w 767"/>
                  <a:gd name="T21" fmla="*/ 668 h 856"/>
                  <a:gd name="T22" fmla="*/ 650 w 767"/>
                  <a:gd name="T23" fmla="*/ 469 h 856"/>
                  <a:gd name="T24" fmla="*/ 543 w 767"/>
                  <a:gd name="T25" fmla="*/ 469 h 856"/>
                  <a:gd name="T26" fmla="*/ 585 w 767"/>
                  <a:gd name="T27" fmla="*/ 420 h 856"/>
                  <a:gd name="T28" fmla="*/ 766 w 767"/>
                  <a:gd name="T29" fmla="*/ 420 h 856"/>
                  <a:gd name="T30" fmla="*/ 766 w 767"/>
                  <a:gd name="T31" fmla="*/ 746 h 856"/>
                  <a:gd name="T32" fmla="*/ 721 w 767"/>
                  <a:gd name="T33" fmla="*/ 788 h 856"/>
                  <a:gd name="T34" fmla="*/ 457 w 767"/>
                  <a:gd name="T35" fmla="*/ 856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67" h="856">
                    <a:moveTo>
                      <a:pt x="457" y="856"/>
                    </a:moveTo>
                    <a:cubicBezTo>
                      <a:pt x="33" y="856"/>
                      <a:pt x="0" y="529"/>
                      <a:pt x="0" y="428"/>
                    </a:cubicBezTo>
                    <a:cubicBezTo>
                      <a:pt x="0" y="172"/>
                      <a:pt x="178" y="0"/>
                      <a:pt x="443" y="0"/>
                    </a:cubicBezTo>
                    <a:cubicBezTo>
                      <a:pt x="671" y="0"/>
                      <a:pt x="767" y="112"/>
                      <a:pt x="767" y="156"/>
                    </a:cubicBezTo>
                    <a:cubicBezTo>
                      <a:pt x="767" y="182"/>
                      <a:pt x="741" y="208"/>
                      <a:pt x="717" y="208"/>
                    </a:cubicBezTo>
                    <a:cubicBezTo>
                      <a:pt x="686" y="208"/>
                      <a:pt x="673" y="193"/>
                      <a:pt x="651" y="163"/>
                    </a:cubicBezTo>
                    <a:cubicBezTo>
                      <a:pt x="619" y="120"/>
                      <a:pt x="565" y="48"/>
                      <a:pt x="441" y="48"/>
                    </a:cubicBezTo>
                    <a:cubicBezTo>
                      <a:pt x="259" y="48"/>
                      <a:pt x="142" y="182"/>
                      <a:pt x="142" y="407"/>
                    </a:cubicBezTo>
                    <a:cubicBezTo>
                      <a:pt x="142" y="654"/>
                      <a:pt x="268" y="808"/>
                      <a:pt x="471" y="808"/>
                    </a:cubicBezTo>
                    <a:cubicBezTo>
                      <a:pt x="521" y="808"/>
                      <a:pt x="569" y="797"/>
                      <a:pt x="600" y="779"/>
                    </a:cubicBezTo>
                    <a:cubicBezTo>
                      <a:pt x="650" y="748"/>
                      <a:pt x="650" y="706"/>
                      <a:pt x="650" y="668"/>
                    </a:cubicBezTo>
                    <a:lnTo>
                      <a:pt x="650" y="469"/>
                    </a:lnTo>
                    <a:lnTo>
                      <a:pt x="543" y="469"/>
                    </a:lnTo>
                    <a:lnTo>
                      <a:pt x="585" y="420"/>
                    </a:lnTo>
                    <a:lnTo>
                      <a:pt x="766" y="420"/>
                    </a:lnTo>
                    <a:lnTo>
                      <a:pt x="766" y="746"/>
                    </a:lnTo>
                    <a:cubicBezTo>
                      <a:pt x="756" y="759"/>
                      <a:pt x="741" y="773"/>
                      <a:pt x="721" y="788"/>
                    </a:cubicBezTo>
                    <a:cubicBezTo>
                      <a:pt x="682" y="817"/>
                      <a:pt x="613" y="856"/>
                      <a:pt x="457" y="8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9">
                <a:extLst>
                  <a:ext uri="{FF2B5EF4-FFF2-40B4-BE49-F238E27FC236}">
                    <a16:creationId xmlns:a16="http://schemas.microsoft.com/office/drawing/2014/main" id="{535441DB-04F2-E539-E4A6-E441D25468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70854" y="2632758"/>
                <a:ext cx="247762" cy="321921"/>
              </a:xfrm>
              <a:custGeom>
                <a:avLst/>
                <a:gdLst>
                  <a:gd name="T0" fmla="*/ 646 w 646"/>
                  <a:gd name="T1" fmla="*/ 839 h 839"/>
                  <a:gd name="T2" fmla="*/ 358 w 646"/>
                  <a:gd name="T3" fmla="*/ 451 h 839"/>
                  <a:gd name="T4" fmla="*/ 410 w 646"/>
                  <a:gd name="T5" fmla="*/ 440 h 839"/>
                  <a:gd name="T6" fmla="*/ 601 w 646"/>
                  <a:gd name="T7" fmla="*/ 230 h 839"/>
                  <a:gd name="T8" fmla="*/ 514 w 646"/>
                  <a:gd name="T9" fmla="*/ 58 h 839"/>
                  <a:gd name="T10" fmla="*/ 231 w 646"/>
                  <a:gd name="T11" fmla="*/ 0 h 839"/>
                  <a:gd name="T12" fmla="*/ 0 w 646"/>
                  <a:gd name="T13" fmla="*/ 0 h 839"/>
                  <a:gd name="T14" fmla="*/ 0 w 646"/>
                  <a:gd name="T15" fmla="*/ 839 h 839"/>
                  <a:gd name="T16" fmla="*/ 121 w 646"/>
                  <a:gd name="T17" fmla="*/ 839 h 839"/>
                  <a:gd name="T18" fmla="*/ 121 w 646"/>
                  <a:gd name="T19" fmla="*/ 527 h 839"/>
                  <a:gd name="T20" fmla="*/ 196 w 646"/>
                  <a:gd name="T21" fmla="*/ 461 h 839"/>
                  <a:gd name="T22" fmla="*/ 279 w 646"/>
                  <a:gd name="T23" fmla="*/ 508 h 839"/>
                  <a:gd name="T24" fmla="*/ 513 w 646"/>
                  <a:gd name="T25" fmla="*/ 839 h 839"/>
                  <a:gd name="T26" fmla="*/ 646 w 646"/>
                  <a:gd name="T27" fmla="*/ 839 h 839"/>
                  <a:gd name="T28" fmla="*/ 258 w 646"/>
                  <a:gd name="T29" fmla="*/ 410 h 839"/>
                  <a:gd name="T30" fmla="*/ 210 w 646"/>
                  <a:gd name="T31" fmla="*/ 412 h 839"/>
                  <a:gd name="T32" fmla="*/ 121 w 646"/>
                  <a:gd name="T33" fmla="*/ 412 h 839"/>
                  <a:gd name="T34" fmla="*/ 121 w 646"/>
                  <a:gd name="T35" fmla="*/ 49 h 839"/>
                  <a:gd name="T36" fmla="*/ 224 w 646"/>
                  <a:gd name="T37" fmla="*/ 40 h 839"/>
                  <a:gd name="T38" fmla="*/ 469 w 646"/>
                  <a:gd name="T39" fmla="*/ 234 h 839"/>
                  <a:gd name="T40" fmla="*/ 258 w 646"/>
                  <a:gd name="T41" fmla="*/ 41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6" h="839">
                    <a:moveTo>
                      <a:pt x="646" y="839"/>
                    </a:moveTo>
                    <a:lnTo>
                      <a:pt x="358" y="451"/>
                    </a:lnTo>
                    <a:cubicBezTo>
                      <a:pt x="358" y="451"/>
                      <a:pt x="398" y="443"/>
                      <a:pt x="410" y="440"/>
                    </a:cubicBezTo>
                    <a:cubicBezTo>
                      <a:pt x="458" y="427"/>
                      <a:pt x="601" y="390"/>
                      <a:pt x="601" y="230"/>
                    </a:cubicBezTo>
                    <a:cubicBezTo>
                      <a:pt x="601" y="153"/>
                      <a:pt x="566" y="94"/>
                      <a:pt x="514" y="58"/>
                    </a:cubicBezTo>
                    <a:cubicBezTo>
                      <a:pt x="440" y="8"/>
                      <a:pt x="330" y="0"/>
                      <a:pt x="231" y="0"/>
                    </a:cubicBezTo>
                    <a:lnTo>
                      <a:pt x="0" y="0"/>
                    </a:lnTo>
                    <a:lnTo>
                      <a:pt x="0" y="839"/>
                    </a:lnTo>
                    <a:lnTo>
                      <a:pt x="121" y="839"/>
                    </a:lnTo>
                    <a:lnTo>
                      <a:pt x="121" y="527"/>
                    </a:lnTo>
                    <a:cubicBezTo>
                      <a:pt x="121" y="474"/>
                      <a:pt x="153" y="461"/>
                      <a:pt x="196" y="461"/>
                    </a:cubicBezTo>
                    <a:cubicBezTo>
                      <a:pt x="220" y="461"/>
                      <a:pt x="254" y="469"/>
                      <a:pt x="279" y="508"/>
                    </a:cubicBezTo>
                    <a:lnTo>
                      <a:pt x="513" y="839"/>
                    </a:lnTo>
                    <a:lnTo>
                      <a:pt x="646" y="839"/>
                    </a:lnTo>
                    <a:close/>
                    <a:moveTo>
                      <a:pt x="258" y="410"/>
                    </a:moveTo>
                    <a:cubicBezTo>
                      <a:pt x="242" y="412"/>
                      <a:pt x="229" y="412"/>
                      <a:pt x="210" y="412"/>
                    </a:cubicBezTo>
                    <a:lnTo>
                      <a:pt x="121" y="412"/>
                    </a:lnTo>
                    <a:lnTo>
                      <a:pt x="121" y="49"/>
                    </a:lnTo>
                    <a:cubicBezTo>
                      <a:pt x="121" y="49"/>
                      <a:pt x="163" y="40"/>
                      <a:pt x="224" y="40"/>
                    </a:cubicBezTo>
                    <a:cubicBezTo>
                      <a:pt x="387" y="40"/>
                      <a:pt x="469" y="110"/>
                      <a:pt x="469" y="234"/>
                    </a:cubicBezTo>
                    <a:cubicBezTo>
                      <a:pt x="469" y="359"/>
                      <a:pt x="390" y="397"/>
                      <a:pt x="258" y="4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0">
                <a:extLst>
                  <a:ext uri="{FF2B5EF4-FFF2-40B4-BE49-F238E27FC236}">
                    <a16:creationId xmlns:a16="http://schemas.microsoft.com/office/drawing/2014/main" id="{2E365AA1-706B-61C6-8C29-4C980A28A1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8330" y="1828800"/>
                <a:ext cx="1324763" cy="571367"/>
              </a:xfrm>
              <a:custGeom>
                <a:avLst/>
                <a:gdLst>
                  <a:gd name="T0" fmla="*/ 3369 w 3451"/>
                  <a:gd name="T1" fmla="*/ 1140 h 1483"/>
                  <a:gd name="T2" fmla="*/ 3309 w 3451"/>
                  <a:gd name="T3" fmla="*/ 1133 h 1483"/>
                  <a:gd name="T4" fmla="*/ 3226 w 3451"/>
                  <a:gd name="T5" fmla="*/ 1142 h 1483"/>
                  <a:gd name="T6" fmla="*/ 3249 w 3451"/>
                  <a:gd name="T7" fmla="*/ 1310 h 1483"/>
                  <a:gd name="T8" fmla="*/ 2720 w 3451"/>
                  <a:gd name="T9" fmla="*/ 1296 h 1483"/>
                  <a:gd name="T10" fmla="*/ 1915 w 3451"/>
                  <a:gd name="T11" fmla="*/ 339 h 1483"/>
                  <a:gd name="T12" fmla="*/ 920 w 3451"/>
                  <a:gd name="T13" fmla="*/ 132 h 1483"/>
                  <a:gd name="T14" fmla="*/ 629 w 3451"/>
                  <a:gd name="T15" fmla="*/ 1140 h 1483"/>
                  <a:gd name="T16" fmla="*/ 477 w 3451"/>
                  <a:gd name="T17" fmla="*/ 602 h 1483"/>
                  <a:gd name="T18" fmla="*/ 432 w 3451"/>
                  <a:gd name="T19" fmla="*/ 614 h 1483"/>
                  <a:gd name="T20" fmla="*/ 1 w 3451"/>
                  <a:gd name="T21" fmla="*/ 502 h 1483"/>
                  <a:gd name="T22" fmla="*/ 1 w 3451"/>
                  <a:gd name="T23" fmla="*/ 508 h 1483"/>
                  <a:gd name="T24" fmla="*/ 318 w 3451"/>
                  <a:gd name="T25" fmla="*/ 709 h 1483"/>
                  <a:gd name="T26" fmla="*/ 783 w 3451"/>
                  <a:gd name="T27" fmla="*/ 1225 h 1483"/>
                  <a:gd name="T28" fmla="*/ 721 w 3451"/>
                  <a:gd name="T29" fmla="*/ 716 h 1483"/>
                  <a:gd name="T30" fmla="*/ 1302 w 3451"/>
                  <a:gd name="T31" fmla="*/ 155 h 1483"/>
                  <a:gd name="T32" fmla="*/ 2060 w 3451"/>
                  <a:gd name="T33" fmla="*/ 739 h 1483"/>
                  <a:gd name="T34" fmla="*/ 2831 w 3451"/>
                  <a:gd name="T35" fmla="*/ 1417 h 1483"/>
                  <a:gd name="T36" fmla="*/ 3332 w 3451"/>
                  <a:gd name="T37" fmla="*/ 1403 h 1483"/>
                  <a:gd name="T38" fmla="*/ 3369 w 3451"/>
                  <a:gd name="T39" fmla="*/ 1140 h 1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451" h="1483">
                    <a:moveTo>
                      <a:pt x="3369" y="1140"/>
                    </a:moveTo>
                    <a:cubicBezTo>
                      <a:pt x="3355" y="1137"/>
                      <a:pt x="3325" y="1134"/>
                      <a:pt x="3309" y="1133"/>
                    </a:cubicBezTo>
                    <a:cubicBezTo>
                      <a:pt x="3280" y="1132"/>
                      <a:pt x="3252" y="1136"/>
                      <a:pt x="3226" y="1142"/>
                    </a:cubicBezTo>
                    <a:cubicBezTo>
                      <a:pt x="3279" y="1188"/>
                      <a:pt x="3277" y="1256"/>
                      <a:pt x="3249" y="1310"/>
                    </a:cubicBezTo>
                    <a:cubicBezTo>
                      <a:pt x="3166" y="1476"/>
                      <a:pt x="2841" y="1377"/>
                      <a:pt x="2720" y="1296"/>
                    </a:cubicBezTo>
                    <a:cubicBezTo>
                      <a:pt x="2348" y="1048"/>
                      <a:pt x="2126" y="577"/>
                      <a:pt x="1915" y="339"/>
                    </a:cubicBezTo>
                    <a:cubicBezTo>
                      <a:pt x="1619" y="7"/>
                      <a:pt x="1185" y="0"/>
                      <a:pt x="920" y="132"/>
                    </a:cubicBezTo>
                    <a:cubicBezTo>
                      <a:pt x="590" y="296"/>
                      <a:pt x="509" y="754"/>
                      <a:pt x="629" y="1140"/>
                    </a:cubicBezTo>
                    <a:cubicBezTo>
                      <a:pt x="469" y="1092"/>
                      <a:pt x="401" y="783"/>
                      <a:pt x="477" y="602"/>
                    </a:cubicBezTo>
                    <a:cubicBezTo>
                      <a:pt x="463" y="606"/>
                      <a:pt x="448" y="610"/>
                      <a:pt x="432" y="614"/>
                    </a:cubicBezTo>
                    <a:cubicBezTo>
                      <a:pt x="262" y="653"/>
                      <a:pt x="95" y="605"/>
                      <a:pt x="1" y="502"/>
                    </a:cubicBezTo>
                    <a:cubicBezTo>
                      <a:pt x="0" y="504"/>
                      <a:pt x="0" y="506"/>
                      <a:pt x="1" y="508"/>
                    </a:cubicBezTo>
                    <a:cubicBezTo>
                      <a:pt x="54" y="629"/>
                      <a:pt x="163" y="706"/>
                      <a:pt x="318" y="709"/>
                    </a:cubicBezTo>
                    <a:cubicBezTo>
                      <a:pt x="308" y="1119"/>
                      <a:pt x="539" y="1245"/>
                      <a:pt x="783" y="1225"/>
                    </a:cubicBezTo>
                    <a:cubicBezTo>
                      <a:pt x="716" y="1100"/>
                      <a:pt x="698" y="880"/>
                      <a:pt x="721" y="716"/>
                    </a:cubicBezTo>
                    <a:cubicBezTo>
                      <a:pt x="743" y="563"/>
                      <a:pt x="878" y="167"/>
                      <a:pt x="1302" y="155"/>
                    </a:cubicBezTo>
                    <a:cubicBezTo>
                      <a:pt x="1710" y="143"/>
                      <a:pt x="1863" y="492"/>
                      <a:pt x="2060" y="739"/>
                    </a:cubicBezTo>
                    <a:cubicBezTo>
                      <a:pt x="2230" y="952"/>
                      <a:pt x="2501" y="1307"/>
                      <a:pt x="2831" y="1417"/>
                    </a:cubicBezTo>
                    <a:cubicBezTo>
                      <a:pt x="2984" y="1468"/>
                      <a:pt x="3195" y="1483"/>
                      <a:pt x="3332" y="1403"/>
                    </a:cubicBezTo>
                    <a:cubicBezTo>
                      <a:pt x="3417" y="1354"/>
                      <a:pt x="3451" y="1217"/>
                      <a:pt x="3369" y="11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1">
                <a:extLst>
                  <a:ext uri="{FF2B5EF4-FFF2-40B4-BE49-F238E27FC236}">
                    <a16:creationId xmlns:a16="http://schemas.microsoft.com/office/drawing/2014/main" id="{7AF94B6A-CDD1-EC11-3693-357572F6C6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8688" y="2273758"/>
                <a:ext cx="524175" cy="291583"/>
              </a:xfrm>
              <a:custGeom>
                <a:avLst/>
                <a:gdLst>
                  <a:gd name="T0" fmla="*/ 1257 w 1369"/>
                  <a:gd name="T1" fmla="*/ 706 h 756"/>
                  <a:gd name="T2" fmla="*/ 1001 w 1369"/>
                  <a:gd name="T3" fmla="*/ 535 h 756"/>
                  <a:gd name="T4" fmla="*/ 912 w 1369"/>
                  <a:gd name="T5" fmla="*/ 292 h 756"/>
                  <a:gd name="T6" fmla="*/ 915 w 1369"/>
                  <a:gd name="T7" fmla="*/ 255 h 756"/>
                  <a:gd name="T8" fmla="*/ 848 w 1369"/>
                  <a:gd name="T9" fmla="*/ 248 h 756"/>
                  <a:gd name="T10" fmla="*/ 764 w 1369"/>
                  <a:gd name="T11" fmla="*/ 257 h 756"/>
                  <a:gd name="T12" fmla="*/ 420 w 1369"/>
                  <a:gd name="T13" fmla="*/ 354 h 756"/>
                  <a:gd name="T14" fmla="*/ 134 w 1369"/>
                  <a:gd name="T15" fmla="*/ 21 h 756"/>
                  <a:gd name="T16" fmla="*/ 115 w 1369"/>
                  <a:gd name="T17" fmla="*/ 0 h 756"/>
                  <a:gd name="T18" fmla="*/ 0 w 1369"/>
                  <a:gd name="T19" fmla="*/ 38 h 756"/>
                  <a:gd name="T20" fmla="*/ 84 w 1369"/>
                  <a:gd name="T21" fmla="*/ 169 h 756"/>
                  <a:gd name="T22" fmla="*/ 380 w 1369"/>
                  <a:gd name="T23" fmla="*/ 391 h 756"/>
                  <a:gd name="T24" fmla="*/ 768 w 1369"/>
                  <a:gd name="T25" fmla="*/ 359 h 756"/>
                  <a:gd name="T26" fmla="*/ 876 w 1369"/>
                  <a:gd name="T27" fmla="*/ 567 h 756"/>
                  <a:gd name="T28" fmla="*/ 1158 w 1369"/>
                  <a:gd name="T29" fmla="*/ 732 h 756"/>
                  <a:gd name="T30" fmla="*/ 1369 w 1369"/>
                  <a:gd name="T31" fmla="*/ 735 h 756"/>
                  <a:gd name="T32" fmla="*/ 1257 w 1369"/>
                  <a:gd name="T33" fmla="*/ 706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69" h="756">
                    <a:moveTo>
                      <a:pt x="1257" y="706"/>
                    </a:moveTo>
                    <a:cubicBezTo>
                      <a:pt x="1149" y="670"/>
                      <a:pt x="1061" y="610"/>
                      <a:pt x="1001" y="535"/>
                    </a:cubicBezTo>
                    <a:cubicBezTo>
                      <a:pt x="944" y="465"/>
                      <a:pt x="911" y="375"/>
                      <a:pt x="912" y="292"/>
                    </a:cubicBezTo>
                    <a:cubicBezTo>
                      <a:pt x="912" y="279"/>
                      <a:pt x="915" y="255"/>
                      <a:pt x="915" y="255"/>
                    </a:cubicBezTo>
                    <a:cubicBezTo>
                      <a:pt x="915" y="255"/>
                      <a:pt x="883" y="248"/>
                      <a:pt x="848" y="248"/>
                    </a:cubicBezTo>
                    <a:cubicBezTo>
                      <a:pt x="791" y="248"/>
                      <a:pt x="764" y="257"/>
                      <a:pt x="764" y="257"/>
                    </a:cubicBezTo>
                    <a:cubicBezTo>
                      <a:pt x="764" y="257"/>
                      <a:pt x="631" y="406"/>
                      <a:pt x="420" y="354"/>
                    </a:cubicBezTo>
                    <a:cubicBezTo>
                      <a:pt x="219" y="304"/>
                      <a:pt x="225" y="126"/>
                      <a:pt x="134" y="21"/>
                    </a:cubicBezTo>
                    <a:cubicBezTo>
                      <a:pt x="128" y="13"/>
                      <a:pt x="122" y="7"/>
                      <a:pt x="115" y="0"/>
                    </a:cubicBezTo>
                    <a:lnTo>
                      <a:pt x="0" y="38"/>
                    </a:lnTo>
                    <a:cubicBezTo>
                      <a:pt x="28" y="69"/>
                      <a:pt x="57" y="111"/>
                      <a:pt x="84" y="169"/>
                    </a:cubicBezTo>
                    <a:cubicBezTo>
                      <a:pt x="123" y="256"/>
                      <a:pt x="214" y="355"/>
                      <a:pt x="380" y="391"/>
                    </a:cubicBezTo>
                    <a:cubicBezTo>
                      <a:pt x="503" y="418"/>
                      <a:pt x="639" y="411"/>
                      <a:pt x="768" y="359"/>
                    </a:cubicBezTo>
                    <a:cubicBezTo>
                      <a:pt x="782" y="433"/>
                      <a:pt x="820" y="506"/>
                      <a:pt x="876" y="567"/>
                    </a:cubicBezTo>
                    <a:cubicBezTo>
                      <a:pt x="942" y="639"/>
                      <a:pt x="1048" y="699"/>
                      <a:pt x="1158" y="732"/>
                    </a:cubicBezTo>
                    <a:cubicBezTo>
                      <a:pt x="1239" y="756"/>
                      <a:pt x="1330" y="754"/>
                      <a:pt x="1369" y="735"/>
                    </a:cubicBezTo>
                    <a:cubicBezTo>
                      <a:pt x="1331" y="728"/>
                      <a:pt x="1293" y="718"/>
                      <a:pt x="1257" y="7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2">
                <a:extLst>
                  <a:ext uri="{FF2B5EF4-FFF2-40B4-BE49-F238E27FC236}">
                    <a16:creationId xmlns:a16="http://schemas.microsoft.com/office/drawing/2014/main" id="{D1504049-4F71-2FB5-F9A5-E7CB3BB2AF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678" y="2074875"/>
                <a:ext cx="372485" cy="353944"/>
              </a:xfrm>
              <a:custGeom>
                <a:avLst/>
                <a:gdLst>
                  <a:gd name="T0" fmla="*/ 714 w 973"/>
                  <a:gd name="T1" fmla="*/ 43 h 919"/>
                  <a:gd name="T2" fmla="*/ 246 w 973"/>
                  <a:gd name="T3" fmla="*/ 151 h 919"/>
                  <a:gd name="T4" fmla="*/ 208 w 973"/>
                  <a:gd name="T5" fmla="*/ 877 h 919"/>
                  <a:gd name="T6" fmla="*/ 240 w 973"/>
                  <a:gd name="T7" fmla="*/ 912 h 919"/>
                  <a:gd name="T8" fmla="*/ 314 w 973"/>
                  <a:gd name="T9" fmla="*/ 912 h 919"/>
                  <a:gd name="T10" fmla="*/ 396 w 973"/>
                  <a:gd name="T11" fmla="*/ 879 h 919"/>
                  <a:gd name="T12" fmla="*/ 209 w 973"/>
                  <a:gd name="T13" fmla="*/ 575 h 919"/>
                  <a:gd name="T14" fmla="*/ 688 w 973"/>
                  <a:gd name="T15" fmla="*/ 98 h 919"/>
                  <a:gd name="T16" fmla="*/ 772 w 973"/>
                  <a:gd name="T17" fmla="*/ 320 h 919"/>
                  <a:gd name="T18" fmla="*/ 578 w 973"/>
                  <a:gd name="T19" fmla="*/ 371 h 919"/>
                  <a:gd name="T20" fmla="*/ 683 w 973"/>
                  <a:gd name="T21" fmla="*/ 473 h 919"/>
                  <a:gd name="T22" fmla="*/ 898 w 973"/>
                  <a:gd name="T23" fmla="*/ 348 h 919"/>
                  <a:gd name="T24" fmla="*/ 714 w 973"/>
                  <a:gd name="T25" fmla="*/ 43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73" h="919">
                    <a:moveTo>
                      <a:pt x="714" y="43"/>
                    </a:moveTo>
                    <a:cubicBezTo>
                      <a:pt x="514" y="0"/>
                      <a:pt x="346" y="70"/>
                      <a:pt x="246" y="151"/>
                    </a:cubicBezTo>
                    <a:cubicBezTo>
                      <a:pt x="0" y="348"/>
                      <a:pt x="25" y="659"/>
                      <a:pt x="208" y="877"/>
                    </a:cubicBezTo>
                    <a:cubicBezTo>
                      <a:pt x="218" y="889"/>
                      <a:pt x="240" y="912"/>
                      <a:pt x="240" y="912"/>
                    </a:cubicBezTo>
                    <a:cubicBezTo>
                      <a:pt x="240" y="912"/>
                      <a:pt x="266" y="919"/>
                      <a:pt x="314" y="912"/>
                    </a:cubicBezTo>
                    <a:cubicBezTo>
                      <a:pt x="348" y="907"/>
                      <a:pt x="396" y="879"/>
                      <a:pt x="396" y="879"/>
                    </a:cubicBezTo>
                    <a:cubicBezTo>
                      <a:pt x="396" y="879"/>
                      <a:pt x="245" y="761"/>
                      <a:pt x="209" y="575"/>
                    </a:cubicBezTo>
                    <a:cubicBezTo>
                      <a:pt x="145" y="243"/>
                      <a:pt x="437" y="52"/>
                      <a:pt x="688" y="98"/>
                    </a:cubicBezTo>
                    <a:cubicBezTo>
                      <a:pt x="831" y="124"/>
                      <a:pt x="842" y="257"/>
                      <a:pt x="772" y="320"/>
                    </a:cubicBezTo>
                    <a:cubicBezTo>
                      <a:pt x="708" y="377"/>
                      <a:pt x="622" y="376"/>
                      <a:pt x="578" y="371"/>
                    </a:cubicBezTo>
                    <a:cubicBezTo>
                      <a:pt x="616" y="392"/>
                      <a:pt x="653" y="427"/>
                      <a:pt x="683" y="473"/>
                    </a:cubicBezTo>
                    <a:cubicBezTo>
                      <a:pt x="683" y="473"/>
                      <a:pt x="819" y="458"/>
                      <a:pt x="898" y="348"/>
                    </a:cubicBezTo>
                    <a:cubicBezTo>
                      <a:pt x="973" y="245"/>
                      <a:pt x="913" y="86"/>
                      <a:pt x="71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0CAF858-3CA7-9454-1A14-9DC8C3C554F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89912" y="2632758"/>
                <a:ext cx="64047" cy="3219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4">
                <a:extLst>
                  <a:ext uri="{FF2B5EF4-FFF2-40B4-BE49-F238E27FC236}">
                    <a16:creationId xmlns:a16="http://schemas.microsoft.com/office/drawing/2014/main" id="{9633F193-F5B4-706B-C659-386F513E4D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4313" y="2632758"/>
                <a:ext cx="215738" cy="321921"/>
              </a:xfrm>
              <a:custGeom>
                <a:avLst/>
                <a:gdLst>
                  <a:gd name="T0" fmla="*/ 0 w 562"/>
                  <a:gd name="T1" fmla="*/ 839 h 839"/>
                  <a:gd name="T2" fmla="*/ 0 w 562"/>
                  <a:gd name="T3" fmla="*/ 0 h 839"/>
                  <a:gd name="T4" fmla="*/ 164 w 562"/>
                  <a:gd name="T5" fmla="*/ 0 h 839"/>
                  <a:gd name="T6" fmla="*/ 164 w 562"/>
                  <a:gd name="T7" fmla="*/ 756 h 839"/>
                  <a:gd name="T8" fmla="*/ 485 w 562"/>
                  <a:gd name="T9" fmla="*/ 756 h 839"/>
                  <a:gd name="T10" fmla="*/ 562 w 562"/>
                  <a:gd name="T11" fmla="*/ 839 h 839"/>
                  <a:gd name="T12" fmla="*/ 0 w 562"/>
                  <a:gd name="T13" fmla="*/ 839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2" h="839">
                    <a:moveTo>
                      <a:pt x="0" y="839"/>
                    </a:moveTo>
                    <a:lnTo>
                      <a:pt x="0" y="0"/>
                    </a:lnTo>
                    <a:lnTo>
                      <a:pt x="164" y="0"/>
                    </a:lnTo>
                    <a:lnTo>
                      <a:pt x="164" y="756"/>
                    </a:lnTo>
                    <a:lnTo>
                      <a:pt x="485" y="756"/>
                    </a:lnTo>
                    <a:lnTo>
                      <a:pt x="562" y="839"/>
                    </a:lnTo>
                    <a:lnTo>
                      <a:pt x="0" y="8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5">
                <a:extLst>
                  <a:ext uri="{FF2B5EF4-FFF2-40B4-BE49-F238E27FC236}">
                    <a16:creationId xmlns:a16="http://schemas.microsoft.com/office/drawing/2014/main" id="{FE808231-49D5-D802-D675-C6746713E4F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30912" y="2629387"/>
                <a:ext cx="267987" cy="330348"/>
              </a:xfrm>
              <a:custGeom>
                <a:avLst/>
                <a:gdLst>
                  <a:gd name="T0" fmla="*/ 0 w 698"/>
                  <a:gd name="T1" fmla="*/ 856 h 856"/>
                  <a:gd name="T2" fmla="*/ 0 w 698"/>
                  <a:gd name="T3" fmla="*/ 0 h 856"/>
                  <a:gd name="T4" fmla="*/ 250 w 698"/>
                  <a:gd name="T5" fmla="*/ 0 h 856"/>
                  <a:gd name="T6" fmla="*/ 537 w 698"/>
                  <a:gd name="T7" fmla="*/ 45 h 856"/>
                  <a:gd name="T8" fmla="*/ 641 w 698"/>
                  <a:gd name="T9" fmla="*/ 197 h 856"/>
                  <a:gd name="T10" fmla="*/ 488 w 698"/>
                  <a:gd name="T11" fmla="*/ 379 h 856"/>
                  <a:gd name="T12" fmla="*/ 443 w 698"/>
                  <a:gd name="T13" fmla="*/ 394 h 856"/>
                  <a:gd name="T14" fmla="*/ 501 w 698"/>
                  <a:gd name="T15" fmla="*/ 414 h 856"/>
                  <a:gd name="T16" fmla="*/ 698 w 698"/>
                  <a:gd name="T17" fmla="*/ 630 h 856"/>
                  <a:gd name="T18" fmla="*/ 541 w 698"/>
                  <a:gd name="T19" fmla="*/ 822 h 856"/>
                  <a:gd name="T20" fmla="*/ 250 w 698"/>
                  <a:gd name="T21" fmla="*/ 856 h 856"/>
                  <a:gd name="T22" fmla="*/ 0 w 698"/>
                  <a:gd name="T23" fmla="*/ 856 h 856"/>
                  <a:gd name="T24" fmla="*/ 161 w 698"/>
                  <a:gd name="T25" fmla="*/ 712 h 856"/>
                  <a:gd name="T26" fmla="*/ 177 w 698"/>
                  <a:gd name="T27" fmla="*/ 763 h 856"/>
                  <a:gd name="T28" fmla="*/ 277 w 698"/>
                  <a:gd name="T29" fmla="*/ 785 h 856"/>
                  <a:gd name="T30" fmla="*/ 528 w 698"/>
                  <a:gd name="T31" fmla="*/ 619 h 856"/>
                  <a:gd name="T32" fmla="*/ 267 w 698"/>
                  <a:gd name="T33" fmla="*/ 435 h 856"/>
                  <a:gd name="T34" fmla="*/ 251 w 698"/>
                  <a:gd name="T35" fmla="*/ 435 h 856"/>
                  <a:gd name="T36" fmla="*/ 161 w 698"/>
                  <a:gd name="T37" fmla="*/ 435 h 856"/>
                  <a:gd name="T38" fmla="*/ 161 w 698"/>
                  <a:gd name="T39" fmla="*/ 712 h 856"/>
                  <a:gd name="T40" fmla="*/ 296 w 698"/>
                  <a:gd name="T41" fmla="*/ 374 h 856"/>
                  <a:gd name="T42" fmla="*/ 479 w 698"/>
                  <a:gd name="T43" fmla="*/ 222 h 856"/>
                  <a:gd name="T44" fmla="*/ 260 w 698"/>
                  <a:gd name="T45" fmla="*/ 65 h 856"/>
                  <a:gd name="T46" fmla="*/ 177 w 698"/>
                  <a:gd name="T47" fmla="*/ 70 h 856"/>
                  <a:gd name="T48" fmla="*/ 161 w 698"/>
                  <a:gd name="T49" fmla="*/ 72 h 856"/>
                  <a:gd name="T50" fmla="*/ 161 w 698"/>
                  <a:gd name="T51" fmla="*/ 374 h 856"/>
                  <a:gd name="T52" fmla="*/ 296 w 698"/>
                  <a:gd name="T53" fmla="*/ 37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8" h="856">
                    <a:moveTo>
                      <a:pt x="0" y="856"/>
                    </a:moveTo>
                    <a:lnTo>
                      <a:pt x="0" y="0"/>
                    </a:lnTo>
                    <a:lnTo>
                      <a:pt x="250" y="0"/>
                    </a:lnTo>
                    <a:cubicBezTo>
                      <a:pt x="342" y="0"/>
                      <a:pt x="457" y="5"/>
                      <a:pt x="537" y="45"/>
                    </a:cubicBezTo>
                    <a:cubicBezTo>
                      <a:pt x="605" y="80"/>
                      <a:pt x="641" y="132"/>
                      <a:pt x="641" y="197"/>
                    </a:cubicBezTo>
                    <a:cubicBezTo>
                      <a:pt x="641" y="289"/>
                      <a:pt x="562" y="352"/>
                      <a:pt x="488" y="379"/>
                    </a:cubicBezTo>
                    <a:cubicBezTo>
                      <a:pt x="468" y="386"/>
                      <a:pt x="454" y="391"/>
                      <a:pt x="443" y="394"/>
                    </a:cubicBezTo>
                    <a:cubicBezTo>
                      <a:pt x="459" y="399"/>
                      <a:pt x="481" y="406"/>
                      <a:pt x="501" y="414"/>
                    </a:cubicBezTo>
                    <a:cubicBezTo>
                      <a:pt x="673" y="480"/>
                      <a:pt x="698" y="578"/>
                      <a:pt x="698" y="630"/>
                    </a:cubicBezTo>
                    <a:cubicBezTo>
                      <a:pt x="698" y="740"/>
                      <a:pt x="612" y="795"/>
                      <a:pt x="541" y="822"/>
                    </a:cubicBezTo>
                    <a:cubicBezTo>
                      <a:pt x="471" y="845"/>
                      <a:pt x="381" y="856"/>
                      <a:pt x="250" y="856"/>
                    </a:cubicBezTo>
                    <a:lnTo>
                      <a:pt x="0" y="856"/>
                    </a:lnTo>
                    <a:close/>
                    <a:moveTo>
                      <a:pt x="161" y="712"/>
                    </a:moveTo>
                    <a:cubicBezTo>
                      <a:pt x="161" y="728"/>
                      <a:pt x="160" y="748"/>
                      <a:pt x="177" y="763"/>
                    </a:cubicBezTo>
                    <a:cubicBezTo>
                      <a:pt x="194" y="779"/>
                      <a:pt x="225" y="785"/>
                      <a:pt x="277" y="785"/>
                    </a:cubicBezTo>
                    <a:cubicBezTo>
                      <a:pt x="439" y="785"/>
                      <a:pt x="528" y="726"/>
                      <a:pt x="528" y="619"/>
                    </a:cubicBezTo>
                    <a:cubicBezTo>
                      <a:pt x="528" y="505"/>
                      <a:pt x="440" y="443"/>
                      <a:pt x="267" y="435"/>
                    </a:cubicBezTo>
                    <a:cubicBezTo>
                      <a:pt x="266" y="435"/>
                      <a:pt x="252" y="435"/>
                      <a:pt x="251" y="435"/>
                    </a:cubicBezTo>
                    <a:lnTo>
                      <a:pt x="161" y="435"/>
                    </a:lnTo>
                    <a:lnTo>
                      <a:pt x="161" y="712"/>
                    </a:lnTo>
                    <a:close/>
                    <a:moveTo>
                      <a:pt x="296" y="374"/>
                    </a:moveTo>
                    <a:cubicBezTo>
                      <a:pt x="425" y="374"/>
                      <a:pt x="479" y="265"/>
                      <a:pt x="479" y="222"/>
                    </a:cubicBezTo>
                    <a:cubicBezTo>
                      <a:pt x="479" y="122"/>
                      <a:pt x="399" y="65"/>
                      <a:pt x="260" y="65"/>
                    </a:cubicBezTo>
                    <a:cubicBezTo>
                      <a:pt x="228" y="65"/>
                      <a:pt x="209" y="67"/>
                      <a:pt x="177" y="70"/>
                    </a:cubicBezTo>
                    <a:lnTo>
                      <a:pt x="161" y="72"/>
                    </a:lnTo>
                    <a:lnTo>
                      <a:pt x="161" y="374"/>
                    </a:lnTo>
                    <a:lnTo>
                      <a:pt x="296" y="3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6">
                <a:extLst>
                  <a:ext uri="{FF2B5EF4-FFF2-40B4-BE49-F238E27FC236}">
                    <a16:creationId xmlns:a16="http://schemas.microsoft.com/office/drawing/2014/main" id="{122A07AC-2CFD-E538-2F27-207CBAAC35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5086" y="2632758"/>
                <a:ext cx="276414" cy="321921"/>
              </a:xfrm>
              <a:custGeom>
                <a:avLst/>
                <a:gdLst>
                  <a:gd name="T0" fmla="*/ 558 w 723"/>
                  <a:gd name="T1" fmla="*/ 0 h 839"/>
                  <a:gd name="T2" fmla="*/ 558 w 723"/>
                  <a:gd name="T3" fmla="*/ 364 h 839"/>
                  <a:gd name="T4" fmla="*/ 165 w 723"/>
                  <a:gd name="T5" fmla="*/ 364 h 839"/>
                  <a:gd name="T6" fmla="*/ 165 w 723"/>
                  <a:gd name="T7" fmla="*/ 0 h 839"/>
                  <a:gd name="T8" fmla="*/ 0 w 723"/>
                  <a:gd name="T9" fmla="*/ 0 h 839"/>
                  <a:gd name="T10" fmla="*/ 0 w 723"/>
                  <a:gd name="T11" fmla="*/ 839 h 839"/>
                  <a:gd name="T12" fmla="*/ 165 w 723"/>
                  <a:gd name="T13" fmla="*/ 839 h 839"/>
                  <a:gd name="T14" fmla="*/ 165 w 723"/>
                  <a:gd name="T15" fmla="*/ 480 h 839"/>
                  <a:gd name="T16" fmla="*/ 212 w 723"/>
                  <a:gd name="T17" fmla="*/ 442 h 839"/>
                  <a:gd name="T18" fmla="*/ 512 w 723"/>
                  <a:gd name="T19" fmla="*/ 442 h 839"/>
                  <a:gd name="T20" fmla="*/ 558 w 723"/>
                  <a:gd name="T21" fmla="*/ 480 h 839"/>
                  <a:gd name="T22" fmla="*/ 558 w 723"/>
                  <a:gd name="T23" fmla="*/ 839 h 839"/>
                  <a:gd name="T24" fmla="*/ 723 w 723"/>
                  <a:gd name="T25" fmla="*/ 839 h 839"/>
                  <a:gd name="T26" fmla="*/ 723 w 723"/>
                  <a:gd name="T27" fmla="*/ 0 h 839"/>
                  <a:gd name="T28" fmla="*/ 558 w 723"/>
                  <a:gd name="T29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23" h="839">
                    <a:moveTo>
                      <a:pt x="558" y="0"/>
                    </a:moveTo>
                    <a:lnTo>
                      <a:pt x="558" y="364"/>
                    </a:lnTo>
                    <a:lnTo>
                      <a:pt x="165" y="364"/>
                    </a:lnTo>
                    <a:lnTo>
                      <a:pt x="165" y="0"/>
                    </a:lnTo>
                    <a:lnTo>
                      <a:pt x="0" y="0"/>
                    </a:lnTo>
                    <a:lnTo>
                      <a:pt x="0" y="839"/>
                    </a:lnTo>
                    <a:lnTo>
                      <a:pt x="165" y="839"/>
                    </a:lnTo>
                    <a:lnTo>
                      <a:pt x="165" y="480"/>
                    </a:lnTo>
                    <a:cubicBezTo>
                      <a:pt x="165" y="454"/>
                      <a:pt x="189" y="442"/>
                      <a:pt x="212" y="442"/>
                    </a:cubicBezTo>
                    <a:lnTo>
                      <a:pt x="512" y="442"/>
                    </a:lnTo>
                    <a:cubicBezTo>
                      <a:pt x="535" y="442"/>
                      <a:pt x="558" y="454"/>
                      <a:pt x="558" y="480"/>
                    </a:cubicBezTo>
                    <a:lnTo>
                      <a:pt x="558" y="839"/>
                    </a:lnTo>
                    <a:lnTo>
                      <a:pt x="723" y="839"/>
                    </a:lnTo>
                    <a:lnTo>
                      <a:pt x="723" y="0"/>
                    </a:lnTo>
                    <a:lnTo>
                      <a:pt x="55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36713D2-8B47-DA2C-5C86-47AF44ED0C74}"/>
              </a:ext>
            </a:extLst>
          </p:cNvPr>
          <p:cNvGrpSpPr/>
          <p:nvPr userDrawn="1"/>
        </p:nvGrpSpPr>
        <p:grpSpPr>
          <a:xfrm>
            <a:off x="7584141" y="0"/>
            <a:ext cx="4608607" cy="6848888"/>
            <a:chOff x="7584141" y="0"/>
            <a:chExt cx="4608607" cy="6848888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53BBC0D-4CBA-4449-AC9F-F197098A7787}"/>
                </a:ext>
              </a:extLst>
            </p:cNvPr>
            <p:cNvSpPr/>
            <p:nvPr userDrawn="1"/>
          </p:nvSpPr>
          <p:spPr>
            <a:xfrm>
              <a:off x="9654853" y="2584007"/>
              <a:ext cx="2537895" cy="4264881"/>
            </a:xfrm>
            <a:custGeom>
              <a:avLst/>
              <a:gdLst>
                <a:gd name="connsiteX0" fmla="*/ 1385455 w 2476185"/>
                <a:gd name="connsiteY0" fmla="*/ 0 h 4161179"/>
                <a:gd name="connsiteX1" fmla="*/ 2476185 w 2476185"/>
                <a:gd name="connsiteY1" fmla="*/ 595841 h 4161179"/>
                <a:gd name="connsiteX2" fmla="*/ 2476185 w 2476185"/>
                <a:gd name="connsiteY2" fmla="*/ 1444835 h 4161179"/>
                <a:gd name="connsiteX3" fmla="*/ 1924321 w 2476185"/>
                <a:gd name="connsiteY3" fmla="*/ 1992573 h 4161179"/>
                <a:gd name="connsiteX4" fmla="*/ 2419629 w 2476185"/>
                <a:gd name="connsiteY4" fmla="*/ 2337016 h 4161179"/>
                <a:gd name="connsiteX5" fmla="*/ 2476185 w 2476185"/>
                <a:gd name="connsiteY5" fmla="*/ 2400568 h 4161179"/>
                <a:gd name="connsiteX6" fmla="*/ 2476185 w 2476185"/>
                <a:gd name="connsiteY6" fmla="*/ 4156841 h 4161179"/>
                <a:gd name="connsiteX7" fmla="*/ 2471905 w 2476185"/>
                <a:gd name="connsiteY7" fmla="*/ 4161179 h 4161179"/>
                <a:gd name="connsiteX8" fmla="*/ 187586 w 2476185"/>
                <a:gd name="connsiteY8" fmla="*/ 4161179 h 4161179"/>
                <a:gd name="connsiteX9" fmla="*/ 129842 w 2476185"/>
                <a:gd name="connsiteY9" fmla="*/ 4087145 h 4161179"/>
                <a:gd name="connsiteX10" fmla="*/ 0 w 2476185"/>
                <a:gd name="connsiteY10" fmla="*/ 3709171 h 4161179"/>
                <a:gd name="connsiteX11" fmla="*/ 344959 w 2476185"/>
                <a:gd name="connsiteY11" fmla="*/ 3339447 h 4161179"/>
                <a:gd name="connsiteX12" fmla="*/ 683243 w 2476185"/>
                <a:gd name="connsiteY12" fmla="*/ 3577503 h 4161179"/>
                <a:gd name="connsiteX13" fmla="*/ 1385455 w 2476185"/>
                <a:gd name="connsiteY13" fmla="*/ 4110143 h 4161179"/>
                <a:gd name="connsiteX14" fmla="*/ 2018465 w 2476185"/>
                <a:gd name="connsiteY14" fmla="*/ 3427226 h 4161179"/>
                <a:gd name="connsiteX15" fmla="*/ 1015556 w 2476185"/>
                <a:gd name="connsiteY15" fmla="*/ 2431115 h 4161179"/>
                <a:gd name="connsiteX16" fmla="*/ 814974 w 2476185"/>
                <a:gd name="connsiteY16" fmla="*/ 2242918 h 4161179"/>
                <a:gd name="connsiteX17" fmla="*/ 996586 w 2476185"/>
                <a:gd name="connsiteY17" fmla="*/ 2048752 h 4161179"/>
                <a:gd name="connsiteX18" fmla="*/ 1805237 w 2476185"/>
                <a:gd name="connsiteY18" fmla="*/ 1209238 h 4161179"/>
                <a:gd name="connsiteX19" fmla="*/ 1216137 w 2476185"/>
                <a:gd name="connsiteY19" fmla="*/ 607779 h 4161179"/>
                <a:gd name="connsiteX20" fmla="*/ 589100 w 2476185"/>
                <a:gd name="connsiteY20" fmla="*/ 1077570 h 4161179"/>
                <a:gd name="connsiteX21" fmla="*/ 338636 w 2476185"/>
                <a:gd name="connsiteY21" fmla="*/ 1321945 h 4161179"/>
                <a:gd name="connsiteX22" fmla="*/ 119085 w 2476185"/>
                <a:gd name="connsiteY22" fmla="*/ 1046321 h 4161179"/>
                <a:gd name="connsiteX23" fmla="*/ 1385455 w 2476185"/>
                <a:gd name="connsiteY23" fmla="*/ 0 h 416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76185" h="4161179">
                  <a:moveTo>
                    <a:pt x="1385455" y="0"/>
                  </a:moveTo>
                  <a:cubicBezTo>
                    <a:pt x="1911324" y="0"/>
                    <a:pt x="2305111" y="237704"/>
                    <a:pt x="2476185" y="595841"/>
                  </a:cubicBezTo>
                  <a:lnTo>
                    <a:pt x="2476185" y="1444835"/>
                  </a:lnTo>
                  <a:cubicBezTo>
                    <a:pt x="2333213" y="1742229"/>
                    <a:pt x="2063078" y="1907253"/>
                    <a:pt x="1924321" y="1992573"/>
                  </a:cubicBezTo>
                  <a:cubicBezTo>
                    <a:pt x="2043406" y="2048752"/>
                    <a:pt x="2225370" y="2136530"/>
                    <a:pt x="2419629" y="2337016"/>
                  </a:cubicBezTo>
                  <a:cubicBezTo>
                    <a:pt x="2439300" y="2358083"/>
                    <a:pt x="2458270" y="2379150"/>
                    <a:pt x="2476185" y="2400568"/>
                  </a:cubicBezTo>
                  <a:lnTo>
                    <a:pt x="2476185" y="4156841"/>
                  </a:lnTo>
                  <a:lnTo>
                    <a:pt x="2471905" y="4161179"/>
                  </a:lnTo>
                  <a:lnTo>
                    <a:pt x="187586" y="4161179"/>
                  </a:lnTo>
                  <a:lnTo>
                    <a:pt x="129842" y="4087145"/>
                  </a:lnTo>
                  <a:cubicBezTo>
                    <a:pt x="45315" y="3964079"/>
                    <a:pt x="0" y="3833114"/>
                    <a:pt x="0" y="3709171"/>
                  </a:cubicBezTo>
                  <a:cubicBezTo>
                    <a:pt x="0" y="3489724"/>
                    <a:pt x="169318" y="3339447"/>
                    <a:pt x="344959" y="3339447"/>
                  </a:cubicBezTo>
                  <a:cubicBezTo>
                    <a:pt x="539218" y="3339447"/>
                    <a:pt x="626687" y="3477435"/>
                    <a:pt x="683243" y="3577503"/>
                  </a:cubicBezTo>
                  <a:cubicBezTo>
                    <a:pt x="833592" y="3828198"/>
                    <a:pt x="990263" y="4110143"/>
                    <a:pt x="1385455" y="4110143"/>
                  </a:cubicBezTo>
                  <a:cubicBezTo>
                    <a:pt x="1780296" y="4110143"/>
                    <a:pt x="2018465" y="3796949"/>
                    <a:pt x="2018465" y="3427226"/>
                  </a:cubicBezTo>
                  <a:cubicBezTo>
                    <a:pt x="2018465" y="2888266"/>
                    <a:pt x="1592009" y="2600001"/>
                    <a:pt x="1015556" y="2431115"/>
                  </a:cubicBezTo>
                  <a:cubicBezTo>
                    <a:pt x="915089" y="2399515"/>
                    <a:pt x="814974" y="2368265"/>
                    <a:pt x="814974" y="2242918"/>
                  </a:cubicBezTo>
                  <a:cubicBezTo>
                    <a:pt x="814974" y="2130210"/>
                    <a:pt x="902794" y="2092641"/>
                    <a:pt x="996586" y="2048752"/>
                  </a:cubicBezTo>
                  <a:cubicBezTo>
                    <a:pt x="1335222" y="1911115"/>
                    <a:pt x="1805237" y="1722918"/>
                    <a:pt x="1805237" y="1209238"/>
                  </a:cubicBezTo>
                  <a:cubicBezTo>
                    <a:pt x="1805237" y="889724"/>
                    <a:pt x="1586037" y="607779"/>
                    <a:pt x="1216137" y="607779"/>
                  </a:cubicBezTo>
                  <a:cubicBezTo>
                    <a:pt x="821297" y="607779"/>
                    <a:pt x="683243" y="883404"/>
                    <a:pt x="589100" y="1077570"/>
                  </a:cubicBezTo>
                  <a:cubicBezTo>
                    <a:pt x="526571" y="1209238"/>
                    <a:pt x="476338" y="1321945"/>
                    <a:pt x="338636" y="1321945"/>
                  </a:cubicBezTo>
                  <a:cubicBezTo>
                    <a:pt x="231846" y="1321945"/>
                    <a:pt x="119085" y="1234167"/>
                    <a:pt x="119085" y="1046321"/>
                  </a:cubicBezTo>
                  <a:cubicBezTo>
                    <a:pt x="119085" y="632708"/>
                    <a:pt x="520248" y="0"/>
                    <a:pt x="138545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87765BA-E530-E29E-A34C-B128F29258C5}"/>
                </a:ext>
              </a:extLst>
            </p:cNvPr>
            <p:cNvSpPr/>
            <p:nvPr userDrawn="1"/>
          </p:nvSpPr>
          <p:spPr>
            <a:xfrm>
              <a:off x="7584141" y="0"/>
              <a:ext cx="2808370" cy="4011902"/>
            </a:xfrm>
            <a:custGeom>
              <a:avLst/>
              <a:gdLst>
                <a:gd name="connsiteX0" fmla="*/ 296230 w 2808370"/>
                <a:gd name="connsiteY0" fmla="*/ 0 h 4011902"/>
                <a:gd name="connsiteX1" fmla="*/ 2625421 w 2808370"/>
                <a:gd name="connsiteY1" fmla="*/ 0 h 4011902"/>
                <a:gd name="connsiteX2" fmla="*/ 2640373 w 2808370"/>
                <a:gd name="connsiteY2" fmla="*/ 24068 h 4011902"/>
                <a:gd name="connsiteX3" fmla="*/ 2769835 w 2808370"/>
                <a:gd name="connsiteY3" fmla="*/ 563988 h 4011902"/>
                <a:gd name="connsiteX4" fmla="*/ 2159398 w 2808370"/>
                <a:gd name="connsiteY4" fmla="*/ 1906162 h 4011902"/>
                <a:gd name="connsiteX5" fmla="*/ 1079699 w 2808370"/>
                <a:gd name="connsiteY5" fmla="*/ 3273526 h 4011902"/>
                <a:gd name="connsiteX6" fmla="*/ 2660353 w 2808370"/>
                <a:gd name="connsiteY6" fmla="*/ 3273526 h 4011902"/>
                <a:gd name="connsiteX7" fmla="*/ 2808370 w 2808370"/>
                <a:gd name="connsiteY7" fmla="*/ 3408463 h 4011902"/>
                <a:gd name="connsiteX8" fmla="*/ 2808370 w 2808370"/>
                <a:gd name="connsiteY8" fmla="*/ 3870848 h 4011902"/>
                <a:gd name="connsiteX9" fmla="*/ 2679800 w 2808370"/>
                <a:gd name="connsiteY9" fmla="*/ 4011902 h 4011902"/>
                <a:gd name="connsiteX10" fmla="*/ 192675 w 2808370"/>
                <a:gd name="connsiteY10" fmla="*/ 4011902 h 4011902"/>
                <a:gd name="connsiteX11" fmla="*/ 0 w 2808370"/>
                <a:gd name="connsiteY11" fmla="*/ 3864371 h 4011902"/>
                <a:gd name="connsiteX12" fmla="*/ 90036 w 2808370"/>
                <a:gd name="connsiteY12" fmla="*/ 3671861 h 4011902"/>
                <a:gd name="connsiteX13" fmla="*/ 1432996 w 2808370"/>
                <a:gd name="connsiteY13" fmla="*/ 1906162 h 4011902"/>
                <a:gd name="connsiteX14" fmla="*/ 1966363 w 2808370"/>
                <a:gd name="connsiteY14" fmla="*/ 775928 h 4011902"/>
                <a:gd name="connsiteX15" fmla="*/ 1310908 w 2808370"/>
                <a:gd name="connsiteY15" fmla="*/ 50506 h 4011902"/>
                <a:gd name="connsiteX16" fmla="*/ 616920 w 2808370"/>
                <a:gd name="connsiteY16" fmla="*/ 660423 h 4011902"/>
                <a:gd name="connsiteX17" fmla="*/ 353658 w 2808370"/>
                <a:gd name="connsiteY17" fmla="*/ 962321 h 4011902"/>
                <a:gd name="connsiteX18" fmla="*/ 109123 w 2808370"/>
                <a:gd name="connsiteY18" fmla="*/ 640991 h 4011902"/>
                <a:gd name="connsiteX19" fmla="*/ 251791 w 2808370"/>
                <a:gd name="connsiteY19" fmla="*/ 77313 h 4011902"/>
                <a:gd name="connsiteX20" fmla="*/ 296230 w 2808370"/>
                <a:gd name="connsiteY20" fmla="*/ 0 h 4011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08370" h="4011902">
                  <a:moveTo>
                    <a:pt x="296230" y="0"/>
                  </a:moveTo>
                  <a:lnTo>
                    <a:pt x="2625421" y="0"/>
                  </a:lnTo>
                  <a:lnTo>
                    <a:pt x="2640373" y="24068"/>
                  </a:lnTo>
                  <a:cubicBezTo>
                    <a:pt x="2725679" y="190259"/>
                    <a:pt x="2769835" y="375582"/>
                    <a:pt x="2769835" y="563988"/>
                  </a:cubicBezTo>
                  <a:cubicBezTo>
                    <a:pt x="2769835" y="1103376"/>
                    <a:pt x="2429143" y="1552807"/>
                    <a:pt x="2159398" y="1906162"/>
                  </a:cubicBezTo>
                  <a:lnTo>
                    <a:pt x="1079699" y="3273526"/>
                  </a:lnTo>
                  <a:lnTo>
                    <a:pt x="2660353" y="3273526"/>
                  </a:lnTo>
                  <a:cubicBezTo>
                    <a:pt x="2776318" y="3273526"/>
                    <a:pt x="2808370" y="3292957"/>
                    <a:pt x="2808370" y="3408463"/>
                  </a:cubicBezTo>
                  <a:lnTo>
                    <a:pt x="2808370" y="3870848"/>
                  </a:lnTo>
                  <a:cubicBezTo>
                    <a:pt x="2808370" y="3979877"/>
                    <a:pt x="2795405" y="4011902"/>
                    <a:pt x="2679800" y="4011902"/>
                  </a:cubicBezTo>
                  <a:lnTo>
                    <a:pt x="192675" y="4011902"/>
                  </a:lnTo>
                  <a:cubicBezTo>
                    <a:pt x="128570" y="4011902"/>
                    <a:pt x="0" y="4011902"/>
                    <a:pt x="0" y="3864371"/>
                  </a:cubicBezTo>
                  <a:cubicBezTo>
                    <a:pt x="0" y="3793844"/>
                    <a:pt x="45018" y="3735910"/>
                    <a:pt x="90036" y="3671861"/>
                  </a:cubicBezTo>
                  <a:lnTo>
                    <a:pt x="1432996" y="1906162"/>
                  </a:lnTo>
                  <a:cubicBezTo>
                    <a:pt x="1748118" y="1475803"/>
                    <a:pt x="1966363" y="1167786"/>
                    <a:pt x="1966363" y="775928"/>
                  </a:cubicBezTo>
                  <a:cubicBezTo>
                    <a:pt x="1966363" y="390548"/>
                    <a:pt x="1715706" y="50506"/>
                    <a:pt x="1310908" y="50506"/>
                  </a:cubicBezTo>
                  <a:cubicBezTo>
                    <a:pt x="931681" y="50506"/>
                    <a:pt x="719919" y="300950"/>
                    <a:pt x="616920" y="660423"/>
                  </a:cubicBezTo>
                  <a:cubicBezTo>
                    <a:pt x="578385" y="801476"/>
                    <a:pt x="533367" y="962321"/>
                    <a:pt x="353658" y="962321"/>
                  </a:cubicBezTo>
                  <a:cubicBezTo>
                    <a:pt x="218606" y="962321"/>
                    <a:pt x="109123" y="859410"/>
                    <a:pt x="109123" y="640991"/>
                  </a:cubicBezTo>
                  <a:cubicBezTo>
                    <a:pt x="109123" y="455621"/>
                    <a:pt x="156840" y="258945"/>
                    <a:pt x="251791" y="77313"/>
                  </a:cubicBezTo>
                  <a:lnTo>
                    <a:pt x="29623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1496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156B518-A9D5-69A4-777F-5E0C9D02EA14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custGeom>
            <a:avLst/>
            <a:gdLst>
              <a:gd name="connsiteX0" fmla="*/ 0 w 12192000"/>
              <a:gd name="connsiteY0" fmla="*/ 0 h 5087332"/>
              <a:gd name="connsiteX1" fmla="*/ 12192000 w 12192000"/>
              <a:gd name="connsiteY1" fmla="*/ 0 h 5087332"/>
              <a:gd name="connsiteX2" fmla="*/ 12192000 w 12192000"/>
              <a:gd name="connsiteY2" fmla="*/ 5087332 h 5087332"/>
              <a:gd name="connsiteX3" fmla="*/ 0 w 12192000"/>
              <a:gd name="connsiteY3" fmla="*/ 5087332 h 5087332"/>
              <a:gd name="connsiteX4" fmla="*/ 0 w 12192000"/>
              <a:gd name="connsiteY4" fmla="*/ 0 h 5087332"/>
              <a:gd name="connsiteX5" fmla="*/ 215901 w 12192000"/>
              <a:gd name="connsiteY5" fmla="*/ 53371 h 5087332"/>
              <a:gd name="connsiteX6" fmla="*/ 215901 w 12192000"/>
              <a:gd name="connsiteY6" fmla="*/ 5003196 h 5087332"/>
              <a:gd name="connsiteX7" fmla="*/ 11974514 w 12192000"/>
              <a:gd name="connsiteY7" fmla="*/ 5003196 h 5087332"/>
              <a:gd name="connsiteX8" fmla="*/ 11974514 w 12192000"/>
              <a:gd name="connsiteY8" fmla="*/ 53371 h 5087332"/>
              <a:gd name="connsiteX9" fmla="*/ 215901 w 12192000"/>
              <a:gd name="connsiteY9" fmla="*/ 53371 h 508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5087332">
                <a:moveTo>
                  <a:pt x="0" y="0"/>
                </a:moveTo>
                <a:lnTo>
                  <a:pt x="12192000" y="0"/>
                </a:lnTo>
                <a:lnTo>
                  <a:pt x="12192000" y="5087332"/>
                </a:lnTo>
                <a:lnTo>
                  <a:pt x="0" y="5087332"/>
                </a:lnTo>
                <a:lnTo>
                  <a:pt x="0" y="0"/>
                </a:lnTo>
                <a:close/>
                <a:moveTo>
                  <a:pt x="215901" y="53371"/>
                </a:moveTo>
                <a:lnTo>
                  <a:pt x="215901" y="5003196"/>
                </a:lnTo>
                <a:lnTo>
                  <a:pt x="11974514" y="5003196"/>
                </a:lnTo>
                <a:lnTo>
                  <a:pt x="11974514" y="53371"/>
                </a:lnTo>
                <a:lnTo>
                  <a:pt x="215901" y="53371"/>
                </a:lnTo>
                <a:close/>
              </a:path>
            </a:pathLst>
          </a:cu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2B0A1E-CDDD-413F-B0D9-1F9FFC2C36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04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9AFC005-EABD-9AA8-A49E-D710730E2346}"/>
              </a:ext>
            </a:extLst>
          </p:cNvPr>
          <p:cNvSpPr/>
          <p:nvPr userDrawn="1"/>
        </p:nvSpPr>
        <p:spPr>
          <a:xfrm>
            <a:off x="215902" y="1366840"/>
            <a:ext cx="11758613" cy="4949825"/>
          </a:xfrm>
          <a:custGeom>
            <a:avLst/>
            <a:gdLst>
              <a:gd name="connsiteX0" fmla="*/ 0 w 11758613"/>
              <a:gd name="connsiteY0" fmla="*/ 0 h 4949825"/>
              <a:gd name="connsiteX1" fmla="*/ 11758613 w 11758613"/>
              <a:gd name="connsiteY1" fmla="*/ 0 h 4949825"/>
              <a:gd name="connsiteX2" fmla="*/ 11758613 w 11758613"/>
              <a:gd name="connsiteY2" fmla="*/ 4949825 h 4949825"/>
              <a:gd name="connsiteX3" fmla="*/ 0 w 11758613"/>
              <a:gd name="connsiteY3" fmla="*/ 4949825 h 4949825"/>
              <a:gd name="connsiteX4" fmla="*/ 0 w 11758613"/>
              <a:gd name="connsiteY4" fmla="*/ 0 h 4949825"/>
              <a:gd name="connsiteX5" fmla="*/ 1003300 w 11758613"/>
              <a:gd name="connsiteY5" fmla="*/ 381000 h 4949825"/>
              <a:gd name="connsiteX6" fmla="*/ 1003300 w 11758613"/>
              <a:gd name="connsiteY6" fmla="*/ 3967162 h 4949825"/>
              <a:gd name="connsiteX7" fmla="*/ 10756900 w 11758613"/>
              <a:gd name="connsiteY7" fmla="*/ 3967162 h 4949825"/>
              <a:gd name="connsiteX8" fmla="*/ 10756900 w 11758613"/>
              <a:gd name="connsiteY8" fmla="*/ 381000 h 4949825"/>
              <a:gd name="connsiteX9" fmla="*/ 1003300 w 11758613"/>
              <a:gd name="connsiteY9" fmla="*/ 38100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58613" h="4949825">
                <a:moveTo>
                  <a:pt x="0" y="0"/>
                </a:moveTo>
                <a:lnTo>
                  <a:pt x="11758613" y="0"/>
                </a:lnTo>
                <a:lnTo>
                  <a:pt x="11758613" y="4949825"/>
                </a:lnTo>
                <a:lnTo>
                  <a:pt x="0" y="4949825"/>
                </a:lnTo>
                <a:lnTo>
                  <a:pt x="0" y="0"/>
                </a:lnTo>
                <a:close/>
                <a:moveTo>
                  <a:pt x="1003300" y="381000"/>
                </a:moveTo>
                <a:lnTo>
                  <a:pt x="1003300" y="3967162"/>
                </a:lnTo>
                <a:lnTo>
                  <a:pt x="10756900" y="3967162"/>
                </a:lnTo>
                <a:lnTo>
                  <a:pt x="10756900" y="381000"/>
                </a:lnTo>
                <a:lnTo>
                  <a:pt x="1003300" y="381000"/>
                </a:lnTo>
                <a:close/>
              </a:path>
            </a:pathLst>
          </a:cu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4BD564B-7BAE-9A9A-338C-65D425E5D84E}"/>
              </a:ext>
            </a:extLst>
          </p:cNvPr>
          <p:cNvGrpSpPr/>
          <p:nvPr userDrawn="1"/>
        </p:nvGrpSpPr>
        <p:grpSpPr>
          <a:xfrm>
            <a:off x="11049000" y="4951958"/>
            <a:ext cx="1147784" cy="1400163"/>
            <a:chOff x="11049000" y="4929548"/>
            <a:chExt cx="1147784" cy="1400163"/>
          </a:xfrm>
          <a:solidFill>
            <a:schemeClr val="accent5"/>
          </a:solidFill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224410F-7A6B-86B7-BFAB-3D19DEAD1250}"/>
                </a:ext>
              </a:extLst>
            </p:cNvPr>
            <p:cNvSpPr/>
            <p:nvPr userDrawn="1"/>
          </p:nvSpPr>
          <p:spPr>
            <a:xfrm>
              <a:off x="12192000" y="6293742"/>
              <a:ext cx="4784" cy="7009"/>
            </a:xfrm>
            <a:custGeom>
              <a:avLst/>
              <a:gdLst>
                <a:gd name="connsiteX0" fmla="*/ 0 w 4784"/>
                <a:gd name="connsiteY0" fmla="*/ 0 h 7009"/>
                <a:gd name="connsiteX1" fmla="*/ 4784 w 4784"/>
                <a:gd name="connsiteY1" fmla="*/ 4574 h 7009"/>
                <a:gd name="connsiteX2" fmla="*/ 0 w 4784"/>
                <a:gd name="connsiteY2" fmla="*/ 7009 h 7009"/>
                <a:gd name="connsiteX3" fmla="*/ 0 w 4784"/>
                <a:gd name="connsiteY3" fmla="*/ 0 h 7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4" h="7009">
                  <a:moveTo>
                    <a:pt x="0" y="0"/>
                  </a:moveTo>
                  <a:lnTo>
                    <a:pt x="4784" y="4574"/>
                  </a:lnTo>
                  <a:lnTo>
                    <a:pt x="0" y="70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375BB53-25CE-1329-60CB-D8D2F0241029}"/>
                </a:ext>
              </a:extLst>
            </p:cNvPr>
            <p:cNvSpPr/>
            <p:nvPr userDrawn="1"/>
          </p:nvSpPr>
          <p:spPr>
            <a:xfrm>
              <a:off x="11049000" y="4929548"/>
              <a:ext cx="1143000" cy="1092840"/>
            </a:xfrm>
            <a:custGeom>
              <a:avLst/>
              <a:gdLst>
                <a:gd name="connsiteX0" fmla="*/ 1143000 w 1143000"/>
                <a:gd name="connsiteY0" fmla="*/ 0 h 1092840"/>
                <a:gd name="connsiteX1" fmla="*/ 1143000 w 1143000"/>
                <a:gd name="connsiteY1" fmla="*/ 99531 h 1092840"/>
                <a:gd name="connsiteX2" fmla="*/ 1131798 w 1143000"/>
                <a:gd name="connsiteY2" fmla="*/ 100952 h 1092840"/>
                <a:gd name="connsiteX3" fmla="*/ 1110140 w 1143000"/>
                <a:gd name="connsiteY3" fmla="*/ 104580 h 1092840"/>
                <a:gd name="connsiteX4" fmla="*/ 1089117 w 1143000"/>
                <a:gd name="connsiteY4" fmla="*/ 108980 h 1092840"/>
                <a:gd name="connsiteX5" fmla="*/ 1068712 w 1143000"/>
                <a:gd name="connsiteY5" fmla="*/ 114128 h 1092840"/>
                <a:gd name="connsiteX6" fmla="*/ 1048926 w 1143000"/>
                <a:gd name="connsiteY6" fmla="*/ 119990 h 1092840"/>
                <a:gd name="connsiteX7" fmla="*/ 1029745 w 1143000"/>
                <a:gd name="connsiteY7" fmla="*/ 126533 h 1092840"/>
                <a:gd name="connsiteX8" fmla="*/ 1011168 w 1143000"/>
                <a:gd name="connsiteY8" fmla="*/ 133733 h 1092840"/>
                <a:gd name="connsiteX9" fmla="*/ 993178 w 1143000"/>
                <a:gd name="connsiteY9" fmla="*/ 141561 h 1092840"/>
                <a:gd name="connsiteX10" fmla="*/ 975768 w 1143000"/>
                <a:gd name="connsiteY10" fmla="*/ 149980 h 1092840"/>
                <a:gd name="connsiteX11" fmla="*/ 958935 w 1143000"/>
                <a:gd name="connsiteY11" fmla="*/ 158966 h 1092840"/>
                <a:gd name="connsiteX12" fmla="*/ 942668 w 1143000"/>
                <a:gd name="connsiteY12" fmla="*/ 168485 h 1092840"/>
                <a:gd name="connsiteX13" fmla="*/ 926959 w 1143000"/>
                <a:gd name="connsiteY13" fmla="*/ 178514 h 1092840"/>
                <a:gd name="connsiteX14" fmla="*/ 911801 w 1143000"/>
                <a:gd name="connsiteY14" fmla="*/ 189019 h 1092840"/>
                <a:gd name="connsiteX15" fmla="*/ 897182 w 1143000"/>
                <a:gd name="connsiteY15" fmla="*/ 199971 h 1092840"/>
                <a:gd name="connsiteX16" fmla="*/ 883096 w 1143000"/>
                <a:gd name="connsiteY16" fmla="*/ 211338 h 1092840"/>
                <a:gd name="connsiteX17" fmla="*/ 869539 w 1143000"/>
                <a:gd name="connsiteY17" fmla="*/ 223095 h 1092840"/>
                <a:gd name="connsiteX18" fmla="*/ 856496 w 1143000"/>
                <a:gd name="connsiteY18" fmla="*/ 235205 h 1092840"/>
                <a:gd name="connsiteX19" fmla="*/ 843963 w 1143000"/>
                <a:gd name="connsiteY19" fmla="*/ 247648 h 1092840"/>
                <a:gd name="connsiteX20" fmla="*/ 831929 w 1143000"/>
                <a:gd name="connsiteY20" fmla="*/ 260386 h 1092840"/>
                <a:gd name="connsiteX21" fmla="*/ 820391 w 1143000"/>
                <a:gd name="connsiteY21" fmla="*/ 273391 h 1092840"/>
                <a:gd name="connsiteX22" fmla="*/ 809334 w 1143000"/>
                <a:gd name="connsiteY22" fmla="*/ 286639 h 1092840"/>
                <a:gd name="connsiteX23" fmla="*/ 798758 w 1143000"/>
                <a:gd name="connsiteY23" fmla="*/ 300091 h 1092840"/>
                <a:gd name="connsiteX24" fmla="*/ 788643 w 1143000"/>
                <a:gd name="connsiteY24" fmla="*/ 313725 h 1092840"/>
                <a:gd name="connsiteX25" fmla="*/ 778991 w 1143000"/>
                <a:gd name="connsiteY25" fmla="*/ 327511 h 1092840"/>
                <a:gd name="connsiteX26" fmla="*/ 769791 w 1143000"/>
                <a:gd name="connsiteY26" fmla="*/ 341415 h 1092840"/>
                <a:gd name="connsiteX27" fmla="*/ 761038 w 1143000"/>
                <a:gd name="connsiteY27" fmla="*/ 355406 h 1092840"/>
                <a:gd name="connsiteX28" fmla="*/ 752714 w 1143000"/>
                <a:gd name="connsiteY28" fmla="*/ 369458 h 1092840"/>
                <a:gd name="connsiteX29" fmla="*/ 744819 w 1143000"/>
                <a:gd name="connsiteY29" fmla="*/ 383544 h 1092840"/>
                <a:gd name="connsiteX30" fmla="*/ 737343 w 1143000"/>
                <a:gd name="connsiteY30" fmla="*/ 397630 h 1092840"/>
                <a:gd name="connsiteX31" fmla="*/ 730281 w 1143000"/>
                <a:gd name="connsiteY31" fmla="*/ 411688 h 1092840"/>
                <a:gd name="connsiteX32" fmla="*/ 723619 w 1143000"/>
                <a:gd name="connsiteY32" fmla="*/ 425683 h 1092840"/>
                <a:gd name="connsiteX33" fmla="*/ 717352 w 1143000"/>
                <a:gd name="connsiteY33" fmla="*/ 439592 h 1092840"/>
                <a:gd name="connsiteX34" fmla="*/ 711466 w 1143000"/>
                <a:gd name="connsiteY34" fmla="*/ 453388 h 1092840"/>
                <a:gd name="connsiteX35" fmla="*/ 705967 w 1143000"/>
                <a:gd name="connsiteY35" fmla="*/ 467031 h 1092840"/>
                <a:gd name="connsiteX36" fmla="*/ 700833 w 1143000"/>
                <a:gd name="connsiteY36" fmla="*/ 480498 h 1092840"/>
                <a:gd name="connsiteX37" fmla="*/ 691642 w 1143000"/>
                <a:gd name="connsiteY37" fmla="*/ 506779 h 1092840"/>
                <a:gd name="connsiteX38" fmla="*/ 683828 w 1143000"/>
                <a:gd name="connsiteY38" fmla="*/ 531998 h 1092840"/>
                <a:gd name="connsiteX39" fmla="*/ 677338 w 1143000"/>
                <a:gd name="connsiteY39" fmla="*/ 555908 h 1092840"/>
                <a:gd name="connsiteX40" fmla="*/ 672090 w 1143000"/>
                <a:gd name="connsiteY40" fmla="*/ 578279 h 1092840"/>
                <a:gd name="connsiteX41" fmla="*/ 668033 w 1143000"/>
                <a:gd name="connsiteY41" fmla="*/ 598870 h 1092840"/>
                <a:gd name="connsiteX42" fmla="*/ 665090 w 1143000"/>
                <a:gd name="connsiteY42" fmla="*/ 617446 h 1092840"/>
                <a:gd name="connsiteX43" fmla="*/ 662823 w 1143000"/>
                <a:gd name="connsiteY43" fmla="*/ 635299 h 1092840"/>
                <a:gd name="connsiteX44" fmla="*/ 660885 w 1143000"/>
                <a:gd name="connsiteY44" fmla="*/ 653561 h 1092840"/>
                <a:gd name="connsiteX45" fmla="*/ 659290 w 1143000"/>
                <a:gd name="connsiteY45" fmla="*/ 672180 h 1092840"/>
                <a:gd name="connsiteX46" fmla="*/ 658033 w 1143000"/>
                <a:gd name="connsiteY46" fmla="*/ 691113 h 1092840"/>
                <a:gd name="connsiteX47" fmla="*/ 657114 w 1143000"/>
                <a:gd name="connsiteY47" fmla="*/ 710313 h 1092840"/>
                <a:gd name="connsiteX48" fmla="*/ 656547 w 1143000"/>
                <a:gd name="connsiteY48" fmla="*/ 729728 h 1092840"/>
                <a:gd name="connsiteX49" fmla="*/ 656323 w 1143000"/>
                <a:gd name="connsiteY49" fmla="*/ 749314 h 1092840"/>
                <a:gd name="connsiteX50" fmla="*/ 656452 w 1143000"/>
                <a:gd name="connsiteY50" fmla="*/ 769024 h 1092840"/>
                <a:gd name="connsiteX51" fmla="*/ 656933 w 1143000"/>
                <a:gd name="connsiteY51" fmla="*/ 788809 h 1092840"/>
                <a:gd name="connsiteX52" fmla="*/ 657771 w 1143000"/>
                <a:gd name="connsiteY52" fmla="*/ 808624 h 1092840"/>
                <a:gd name="connsiteX53" fmla="*/ 658966 w 1143000"/>
                <a:gd name="connsiteY53" fmla="*/ 828419 h 1092840"/>
                <a:gd name="connsiteX54" fmla="*/ 660528 w 1143000"/>
                <a:gd name="connsiteY54" fmla="*/ 848153 h 1092840"/>
                <a:gd name="connsiteX55" fmla="*/ 662452 w 1143000"/>
                <a:gd name="connsiteY55" fmla="*/ 867767 h 1092840"/>
                <a:gd name="connsiteX56" fmla="*/ 664742 w 1143000"/>
                <a:gd name="connsiteY56" fmla="*/ 887225 h 1092840"/>
                <a:gd name="connsiteX57" fmla="*/ 667404 w 1143000"/>
                <a:gd name="connsiteY57" fmla="*/ 906473 h 1092840"/>
                <a:gd name="connsiteX58" fmla="*/ 670438 w 1143000"/>
                <a:gd name="connsiteY58" fmla="*/ 925463 h 1092840"/>
                <a:gd name="connsiteX59" fmla="*/ 673847 w 1143000"/>
                <a:gd name="connsiteY59" fmla="*/ 944154 h 1092840"/>
                <a:gd name="connsiteX60" fmla="*/ 677638 w 1143000"/>
                <a:gd name="connsiteY60" fmla="*/ 962497 h 1092840"/>
                <a:gd name="connsiteX61" fmla="*/ 681809 w 1143000"/>
                <a:gd name="connsiteY61" fmla="*/ 980440 h 1092840"/>
                <a:gd name="connsiteX62" fmla="*/ 686366 w 1143000"/>
                <a:gd name="connsiteY62" fmla="*/ 997940 h 1092840"/>
                <a:gd name="connsiteX63" fmla="*/ 691309 w 1143000"/>
                <a:gd name="connsiteY63" fmla="*/ 1014950 h 1092840"/>
                <a:gd name="connsiteX64" fmla="*/ 696638 w 1143000"/>
                <a:gd name="connsiteY64" fmla="*/ 1031421 h 1092840"/>
                <a:gd name="connsiteX65" fmla="*/ 702367 w 1143000"/>
                <a:gd name="connsiteY65" fmla="*/ 1047302 h 1092840"/>
                <a:gd name="connsiteX66" fmla="*/ 708486 w 1143000"/>
                <a:gd name="connsiteY66" fmla="*/ 1062554 h 1092840"/>
                <a:gd name="connsiteX67" fmla="*/ 715005 w 1143000"/>
                <a:gd name="connsiteY67" fmla="*/ 1077126 h 1092840"/>
                <a:gd name="connsiteX68" fmla="*/ 721924 w 1143000"/>
                <a:gd name="connsiteY68" fmla="*/ 1090969 h 1092840"/>
                <a:gd name="connsiteX69" fmla="*/ 706938 w 1143000"/>
                <a:gd name="connsiteY69" fmla="*/ 1092007 h 1092840"/>
                <a:gd name="connsiteX70" fmla="*/ 692000 w 1143000"/>
                <a:gd name="connsiteY70" fmla="*/ 1092636 h 1092840"/>
                <a:gd name="connsiteX71" fmla="*/ 677123 w 1143000"/>
                <a:gd name="connsiteY71" fmla="*/ 1092840 h 1092840"/>
                <a:gd name="connsiteX72" fmla="*/ 662328 w 1143000"/>
                <a:gd name="connsiteY72" fmla="*/ 1092621 h 1092840"/>
                <a:gd name="connsiteX73" fmla="*/ 647623 w 1143000"/>
                <a:gd name="connsiteY73" fmla="*/ 1091965 h 1092840"/>
                <a:gd name="connsiteX74" fmla="*/ 633023 w 1143000"/>
                <a:gd name="connsiteY74" fmla="*/ 1090860 h 1092840"/>
                <a:gd name="connsiteX75" fmla="*/ 618542 w 1143000"/>
                <a:gd name="connsiteY75" fmla="*/ 1089302 h 1092840"/>
                <a:gd name="connsiteX76" fmla="*/ 604195 w 1143000"/>
                <a:gd name="connsiteY76" fmla="*/ 1087284 h 1092840"/>
                <a:gd name="connsiteX77" fmla="*/ 589989 w 1143000"/>
                <a:gd name="connsiteY77" fmla="*/ 1084793 h 1092840"/>
                <a:gd name="connsiteX78" fmla="*/ 575951 w 1143000"/>
                <a:gd name="connsiteY78" fmla="*/ 1081826 h 1092840"/>
                <a:gd name="connsiteX79" fmla="*/ 548403 w 1143000"/>
                <a:gd name="connsiteY79" fmla="*/ 1074417 h 1092840"/>
                <a:gd name="connsiteX80" fmla="*/ 521665 w 1143000"/>
                <a:gd name="connsiteY80" fmla="*/ 1064988 h 1092840"/>
                <a:gd name="connsiteX81" fmla="*/ 495846 w 1143000"/>
                <a:gd name="connsiteY81" fmla="*/ 1053474 h 1092840"/>
                <a:gd name="connsiteX82" fmla="*/ 471055 w 1143000"/>
                <a:gd name="connsiteY82" fmla="*/ 1039812 h 1092840"/>
                <a:gd name="connsiteX83" fmla="*/ 447408 w 1143000"/>
                <a:gd name="connsiteY83" fmla="*/ 1023926 h 1092840"/>
                <a:gd name="connsiteX84" fmla="*/ 436041 w 1143000"/>
                <a:gd name="connsiteY84" fmla="*/ 1015130 h 1092840"/>
                <a:gd name="connsiteX85" fmla="*/ 425003 w 1143000"/>
                <a:gd name="connsiteY85" fmla="*/ 1005754 h 1092840"/>
                <a:gd name="connsiteX86" fmla="*/ 414307 w 1143000"/>
                <a:gd name="connsiteY86" fmla="*/ 995788 h 1092840"/>
                <a:gd name="connsiteX87" fmla="*/ 403964 w 1143000"/>
                <a:gd name="connsiteY87" fmla="*/ 985225 h 1092840"/>
                <a:gd name="connsiteX88" fmla="*/ 393988 w 1143000"/>
                <a:gd name="connsiteY88" fmla="*/ 974059 h 1092840"/>
                <a:gd name="connsiteX89" fmla="*/ 384398 w 1143000"/>
                <a:gd name="connsiteY89" fmla="*/ 962278 h 1092840"/>
                <a:gd name="connsiteX90" fmla="*/ 375198 w 1143000"/>
                <a:gd name="connsiteY90" fmla="*/ 949873 h 1092840"/>
                <a:gd name="connsiteX91" fmla="*/ 366407 w 1143000"/>
                <a:gd name="connsiteY91" fmla="*/ 936839 h 1092840"/>
                <a:gd name="connsiteX92" fmla="*/ 358045 w 1143000"/>
                <a:gd name="connsiteY92" fmla="*/ 923163 h 1092840"/>
                <a:gd name="connsiteX93" fmla="*/ 350112 w 1143000"/>
                <a:gd name="connsiteY93" fmla="*/ 908839 h 1092840"/>
                <a:gd name="connsiteX94" fmla="*/ 342636 w 1143000"/>
                <a:gd name="connsiteY94" fmla="*/ 893863 h 1092840"/>
                <a:gd name="connsiteX95" fmla="*/ 335621 w 1143000"/>
                <a:gd name="connsiteY95" fmla="*/ 878220 h 1092840"/>
                <a:gd name="connsiteX96" fmla="*/ 329088 w 1143000"/>
                <a:gd name="connsiteY96" fmla="*/ 861905 h 1092840"/>
                <a:gd name="connsiteX97" fmla="*/ 323045 w 1143000"/>
                <a:gd name="connsiteY97" fmla="*/ 844910 h 1092840"/>
                <a:gd name="connsiteX98" fmla="*/ 317507 w 1143000"/>
                <a:gd name="connsiteY98" fmla="*/ 827224 h 1092840"/>
                <a:gd name="connsiteX99" fmla="*/ 312493 w 1143000"/>
                <a:gd name="connsiteY99" fmla="*/ 808838 h 1092840"/>
                <a:gd name="connsiteX100" fmla="*/ 308007 w 1143000"/>
                <a:gd name="connsiteY100" fmla="*/ 789748 h 1092840"/>
                <a:gd name="connsiteX101" fmla="*/ 304073 w 1143000"/>
                <a:gd name="connsiteY101" fmla="*/ 769938 h 1092840"/>
                <a:gd name="connsiteX102" fmla="*/ 300697 w 1143000"/>
                <a:gd name="connsiteY102" fmla="*/ 749409 h 1092840"/>
                <a:gd name="connsiteX103" fmla="*/ 297902 w 1143000"/>
                <a:gd name="connsiteY103" fmla="*/ 728147 h 1092840"/>
                <a:gd name="connsiteX104" fmla="*/ 295687 w 1143000"/>
                <a:gd name="connsiteY104" fmla="*/ 706147 h 1092840"/>
                <a:gd name="connsiteX105" fmla="*/ 294083 w 1143000"/>
                <a:gd name="connsiteY105" fmla="*/ 683394 h 1092840"/>
                <a:gd name="connsiteX106" fmla="*/ 293092 w 1143000"/>
                <a:gd name="connsiteY106" fmla="*/ 659884 h 1092840"/>
                <a:gd name="connsiteX107" fmla="*/ 292731 w 1143000"/>
                <a:gd name="connsiteY107" fmla="*/ 635613 h 1092840"/>
                <a:gd name="connsiteX108" fmla="*/ 293016 w 1143000"/>
                <a:gd name="connsiteY108" fmla="*/ 610565 h 1092840"/>
                <a:gd name="connsiteX109" fmla="*/ 271916 w 1143000"/>
                <a:gd name="connsiteY109" fmla="*/ 609608 h 1092840"/>
                <a:gd name="connsiteX110" fmla="*/ 251459 w 1143000"/>
                <a:gd name="connsiteY110" fmla="*/ 607641 h 1092840"/>
                <a:gd name="connsiteX111" fmla="*/ 231649 w 1143000"/>
                <a:gd name="connsiteY111" fmla="*/ 604694 h 1092840"/>
                <a:gd name="connsiteX112" fmla="*/ 212506 w 1143000"/>
                <a:gd name="connsiteY112" fmla="*/ 600779 h 1092840"/>
                <a:gd name="connsiteX113" fmla="*/ 194020 w 1143000"/>
                <a:gd name="connsiteY113" fmla="*/ 595917 h 1092840"/>
                <a:gd name="connsiteX114" fmla="*/ 176210 w 1143000"/>
                <a:gd name="connsiteY114" fmla="*/ 590132 h 1092840"/>
                <a:gd name="connsiteX115" fmla="*/ 159082 w 1143000"/>
                <a:gd name="connsiteY115" fmla="*/ 583437 h 1092840"/>
                <a:gd name="connsiteX116" fmla="*/ 142634 w 1143000"/>
                <a:gd name="connsiteY116" fmla="*/ 575860 h 1092840"/>
                <a:gd name="connsiteX117" fmla="*/ 126877 w 1143000"/>
                <a:gd name="connsiteY117" fmla="*/ 567417 h 1092840"/>
                <a:gd name="connsiteX118" fmla="*/ 111820 w 1143000"/>
                <a:gd name="connsiteY118" fmla="*/ 558127 h 1092840"/>
                <a:gd name="connsiteX119" fmla="*/ 97462 w 1143000"/>
                <a:gd name="connsiteY119" fmla="*/ 548012 h 1092840"/>
                <a:gd name="connsiteX120" fmla="*/ 83820 w 1143000"/>
                <a:gd name="connsiteY120" fmla="*/ 537093 h 1092840"/>
                <a:gd name="connsiteX121" fmla="*/ 70896 w 1143000"/>
                <a:gd name="connsiteY121" fmla="*/ 525393 h 1092840"/>
                <a:gd name="connsiteX122" fmla="*/ 58696 w 1143000"/>
                <a:gd name="connsiteY122" fmla="*/ 512922 h 1092840"/>
                <a:gd name="connsiteX123" fmla="*/ 47224 w 1143000"/>
                <a:gd name="connsiteY123" fmla="*/ 499707 h 1092840"/>
                <a:gd name="connsiteX124" fmla="*/ 36491 w 1143000"/>
                <a:gd name="connsiteY124" fmla="*/ 485769 h 1092840"/>
                <a:gd name="connsiteX125" fmla="*/ 26500 w 1143000"/>
                <a:gd name="connsiteY125" fmla="*/ 471131 h 1092840"/>
                <a:gd name="connsiteX126" fmla="*/ 17262 w 1143000"/>
                <a:gd name="connsiteY126" fmla="*/ 455802 h 1092840"/>
                <a:gd name="connsiteX127" fmla="*/ 8781 w 1143000"/>
                <a:gd name="connsiteY127" fmla="*/ 439811 h 1092840"/>
                <a:gd name="connsiteX128" fmla="*/ 0 w 1143000"/>
                <a:gd name="connsiteY128" fmla="*/ 419692 h 1092840"/>
                <a:gd name="connsiteX129" fmla="*/ 500 w 1143000"/>
                <a:gd name="connsiteY129" fmla="*/ 417887 h 1092840"/>
                <a:gd name="connsiteX130" fmla="*/ 11771 w 1143000"/>
                <a:gd name="connsiteY130" fmla="*/ 429583 h 1092840"/>
                <a:gd name="connsiteX131" fmla="*/ 23705 w 1143000"/>
                <a:gd name="connsiteY131" fmla="*/ 440735 h 1092840"/>
                <a:gd name="connsiteX132" fmla="*/ 36276 w 1143000"/>
                <a:gd name="connsiteY132" fmla="*/ 451340 h 1092840"/>
                <a:gd name="connsiteX133" fmla="*/ 49453 w 1143000"/>
                <a:gd name="connsiteY133" fmla="*/ 461373 h 1092840"/>
                <a:gd name="connsiteX134" fmla="*/ 63215 w 1143000"/>
                <a:gd name="connsiteY134" fmla="*/ 470831 h 1092840"/>
                <a:gd name="connsiteX135" fmla="*/ 77524 w 1143000"/>
                <a:gd name="connsiteY135" fmla="*/ 479693 h 1092840"/>
                <a:gd name="connsiteX136" fmla="*/ 92367 w 1143000"/>
                <a:gd name="connsiteY136" fmla="*/ 487945 h 1092840"/>
                <a:gd name="connsiteX137" fmla="*/ 107705 w 1143000"/>
                <a:gd name="connsiteY137" fmla="*/ 495579 h 1092840"/>
                <a:gd name="connsiteX138" fmla="*/ 123515 w 1143000"/>
                <a:gd name="connsiteY138" fmla="*/ 502579 h 1092840"/>
                <a:gd name="connsiteX139" fmla="*/ 139767 w 1143000"/>
                <a:gd name="connsiteY139" fmla="*/ 508931 h 1092840"/>
                <a:gd name="connsiteX140" fmla="*/ 156439 w 1143000"/>
                <a:gd name="connsiteY140" fmla="*/ 514622 h 1092840"/>
                <a:gd name="connsiteX141" fmla="*/ 173496 w 1143000"/>
                <a:gd name="connsiteY141" fmla="*/ 519636 h 1092840"/>
                <a:gd name="connsiteX142" fmla="*/ 190915 w 1143000"/>
                <a:gd name="connsiteY142" fmla="*/ 523964 h 1092840"/>
                <a:gd name="connsiteX143" fmla="*/ 208673 w 1143000"/>
                <a:gd name="connsiteY143" fmla="*/ 527593 h 1092840"/>
                <a:gd name="connsiteX144" fmla="*/ 226730 w 1143000"/>
                <a:gd name="connsiteY144" fmla="*/ 530502 h 1092840"/>
                <a:gd name="connsiteX145" fmla="*/ 245073 w 1143000"/>
                <a:gd name="connsiteY145" fmla="*/ 532688 h 1092840"/>
                <a:gd name="connsiteX146" fmla="*/ 263664 w 1143000"/>
                <a:gd name="connsiteY146" fmla="*/ 534131 h 1092840"/>
                <a:gd name="connsiteX147" fmla="*/ 282478 w 1143000"/>
                <a:gd name="connsiteY147" fmla="*/ 534817 h 1092840"/>
                <a:gd name="connsiteX148" fmla="*/ 301488 w 1143000"/>
                <a:gd name="connsiteY148" fmla="*/ 534736 h 1092840"/>
                <a:gd name="connsiteX149" fmla="*/ 320669 w 1143000"/>
                <a:gd name="connsiteY149" fmla="*/ 533869 h 1092840"/>
                <a:gd name="connsiteX150" fmla="*/ 339993 w 1143000"/>
                <a:gd name="connsiteY150" fmla="*/ 532212 h 1092840"/>
                <a:gd name="connsiteX151" fmla="*/ 359431 w 1143000"/>
                <a:gd name="connsiteY151" fmla="*/ 529741 h 1092840"/>
                <a:gd name="connsiteX152" fmla="*/ 378955 w 1143000"/>
                <a:gd name="connsiteY152" fmla="*/ 526450 h 1092840"/>
                <a:gd name="connsiteX153" fmla="*/ 409093 w 1143000"/>
                <a:gd name="connsiteY153" fmla="*/ 519712 h 1092840"/>
                <a:gd name="connsiteX154" fmla="*/ 429822 w 1143000"/>
                <a:gd name="connsiteY154" fmla="*/ 513912 h 1092840"/>
                <a:gd name="connsiteX155" fmla="*/ 439988 w 1143000"/>
                <a:gd name="connsiteY155" fmla="*/ 510722 h 1092840"/>
                <a:gd name="connsiteX156" fmla="*/ 433941 w 1143000"/>
                <a:gd name="connsiteY156" fmla="*/ 526388 h 1092840"/>
                <a:gd name="connsiteX157" fmla="*/ 428622 w 1143000"/>
                <a:gd name="connsiteY157" fmla="*/ 542650 h 1092840"/>
                <a:gd name="connsiteX158" fmla="*/ 424026 w 1143000"/>
                <a:gd name="connsiteY158" fmla="*/ 559446 h 1092840"/>
                <a:gd name="connsiteX159" fmla="*/ 420136 w 1143000"/>
                <a:gd name="connsiteY159" fmla="*/ 576722 h 1092840"/>
                <a:gd name="connsiteX160" fmla="*/ 416955 w 1143000"/>
                <a:gd name="connsiteY160" fmla="*/ 594408 h 1092840"/>
                <a:gd name="connsiteX161" fmla="*/ 414469 w 1143000"/>
                <a:gd name="connsiteY161" fmla="*/ 612451 h 1092840"/>
                <a:gd name="connsiteX162" fmla="*/ 412669 w 1143000"/>
                <a:gd name="connsiteY162" fmla="*/ 630785 h 1092840"/>
                <a:gd name="connsiteX163" fmla="*/ 411545 w 1143000"/>
                <a:gd name="connsiteY163" fmla="*/ 649351 h 1092840"/>
                <a:gd name="connsiteX164" fmla="*/ 411098 w 1143000"/>
                <a:gd name="connsiteY164" fmla="*/ 668089 h 1092840"/>
                <a:gd name="connsiteX165" fmla="*/ 411307 w 1143000"/>
                <a:gd name="connsiteY165" fmla="*/ 686942 h 1092840"/>
                <a:gd name="connsiteX166" fmla="*/ 412174 w 1143000"/>
                <a:gd name="connsiteY166" fmla="*/ 705842 h 1092840"/>
                <a:gd name="connsiteX167" fmla="*/ 413688 w 1143000"/>
                <a:gd name="connsiteY167" fmla="*/ 724733 h 1092840"/>
                <a:gd name="connsiteX168" fmla="*/ 415836 w 1143000"/>
                <a:gd name="connsiteY168" fmla="*/ 743557 h 1092840"/>
                <a:gd name="connsiteX169" fmla="*/ 418617 w 1143000"/>
                <a:gd name="connsiteY169" fmla="*/ 762243 h 1092840"/>
                <a:gd name="connsiteX170" fmla="*/ 422017 w 1143000"/>
                <a:gd name="connsiteY170" fmla="*/ 780743 h 1092840"/>
                <a:gd name="connsiteX171" fmla="*/ 426026 w 1143000"/>
                <a:gd name="connsiteY171" fmla="*/ 798986 h 1092840"/>
                <a:gd name="connsiteX172" fmla="*/ 430646 w 1143000"/>
                <a:gd name="connsiteY172" fmla="*/ 816919 h 1092840"/>
                <a:gd name="connsiteX173" fmla="*/ 435860 w 1143000"/>
                <a:gd name="connsiteY173" fmla="*/ 834481 h 1092840"/>
                <a:gd name="connsiteX174" fmla="*/ 441660 w 1143000"/>
                <a:gd name="connsiteY174" fmla="*/ 851605 h 1092840"/>
                <a:gd name="connsiteX175" fmla="*/ 448041 w 1143000"/>
                <a:gd name="connsiteY175" fmla="*/ 868234 h 1092840"/>
                <a:gd name="connsiteX176" fmla="*/ 454993 w 1143000"/>
                <a:gd name="connsiteY176" fmla="*/ 884310 h 1092840"/>
                <a:gd name="connsiteX177" fmla="*/ 462508 w 1143000"/>
                <a:gd name="connsiteY177" fmla="*/ 899768 h 1092840"/>
                <a:gd name="connsiteX178" fmla="*/ 470579 w 1143000"/>
                <a:gd name="connsiteY178" fmla="*/ 914549 h 1092840"/>
                <a:gd name="connsiteX179" fmla="*/ 479194 w 1143000"/>
                <a:gd name="connsiteY179" fmla="*/ 928597 h 1092840"/>
                <a:gd name="connsiteX180" fmla="*/ 488351 w 1143000"/>
                <a:gd name="connsiteY180" fmla="*/ 941839 h 1092840"/>
                <a:gd name="connsiteX181" fmla="*/ 498036 w 1143000"/>
                <a:gd name="connsiteY181" fmla="*/ 954230 h 1092840"/>
                <a:gd name="connsiteX182" fmla="*/ 508242 w 1143000"/>
                <a:gd name="connsiteY182" fmla="*/ 965697 h 1092840"/>
                <a:gd name="connsiteX183" fmla="*/ 518965 w 1143000"/>
                <a:gd name="connsiteY183" fmla="*/ 976187 h 1092840"/>
                <a:gd name="connsiteX184" fmla="*/ 530189 w 1143000"/>
                <a:gd name="connsiteY184" fmla="*/ 985640 h 1092840"/>
                <a:gd name="connsiteX185" fmla="*/ 541913 w 1143000"/>
                <a:gd name="connsiteY185" fmla="*/ 993987 h 1092840"/>
                <a:gd name="connsiteX186" fmla="*/ 566818 w 1143000"/>
                <a:gd name="connsiteY186" fmla="*/ 1007135 h 1092840"/>
                <a:gd name="connsiteX187" fmla="*/ 579980 w 1143000"/>
                <a:gd name="connsiteY187" fmla="*/ 1011821 h 1092840"/>
                <a:gd name="connsiteX188" fmla="*/ 574594 w 1143000"/>
                <a:gd name="connsiteY188" fmla="*/ 993825 h 1092840"/>
                <a:gd name="connsiteX189" fmla="*/ 569523 w 1143000"/>
                <a:gd name="connsiteY189" fmla="*/ 975726 h 1092840"/>
                <a:gd name="connsiteX190" fmla="*/ 564756 w 1143000"/>
                <a:gd name="connsiteY190" fmla="*/ 957535 h 1092840"/>
                <a:gd name="connsiteX191" fmla="*/ 560308 w 1143000"/>
                <a:gd name="connsiteY191" fmla="*/ 939254 h 1092840"/>
                <a:gd name="connsiteX192" fmla="*/ 556170 w 1143000"/>
                <a:gd name="connsiteY192" fmla="*/ 920901 h 1092840"/>
                <a:gd name="connsiteX193" fmla="*/ 552351 w 1143000"/>
                <a:gd name="connsiteY193" fmla="*/ 902482 h 1092840"/>
                <a:gd name="connsiteX194" fmla="*/ 548842 w 1143000"/>
                <a:gd name="connsiteY194" fmla="*/ 884010 h 1092840"/>
                <a:gd name="connsiteX195" fmla="*/ 545656 w 1143000"/>
                <a:gd name="connsiteY195" fmla="*/ 865486 h 1092840"/>
                <a:gd name="connsiteX196" fmla="*/ 542784 w 1143000"/>
                <a:gd name="connsiteY196" fmla="*/ 846929 h 1092840"/>
                <a:gd name="connsiteX197" fmla="*/ 540237 w 1143000"/>
                <a:gd name="connsiteY197" fmla="*/ 828338 h 1092840"/>
                <a:gd name="connsiteX198" fmla="*/ 538008 w 1143000"/>
                <a:gd name="connsiteY198" fmla="*/ 809734 h 1092840"/>
                <a:gd name="connsiteX199" fmla="*/ 536103 w 1143000"/>
                <a:gd name="connsiteY199" fmla="*/ 791119 h 1092840"/>
                <a:gd name="connsiteX200" fmla="*/ 534523 w 1143000"/>
                <a:gd name="connsiteY200" fmla="*/ 772504 h 1092840"/>
                <a:gd name="connsiteX201" fmla="*/ 533265 w 1143000"/>
                <a:gd name="connsiteY201" fmla="*/ 753904 h 1092840"/>
                <a:gd name="connsiteX202" fmla="*/ 532337 w 1143000"/>
                <a:gd name="connsiteY202" fmla="*/ 735319 h 1092840"/>
                <a:gd name="connsiteX203" fmla="*/ 531737 w 1143000"/>
                <a:gd name="connsiteY203" fmla="*/ 716766 h 1092840"/>
                <a:gd name="connsiteX204" fmla="*/ 531461 w 1143000"/>
                <a:gd name="connsiteY204" fmla="*/ 698252 h 1092840"/>
                <a:gd name="connsiteX205" fmla="*/ 531518 w 1143000"/>
                <a:gd name="connsiteY205" fmla="*/ 679780 h 1092840"/>
                <a:gd name="connsiteX206" fmla="*/ 531908 w 1143000"/>
                <a:gd name="connsiteY206" fmla="*/ 661370 h 1092840"/>
                <a:gd name="connsiteX207" fmla="*/ 532627 w 1143000"/>
                <a:gd name="connsiteY207" fmla="*/ 643027 h 1092840"/>
                <a:gd name="connsiteX208" fmla="*/ 533680 w 1143000"/>
                <a:gd name="connsiteY208" fmla="*/ 624760 h 1092840"/>
                <a:gd name="connsiteX209" fmla="*/ 535070 w 1143000"/>
                <a:gd name="connsiteY209" fmla="*/ 606584 h 1092840"/>
                <a:gd name="connsiteX210" fmla="*/ 536799 w 1143000"/>
                <a:gd name="connsiteY210" fmla="*/ 588498 h 1092840"/>
                <a:gd name="connsiteX211" fmla="*/ 538861 w 1143000"/>
                <a:gd name="connsiteY211" fmla="*/ 570517 h 1092840"/>
                <a:gd name="connsiteX212" fmla="*/ 541260 w 1143000"/>
                <a:gd name="connsiteY212" fmla="*/ 552655 h 1092840"/>
                <a:gd name="connsiteX213" fmla="*/ 544004 w 1143000"/>
                <a:gd name="connsiteY213" fmla="*/ 534912 h 1092840"/>
                <a:gd name="connsiteX214" fmla="*/ 547089 w 1143000"/>
                <a:gd name="connsiteY214" fmla="*/ 517307 h 1092840"/>
                <a:gd name="connsiteX215" fmla="*/ 550518 w 1143000"/>
                <a:gd name="connsiteY215" fmla="*/ 499845 h 1092840"/>
                <a:gd name="connsiteX216" fmla="*/ 554285 w 1143000"/>
                <a:gd name="connsiteY216" fmla="*/ 482531 h 1092840"/>
                <a:gd name="connsiteX217" fmla="*/ 558404 w 1143000"/>
                <a:gd name="connsiteY217" fmla="*/ 465383 h 1092840"/>
                <a:gd name="connsiteX218" fmla="*/ 562865 w 1143000"/>
                <a:gd name="connsiteY218" fmla="*/ 448407 h 1092840"/>
                <a:gd name="connsiteX219" fmla="*/ 567675 w 1143000"/>
                <a:gd name="connsiteY219" fmla="*/ 431607 h 1092840"/>
                <a:gd name="connsiteX220" fmla="*/ 572832 w 1143000"/>
                <a:gd name="connsiteY220" fmla="*/ 415002 h 1092840"/>
                <a:gd name="connsiteX221" fmla="*/ 578342 w 1143000"/>
                <a:gd name="connsiteY221" fmla="*/ 398597 h 1092840"/>
                <a:gd name="connsiteX222" fmla="*/ 584204 w 1143000"/>
                <a:gd name="connsiteY222" fmla="*/ 382402 h 1092840"/>
                <a:gd name="connsiteX223" fmla="*/ 590413 w 1143000"/>
                <a:gd name="connsiteY223" fmla="*/ 366425 h 1092840"/>
                <a:gd name="connsiteX224" fmla="*/ 596980 w 1143000"/>
                <a:gd name="connsiteY224" fmla="*/ 350677 h 1092840"/>
                <a:gd name="connsiteX225" fmla="*/ 603904 w 1143000"/>
                <a:gd name="connsiteY225" fmla="*/ 335163 h 1092840"/>
                <a:gd name="connsiteX226" fmla="*/ 611180 w 1143000"/>
                <a:gd name="connsiteY226" fmla="*/ 319901 h 1092840"/>
                <a:gd name="connsiteX227" fmla="*/ 618818 w 1143000"/>
                <a:gd name="connsiteY227" fmla="*/ 304896 h 1092840"/>
                <a:gd name="connsiteX228" fmla="*/ 626814 w 1143000"/>
                <a:gd name="connsiteY228" fmla="*/ 290158 h 1092840"/>
                <a:gd name="connsiteX229" fmla="*/ 635171 w 1143000"/>
                <a:gd name="connsiteY229" fmla="*/ 275696 h 1092840"/>
                <a:gd name="connsiteX230" fmla="*/ 643885 w 1143000"/>
                <a:gd name="connsiteY230" fmla="*/ 261515 h 1092840"/>
                <a:gd name="connsiteX231" fmla="*/ 652966 w 1143000"/>
                <a:gd name="connsiteY231" fmla="*/ 247634 h 1092840"/>
                <a:gd name="connsiteX232" fmla="*/ 662409 w 1143000"/>
                <a:gd name="connsiteY232" fmla="*/ 234057 h 1092840"/>
                <a:gd name="connsiteX233" fmla="*/ 672219 w 1143000"/>
                <a:gd name="connsiteY233" fmla="*/ 220791 h 1092840"/>
                <a:gd name="connsiteX234" fmla="*/ 682390 w 1143000"/>
                <a:gd name="connsiteY234" fmla="*/ 207852 h 1092840"/>
                <a:gd name="connsiteX235" fmla="*/ 692933 w 1143000"/>
                <a:gd name="connsiteY235" fmla="*/ 195243 h 1092840"/>
                <a:gd name="connsiteX236" fmla="*/ 703847 w 1143000"/>
                <a:gd name="connsiteY236" fmla="*/ 182976 h 1092840"/>
                <a:gd name="connsiteX237" fmla="*/ 715129 w 1143000"/>
                <a:gd name="connsiteY237" fmla="*/ 171066 h 1092840"/>
                <a:gd name="connsiteX238" fmla="*/ 726781 w 1143000"/>
                <a:gd name="connsiteY238" fmla="*/ 159514 h 1092840"/>
                <a:gd name="connsiteX239" fmla="*/ 738810 w 1143000"/>
                <a:gd name="connsiteY239" fmla="*/ 148333 h 1092840"/>
                <a:gd name="connsiteX240" fmla="*/ 751210 w 1143000"/>
                <a:gd name="connsiteY240" fmla="*/ 137533 h 1092840"/>
                <a:gd name="connsiteX241" fmla="*/ 763986 w 1143000"/>
                <a:gd name="connsiteY241" fmla="*/ 127123 h 1092840"/>
                <a:gd name="connsiteX242" fmla="*/ 777133 w 1143000"/>
                <a:gd name="connsiteY242" fmla="*/ 117114 h 1092840"/>
                <a:gd name="connsiteX243" fmla="*/ 790667 w 1143000"/>
                <a:gd name="connsiteY243" fmla="*/ 107509 h 1092840"/>
                <a:gd name="connsiteX244" fmla="*/ 804572 w 1143000"/>
                <a:gd name="connsiteY244" fmla="*/ 98328 h 1092840"/>
                <a:gd name="connsiteX245" fmla="*/ 818863 w 1143000"/>
                <a:gd name="connsiteY245" fmla="*/ 89570 h 1092840"/>
                <a:gd name="connsiteX246" fmla="*/ 833534 w 1143000"/>
                <a:gd name="connsiteY246" fmla="*/ 81256 h 1092840"/>
                <a:gd name="connsiteX247" fmla="*/ 848587 w 1143000"/>
                <a:gd name="connsiteY247" fmla="*/ 73385 h 1092840"/>
                <a:gd name="connsiteX248" fmla="*/ 861587 w 1143000"/>
                <a:gd name="connsiteY248" fmla="*/ 67061 h 1092840"/>
                <a:gd name="connsiteX249" fmla="*/ 874863 w 1143000"/>
                <a:gd name="connsiteY249" fmla="*/ 60985 h 1092840"/>
                <a:gd name="connsiteX250" fmla="*/ 888406 w 1143000"/>
                <a:gd name="connsiteY250" fmla="*/ 55161 h 1092840"/>
                <a:gd name="connsiteX251" fmla="*/ 902211 w 1143000"/>
                <a:gd name="connsiteY251" fmla="*/ 49584 h 1092840"/>
                <a:gd name="connsiteX252" fmla="*/ 916268 w 1143000"/>
                <a:gd name="connsiteY252" fmla="*/ 44275 h 1092840"/>
                <a:gd name="connsiteX253" fmla="*/ 930568 w 1143000"/>
                <a:gd name="connsiteY253" fmla="*/ 39227 h 1092840"/>
                <a:gd name="connsiteX254" fmla="*/ 945102 w 1143000"/>
                <a:gd name="connsiteY254" fmla="*/ 34451 h 1092840"/>
                <a:gd name="connsiteX255" fmla="*/ 959859 w 1143000"/>
                <a:gd name="connsiteY255" fmla="*/ 29956 h 1092840"/>
                <a:gd name="connsiteX256" fmla="*/ 974826 w 1143000"/>
                <a:gd name="connsiteY256" fmla="*/ 25736 h 1092840"/>
                <a:gd name="connsiteX257" fmla="*/ 990002 w 1143000"/>
                <a:gd name="connsiteY257" fmla="*/ 21813 h 1092840"/>
                <a:gd name="connsiteX258" fmla="*/ 1005374 w 1143000"/>
                <a:gd name="connsiteY258" fmla="*/ 18179 h 1092840"/>
                <a:gd name="connsiteX259" fmla="*/ 1020930 w 1143000"/>
                <a:gd name="connsiteY259" fmla="*/ 14846 h 1092840"/>
                <a:gd name="connsiteX260" fmla="*/ 1036669 w 1143000"/>
                <a:gd name="connsiteY260" fmla="*/ 11817 h 1092840"/>
                <a:gd name="connsiteX261" fmla="*/ 1052569 w 1143000"/>
                <a:gd name="connsiteY261" fmla="*/ 9103 h 1092840"/>
                <a:gd name="connsiteX262" fmla="*/ 1068636 w 1143000"/>
                <a:gd name="connsiteY262" fmla="*/ 6703 h 1092840"/>
                <a:gd name="connsiteX263" fmla="*/ 1084850 w 1143000"/>
                <a:gd name="connsiteY263" fmla="*/ 4627 h 1092840"/>
                <a:gd name="connsiteX264" fmla="*/ 1101202 w 1143000"/>
                <a:gd name="connsiteY264" fmla="*/ 2875 h 1092840"/>
                <a:gd name="connsiteX265" fmla="*/ 1117688 w 1143000"/>
                <a:gd name="connsiteY265" fmla="*/ 1460 h 1092840"/>
                <a:gd name="connsiteX266" fmla="*/ 1134298 w 1143000"/>
                <a:gd name="connsiteY266" fmla="*/ 379 h 1092840"/>
                <a:gd name="connsiteX267" fmla="*/ 1143000 w 1143000"/>
                <a:gd name="connsiteY267" fmla="*/ 0 h 109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43000" h="1092840">
                  <a:moveTo>
                    <a:pt x="1143000" y="0"/>
                  </a:moveTo>
                  <a:lnTo>
                    <a:pt x="1143000" y="99531"/>
                  </a:lnTo>
                  <a:lnTo>
                    <a:pt x="1131798" y="100952"/>
                  </a:lnTo>
                  <a:lnTo>
                    <a:pt x="1110140" y="104580"/>
                  </a:lnTo>
                  <a:lnTo>
                    <a:pt x="1089117" y="108980"/>
                  </a:lnTo>
                  <a:lnTo>
                    <a:pt x="1068712" y="114128"/>
                  </a:lnTo>
                  <a:lnTo>
                    <a:pt x="1048926" y="119990"/>
                  </a:lnTo>
                  <a:lnTo>
                    <a:pt x="1029745" y="126533"/>
                  </a:lnTo>
                  <a:lnTo>
                    <a:pt x="1011168" y="133733"/>
                  </a:lnTo>
                  <a:lnTo>
                    <a:pt x="993178" y="141561"/>
                  </a:lnTo>
                  <a:lnTo>
                    <a:pt x="975768" y="149980"/>
                  </a:lnTo>
                  <a:lnTo>
                    <a:pt x="958935" y="158966"/>
                  </a:lnTo>
                  <a:lnTo>
                    <a:pt x="942668" y="168485"/>
                  </a:lnTo>
                  <a:lnTo>
                    <a:pt x="926959" y="178514"/>
                  </a:lnTo>
                  <a:lnTo>
                    <a:pt x="911801" y="189019"/>
                  </a:lnTo>
                  <a:lnTo>
                    <a:pt x="897182" y="199971"/>
                  </a:lnTo>
                  <a:lnTo>
                    <a:pt x="883096" y="211338"/>
                  </a:lnTo>
                  <a:lnTo>
                    <a:pt x="869539" y="223095"/>
                  </a:lnTo>
                  <a:lnTo>
                    <a:pt x="856496" y="235205"/>
                  </a:lnTo>
                  <a:lnTo>
                    <a:pt x="843963" y="247648"/>
                  </a:lnTo>
                  <a:lnTo>
                    <a:pt x="831929" y="260386"/>
                  </a:lnTo>
                  <a:lnTo>
                    <a:pt x="820391" y="273391"/>
                  </a:lnTo>
                  <a:lnTo>
                    <a:pt x="809334" y="286639"/>
                  </a:lnTo>
                  <a:lnTo>
                    <a:pt x="798758" y="300091"/>
                  </a:lnTo>
                  <a:lnTo>
                    <a:pt x="788643" y="313725"/>
                  </a:lnTo>
                  <a:lnTo>
                    <a:pt x="778991" y="327511"/>
                  </a:lnTo>
                  <a:lnTo>
                    <a:pt x="769791" y="341415"/>
                  </a:lnTo>
                  <a:lnTo>
                    <a:pt x="761038" y="355406"/>
                  </a:lnTo>
                  <a:lnTo>
                    <a:pt x="752714" y="369458"/>
                  </a:lnTo>
                  <a:lnTo>
                    <a:pt x="744819" y="383544"/>
                  </a:lnTo>
                  <a:lnTo>
                    <a:pt x="737343" y="397630"/>
                  </a:lnTo>
                  <a:lnTo>
                    <a:pt x="730281" y="411688"/>
                  </a:lnTo>
                  <a:lnTo>
                    <a:pt x="723619" y="425683"/>
                  </a:lnTo>
                  <a:lnTo>
                    <a:pt x="717352" y="439592"/>
                  </a:lnTo>
                  <a:lnTo>
                    <a:pt x="711466" y="453388"/>
                  </a:lnTo>
                  <a:lnTo>
                    <a:pt x="705967" y="467031"/>
                  </a:lnTo>
                  <a:lnTo>
                    <a:pt x="700833" y="480498"/>
                  </a:lnTo>
                  <a:lnTo>
                    <a:pt x="691642" y="506779"/>
                  </a:lnTo>
                  <a:lnTo>
                    <a:pt x="683828" y="531998"/>
                  </a:lnTo>
                  <a:lnTo>
                    <a:pt x="677338" y="555908"/>
                  </a:lnTo>
                  <a:lnTo>
                    <a:pt x="672090" y="578279"/>
                  </a:lnTo>
                  <a:lnTo>
                    <a:pt x="668033" y="598870"/>
                  </a:lnTo>
                  <a:lnTo>
                    <a:pt x="665090" y="617446"/>
                  </a:lnTo>
                  <a:lnTo>
                    <a:pt x="662823" y="635299"/>
                  </a:lnTo>
                  <a:lnTo>
                    <a:pt x="660885" y="653561"/>
                  </a:lnTo>
                  <a:lnTo>
                    <a:pt x="659290" y="672180"/>
                  </a:lnTo>
                  <a:lnTo>
                    <a:pt x="658033" y="691113"/>
                  </a:lnTo>
                  <a:lnTo>
                    <a:pt x="657114" y="710313"/>
                  </a:lnTo>
                  <a:lnTo>
                    <a:pt x="656547" y="729728"/>
                  </a:lnTo>
                  <a:lnTo>
                    <a:pt x="656323" y="749314"/>
                  </a:lnTo>
                  <a:lnTo>
                    <a:pt x="656452" y="769024"/>
                  </a:lnTo>
                  <a:lnTo>
                    <a:pt x="656933" y="788809"/>
                  </a:lnTo>
                  <a:lnTo>
                    <a:pt x="657771" y="808624"/>
                  </a:lnTo>
                  <a:lnTo>
                    <a:pt x="658966" y="828419"/>
                  </a:lnTo>
                  <a:lnTo>
                    <a:pt x="660528" y="848153"/>
                  </a:lnTo>
                  <a:lnTo>
                    <a:pt x="662452" y="867767"/>
                  </a:lnTo>
                  <a:lnTo>
                    <a:pt x="664742" y="887225"/>
                  </a:lnTo>
                  <a:lnTo>
                    <a:pt x="667404" y="906473"/>
                  </a:lnTo>
                  <a:lnTo>
                    <a:pt x="670438" y="925463"/>
                  </a:lnTo>
                  <a:lnTo>
                    <a:pt x="673847" y="944154"/>
                  </a:lnTo>
                  <a:lnTo>
                    <a:pt x="677638" y="962497"/>
                  </a:lnTo>
                  <a:lnTo>
                    <a:pt x="681809" y="980440"/>
                  </a:lnTo>
                  <a:lnTo>
                    <a:pt x="686366" y="997940"/>
                  </a:lnTo>
                  <a:lnTo>
                    <a:pt x="691309" y="1014950"/>
                  </a:lnTo>
                  <a:lnTo>
                    <a:pt x="696638" y="1031421"/>
                  </a:lnTo>
                  <a:lnTo>
                    <a:pt x="702367" y="1047302"/>
                  </a:lnTo>
                  <a:lnTo>
                    <a:pt x="708486" y="1062554"/>
                  </a:lnTo>
                  <a:lnTo>
                    <a:pt x="715005" y="1077126"/>
                  </a:lnTo>
                  <a:lnTo>
                    <a:pt x="721924" y="1090969"/>
                  </a:lnTo>
                  <a:lnTo>
                    <a:pt x="706938" y="1092007"/>
                  </a:lnTo>
                  <a:lnTo>
                    <a:pt x="692000" y="1092636"/>
                  </a:lnTo>
                  <a:lnTo>
                    <a:pt x="677123" y="1092840"/>
                  </a:lnTo>
                  <a:lnTo>
                    <a:pt x="662328" y="1092621"/>
                  </a:lnTo>
                  <a:lnTo>
                    <a:pt x="647623" y="1091965"/>
                  </a:lnTo>
                  <a:lnTo>
                    <a:pt x="633023" y="1090860"/>
                  </a:lnTo>
                  <a:lnTo>
                    <a:pt x="618542" y="1089302"/>
                  </a:lnTo>
                  <a:lnTo>
                    <a:pt x="604195" y="1087284"/>
                  </a:lnTo>
                  <a:lnTo>
                    <a:pt x="589989" y="1084793"/>
                  </a:lnTo>
                  <a:lnTo>
                    <a:pt x="575951" y="1081826"/>
                  </a:lnTo>
                  <a:lnTo>
                    <a:pt x="548403" y="1074417"/>
                  </a:lnTo>
                  <a:lnTo>
                    <a:pt x="521665" y="1064988"/>
                  </a:lnTo>
                  <a:lnTo>
                    <a:pt x="495846" y="1053474"/>
                  </a:lnTo>
                  <a:lnTo>
                    <a:pt x="471055" y="1039812"/>
                  </a:lnTo>
                  <a:lnTo>
                    <a:pt x="447408" y="1023926"/>
                  </a:lnTo>
                  <a:lnTo>
                    <a:pt x="436041" y="1015130"/>
                  </a:lnTo>
                  <a:lnTo>
                    <a:pt x="425003" y="1005754"/>
                  </a:lnTo>
                  <a:lnTo>
                    <a:pt x="414307" y="995788"/>
                  </a:lnTo>
                  <a:lnTo>
                    <a:pt x="403964" y="985225"/>
                  </a:lnTo>
                  <a:lnTo>
                    <a:pt x="393988" y="974059"/>
                  </a:lnTo>
                  <a:lnTo>
                    <a:pt x="384398" y="962278"/>
                  </a:lnTo>
                  <a:lnTo>
                    <a:pt x="375198" y="949873"/>
                  </a:lnTo>
                  <a:lnTo>
                    <a:pt x="366407" y="936839"/>
                  </a:lnTo>
                  <a:lnTo>
                    <a:pt x="358045" y="923163"/>
                  </a:lnTo>
                  <a:lnTo>
                    <a:pt x="350112" y="908839"/>
                  </a:lnTo>
                  <a:lnTo>
                    <a:pt x="342636" y="893863"/>
                  </a:lnTo>
                  <a:lnTo>
                    <a:pt x="335621" y="878220"/>
                  </a:lnTo>
                  <a:lnTo>
                    <a:pt x="329088" y="861905"/>
                  </a:lnTo>
                  <a:lnTo>
                    <a:pt x="323045" y="844910"/>
                  </a:lnTo>
                  <a:lnTo>
                    <a:pt x="317507" y="827224"/>
                  </a:lnTo>
                  <a:lnTo>
                    <a:pt x="312493" y="808838"/>
                  </a:lnTo>
                  <a:lnTo>
                    <a:pt x="308007" y="789748"/>
                  </a:lnTo>
                  <a:lnTo>
                    <a:pt x="304073" y="769938"/>
                  </a:lnTo>
                  <a:lnTo>
                    <a:pt x="300697" y="749409"/>
                  </a:lnTo>
                  <a:lnTo>
                    <a:pt x="297902" y="728147"/>
                  </a:lnTo>
                  <a:lnTo>
                    <a:pt x="295687" y="706147"/>
                  </a:lnTo>
                  <a:lnTo>
                    <a:pt x="294083" y="683394"/>
                  </a:lnTo>
                  <a:lnTo>
                    <a:pt x="293092" y="659884"/>
                  </a:lnTo>
                  <a:lnTo>
                    <a:pt x="292731" y="635613"/>
                  </a:lnTo>
                  <a:lnTo>
                    <a:pt x="293016" y="610565"/>
                  </a:lnTo>
                  <a:lnTo>
                    <a:pt x="271916" y="609608"/>
                  </a:lnTo>
                  <a:lnTo>
                    <a:pt x="251459" y="607641"/>
                  </a:lnTo>
                  <a:lnTo>
                    <a:pt x="231649" y="604694"/>
                  </a:lnTo>
                  <a:lnTo>
                    <a:pt x="212506" y="600779"/>
                  </a:lnTo>
                  <a:lnTo>
                    <a:pt x="194020" y="595917"/>
                  </a:lnTo>
                  <a:lnTo>
                    <a:pt x="176210" y="590132"/>
                  </a:lnTo>
                  <a:lnTo>
                    <a:pt x="159082" y="583437"/>
                  </a:lnTo>
                  <a:lnTo>
                    <a:pt x="142634" y="575860"/>
                  </a:lnTo>
                  <a:lnTo>
                    <a:pt x="126877" y="567417"/>
                  </a:lnTo>
                  <a:lnTo>
                    <a:pt x="111820" y="558127"/>
                  </a:lnTo>
                  <a:lnTo>
                    <a:pt x="97462" y="548012"/>
                  </a:lnTo>
                  <a:lnTo>
                    <a:pt x="83820" y="537093"/>
                  </a:lnTo>
                  <a:lnTo>
                    <a:pt x="70896" y="525393"/>
                  </a:lnTo>
                  <a:lnTo>
                    <a:pt x="58696" y="512922"/>
                  </a:lnTo>
                  <a:lnTo>
                    <a:pt x="47224" y="499707"/>
                  </a:lnTo>
                  <a:lnTo>
                    <a:pt x="36491" y="485769"/>
                  </a:lnTo>
                  <a:lnTo>
                    <a:pt x="26500" y="471131"/>
                  </a:lnTo>
                  <a:lnTo>
                    <a:pt x="17262" y="455802"/>
                  </a:lnTo>
                  <a:lnTo>
                    <a:pt x="8781" y="439811"/>
                  </a:lnTo>
                  <a:lnTo>
                    <a:pt x="0" y="419692"/>
                  </a:lnTo>
                  <a:lnTo>
                    <a:pt x="500" y="417887"/>
                  </a:lnTo>
                  <a:lnTo>
                    <a:pt x="11771" y="429583"/>
                  </a:lnTo>
                  <a:lnTo>
                    <a:pt x="23705" y="440735"/>
                  </a:lnTo>
                  <a:lnTo>
                    <a:pt x="36276" y="451340"/>
                  </a:lnTo>
                  <a:lnTo>
                    <a:pt x="49453" y="461373"/>
                  </a:lnTo>
                  <a:lnTo>
                    <a:pt x="63215" y="470831"/>
                  </a:lnTo>
                  <a:lnTo>
                    <a:pt x="77524" y="479693"/>
                  </a:lnTo>
                  <a:lnTo>
                    <a:pt x="92367" y="487945"/>
                  </a:lnTo>
                  <a:lnTo>
                    <a:pt x="107705" y="495579"/>
                  </a:lnTo>
                  <a:lnTo>
                    <a:pt x="123515" y="502579"/>
                  </a:lnTo>
                  <a:lnTo>
                    <a:pt x="139767" y="508931"/>
                  </a:lnTo>
                  <a:lnTo>
                    <a:pt x="156439" y="514622"/>
                  </a:lnTo>
                  <a:lnTo>
                    <a:pt x="173496" y="519636"/>
                  </a:lnTo>
                  <a:lnTo>
                    <a:pt x="190915" y="523964"/>
                  </a:lnTo>
                  <a:lnTo>
                    <a:pt x="208673" y="527593"/>
                  </a:lnTo>
                  <a:lnTo>
                    <a:pt x="226730" y="530502"/>
                  </a:lnTo>
                  <a:lnTo>
                    <a:pt x="245073" y="532688"/>
                  </a:lnTo>
                  <a:lnTo>
                    <a:pt x="263664" y="534131"/>
                  </a:lnTo>
                  <a:lnTo>
                    <a:pt x="282478" y="534817"/>
                  </a:lnTo>
                  <a:lnTo>
                    <a:pt x="301488" y="534736"/>
                  </a:lnTo>
                  <a:lnTo>
                    <a:pt x="320669" y="533869"/>
                  </a:lnTo>
                  <a:lnTo>
                    <a:pt x="339993" y="532212"/>
                  </a:lnTo>
                  <a:lnTo>
                    <a:pt x="359431" y="529741"/>
                  </a:lnTo>
                  <a:lnTo>
                    <a:pt x="378955" y="526450"/>
                  </a:lnTo>
                  <a:lnTo>
                    <a:pt x="409093" y="519712"/>
                  </a:lnTo>
                  <a:lnTo>
                    <a:pt x="429822" y="513912"/>
                  </a:lnTo>
                  <a:lnTo>
                    <a:pt x="439988" y="510722"/>
                  </a:lnTo>
                  <a:lnTo>
                    <a:pt x="433941" y="526388"/>
                  </a:lnTo>
                  <a:lnTo>
                    <a:pt x="428622" y="542650"/>
                  </a:lnTo>
                  <a:lnTo>
                    <a:pt x="424026" y="559446"/>
                  </a:lnTo>
                  <a:lnTo>
                    <a:pt x="420136" y="576722"/>
                  </a:lnTo>
                  <a:lnTo>
                    <a:pt x="416955" y="594408"/>
                  </a:lnTo>
                  <a:lnTo>
                    <a:pt x="414469" y="612451"/>
                  </a:lnTo>
                  <a:lnTo>
                    <a:pt x="412669" y="630785"/>
                  </a:lnTo>
                  <a:lnTo>
                    <a:pt x="411545" y="649351"/>
                  </a:lnTo>
                  <a:lnTo>
                    <a:pt x="411098" y="668089"/>
                  </a:lnTo>
                  <a:lnTo>
                    <a:pt x="411307" y="686942"/>
                  </a:lnTo>
                  <a:lnTo>
                    <a:pt x="412174" y="705842"/>
                  </a:lnTo>
                  <a:lnTo>
                    <a:pt x="413688" y="724733"/>
                  </a:lnTo>
                  <a:lnTo>
                    <a:pt x="415836" y="743557"/>
                  </a:lnTo>
                  <a:lnTo>
                    <a:pt x="418617" y="762243"/>
                  </a:lnTo>
                  <a:lnTo>
                    <a:pt x="422017" y="780743"/>
                  </a:lnTo>
                  <a:lnTo>
                    <a:pt x="426026" y="798986"/>
                  </a:lnTo>
                  <a:lnTo>
                    <a:pt x="430646" y="816919"/>
                  </a:lnTo>
                  <a:lnTo>
                    <a:pt x="435860" y="834481"/>
                  </a:lnTo>
                  <a:lnTo>
                    <a:pt x="441660" y="851605"/>
                  </a:lnTo>
                  <a:lnTo>
                    <a:pt x="448041" y="868234"/>
                  </a:lnTo>
                  <a:lnTo>
                    <a:pt x="454993" y="884310"/>
                  </a:lnTo>
                  <a:lnTo>
                    <a:pt x="462508" y="899768"/>
                  </a:lnTo>
                  <a:lnTo>
                    <a:pt x="470579" y="914549"/>
                  </a:lnTo>
                  <a:lnTo>
                    <a:pt x="479194" y="928597"/>
                  </a:lnTo>
                  <a:lnTo>
                    <a:pt x="488351" y="941839"/>
                  </a:lnTo>
                  <a:lnTo>
                    <a:pt x="498036" y="954230"/>
                  </a:lnTo>
                  <a:lnTo>
                    <a:pt x="508242" y="965697"/>
                  </a:lnTo>
                  <a:lnTo>
                    <a:pt x="518965" y="976187"/>
                  </a:lnTo>
                  <a:lnTo>
                    <a:pt x="530189" y="985640"/>
                  </a:lnTo>
                  <a:lnTo>
                    <a:pt x="541913" y="993987"/>
                  </a:lnTo>
                  <a:lnTo>
                    <a:pt x="566818" y="1007135"/>
                  </a:lnTo>
                  <a:lnTo>
                    <a:pt x="579980" y="1011821"/>
                  </a:lnTo>
                  <a:lnTo>
                    <a:pt x="574594" y="993825"/>
                  </a:lnTo>
                  <a:lnTo>
                    <a:pt x="569523" y="975726"/>
                  </a:lnTo>
                  <a:lnTo>
                    <a:pt x="564756" y="957535"/>
                  </a:lnTo>
                  <a:lnTo>
                    <a:pt x="560308" y="939254"/>
                  </a:lnTo>
                  <a:lnTo>
                    <a:pt x="556170" y="920901"/>
                  </a:lnTo>
                  <a:lnTo>
                    <a:pt x="552351" y="902482"/>
                  </a:lnTo>
                  <a:lnTo>
                    <a:pt x="548842" y="884010"/>
                  </a:lnTo>
                  <a:lnTo>
                    <a:pt x="545656" y="865486"/>
                  </a:lnTo>
                  <a:lnTo>
                    <a:pt x="542784" y="846929"/>
                  </a:lnTo>
                  <a:lnTo>
                    <a:pt x="540237" y="828338"/>
                  </a:lnTo>
                  <a:lnTo>
                    <a:pt x="538008" y="809734"/>
                  </a:lnTo>
                  <a:lnTo>
                    <a:pt x="536103" y="791119"/>
                  </a:lnTo>
                  <a:lnTo>
                    <a:pt x="534523" y="772504"/>
                  </a:lnTo>
                  <a:lnTo>
                    <a:pt x="533265" y="753904"/>
                  </a:lnTo>
                  <a:lnTo>
                    <a:pt x="532337" y="735319"/>
                  </a:lnTo>
                  <a:lnTo>
                    <a:pt x="531737" y="716766"/>
                  </a:lnTo>
                  <a:lnTo>
                    <a:pt x="531461" y="698252"/>
                  </a:lnTo>
                  <a:lnTo>
                    <a:pt x="531518" y="679780"/>
                  </a:lnTo>
                  <a:lnTo>
                    <a:pt x="531908" y="661370"/>
                  </a:lnTo>
                  <a:lnTo>
                    <a:pt x="532627" y="643027"/>
                  </a:lnTo>
                  <a:lnTo>
                    <a:pt x="533680" y="624760"/>
                  </a:lnTo>
                  <a:lnTo>
                    <a:pt x="535070" y="606584"/>
                  </a:lnTo>
                  <a:lnTo>
                    <a:pt x="536799" y="588498"/>
                  </a:lnTo>
                  <a:lnTo>
                    <a:pt x="538861" y="570517"/>
                  </a:lnTo>
                  <a:lnTo>
                    <a:pt x="541260" y="552655"/>
                  </a:lnTo>
                  <a:lnTo>
                    <a:pt x="544004" y="534912"/>
                  </a:lnTo>
                  <a:lnTo>
                    <a:pt x="547089" y="517307"/>
                  </a:lnTo>
                  <a:lnTo>
                    <a:pt x="550518" y="499845"/>
                  </a:lnTo>
                  <a:lnTo>
                    <a:pt x="554285" y="482531"/>
                  </a:lnTo>
                  <a:lnTo>
                    <a:pt x="558404" y="465383"/>
                  </a:lnTo>
                  <a:lnTo>
                    <a:pt x="562865" y="448407"/>
                  </a:lnTo>
                  <a:lnTo>
                    <a:pt x="567675" y="431607"/>
                  </a:lnTo>
                  <a:lnTo>
                    <a:pt x="572832" y="415002"/>
                  </a:lnTo>
                  <a:lnTo>
                    <a:pt x="578342" y="398597"/>
                  </a:lnTo>
                  <a:lnTo>
                    <a:pt x="584204" y="382402"/>
                  </a:lnTo>
                  <a:lnTo>
                    <a:pt x="590413" y="366425"/>
                  </a:lnTo>
                  <a:lnTo>
                    <a:pt x="596980" y="350677"/>
                  </a:lnTo>
                  <a:lnTo>
                    <a:pt x="603904" y="335163"/>
                  </a:lnTo>
                  <a:lnTo>
                    <a:pt x="611180" y="319901"/>
                  </a:lnTo>
                  <a:lnTo>
                    <a:pt x="618818" y="304896"/>
                  </a:lnTo>
                  <a:lnTo>
                    <a:pt x="626814" y="290158"/>
                  </a:lnTo>
                  <a:lnTo>
                    <a:pt x="635171" y="275696"/>
                  </a:lnTo>
                  <a:lnTo>
                    <a:pt x="643885" y="261515"/>
                  </a:lnTo>
                  <a:lnTo>
                    <a:pt x="652966" y="247634"/>
                  </a:lnTo>
                  <a:lnTo>
                    <a:pt x="662409" y="234057"/>
                  </a:lnTo>
                  <a:lnTo>
                    <a:pt x="672219" y="220791"/>
                  </a:lnTo>
                  <a:lnTo>
                    <a:pt x="682390" y="207852"/>
                  </a:lnTo>
                  <a:lnTo>
                    <a:pt x="692933" y="195243"/>
                  </a:lnTo>
                  <a:lnTo>
                    <a:pt x="703847" y="182976"/>
                  </a:lnTo>
                  <a:lnTo>
                    <a:pt x="715129" y="171066"/>
                  </a:lnTo>
                  <a:lnTo>
                    <a:pt x="726781" y="159514"/>
                  </a:lnTo>
                  <a:lnTo>
                    <a:pt x="738810" y="148333"/>
                  </a:lnTo>
                  <a:lnTo>
                    <a:pt x="751210" y="137533"/>
                  </a:lnTo>
                  <a:lnTo>
                    <a:pt x="763986" y="127123"/>
                  </a:lnTo>
                  <a:lnTo>
                    <a:pt x="777133" y="117114"/>
                  </a:lnTo>
                  <a:lnTo>
                    <a:pt x="790667" y="107509"/>
                  </a:lnTo>
                  <a:lnTo>
                    <a:pt x="804572" y="98328"/>
                  </a:lnTo>
                  <a:lnTo>
                    <a:pt x="818863" y="89570"/>
                  </a:lnTo>
                  <a:lnTo>
                    <a:pt x="833534" y="81256"/>
                  </a:lnTo>
                  <a:lnTo>
                    <a:pt x="848587" y="73385"/>
                  </a:lnTo>
                  <a:lnTo>
                    <a:pt x="861587" y="67061"/>
                  </a:lnTo>
                  <a:lnTo>
                    <a:pt x="874863" y="60985"/>
                  </a:lnTo>
                  <a:lnTo>
                    <a:pt x="888406" y="55161"/>
                  </a:lnTo>
                  <a:lnTo>
                    <a:pt x="902211" y="49584"/>
                  </a:lnTo>
                  <a:lnTo>
                    <a:pt x="916268" y="44275"/>
                  </a:lnTo>
                  <a:lnTo>
                    <a:pt x="930568" y="39227"/>
                  </a:lnTo>
                  <a:lnTo>
                    <a:pt x="945102" y="34451"/>
                  </a:lnTo>
                  <a:lnTo>
                    <a:pt x="959859" y="29956"/>
                  </a:lnTo>
                  <a:lnTo>
                    <a:pt x="974826" y="25736"/>
                  </a:lnTo>
                  <a:lnTo>
                    <a:pt x="990002" y="21813"/>
                  </a:lnTo>
                  <a:lnTo>
                    <a:pt x="1005374" y="18179"/>
                  </a:lnTo>
                  <a:lnTo>
                    <a:pt x="1020930" y="14846"/>
                  </a:lnTo>
                  <a:lnTo>
                    <a:pt x="1036669" y="11817"/>
                  </a:lnTo>
                  <a:lnTo>
                    <a:pt x="1052569" y="9103"/>
                  </a:lnTo>
                  <a:lnTo>
                    <a:pt x="1068636" y="6703"/>
                  </a:lnTo>
                  <a:lnTo>
                    <a:pt x="1084850" y="4627"/>
                  </a:lnTo>
                  <a:lnTo>
                    <a:pt x="1101202" y="2875"/>
                  </a:lnTo>
                  <a:lnTo>
                    <a:pt x="1117688" y="1460"/>
                  </a:lnTo>
                  <a:lnTo>
                    <a:pt x="1134298" y="379"/>
                  </a:lnTo>
                  <a:lnTo>
                    <a:pt x="114300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90A942-83AC-241F-6E87-AC632C780A70}"/>
                </a:ext>
              </a:extLst>
            </p:cNvPr>
            <p:cNvSpPr/>
            <p:nvPr userDrawn="1"/>
          </p:nvSpPr>
          <p:spPr>
            <a:xfrm>
              <a:off x="11900272" y="5542060"/>
              <a:ext cx="291728" cy="787651"/>
            </a:xfrm>
            <a:custGeom>
              <a:avLst/>
              <a:gdLst>
                <a:gd name="connsiteX0" fmla="*/ 291728 w 291728"/>
                <a:gd name="connsiteY0" fmla="*/ 0 h 787651"/>
                <a:gd name="connsiteX1" fmla="*/ 291728 w 291728"/>
                <a:gd name="connsiteY1" fmla="*/ 79686 h 787651"/>
                <a:gd name="connsiteX2" fmla="*/ 280245 w 291728"/>
                <a:gd name="connsiteY2" fmla="*/ 87145 h 787651"/>
                <a:gd name="connsiteX3" fmla="*/ 267707 w 291728"/>
                <a:gd name="connsiteY3" fmla="*/ 96031 h 787651"/>
                <a:gd name="connsiteX4" fmla="*/ 255540 w 291728"/>
                <a:gd name="connsiteY4" fmla="*/ 105422 h 787651"/>
                <a:gd name="connsiteX5" fmla="*/ 243754 w 291728"/>
                <a:gd name="connsiteY5" fmla="*/ 115322 h 787651"/>
                <a:gd name="connsiteX6" fmla="*/ 232388 w 291728"/>
                <a:gd name="connsiteY6" fmla="*/ 125712 h 787651"/>
                <a:gd name="connsiteX7" fmla="*/ 221450 w 291728"/>
                <a:gd name="connsiteY7" fmla="*/ 136598 h 787651"/>
                <a:gd name="connsiteX8" fmla="*/ 210968 w 291728"/>
                <a:gd name="connsiteY8" fmla="*/ 147970 h 787651"/>
                <a:gd name="connsiteX9" fmla="*/ 200968 w 291728"/>
                <a:gd name="connsiteY9" fmla="*/ 159822 h 787651"/>
                <a:gd name="connsiteX10" fmla="*/ 191468 w 291728"/>
                <a:gd name="connsiteY10" fmla="*/ 172151 h 787651"/>
                <a:gd name="connsiteX11" fmla="*/ 182497 w 291728"/>
                <a:gd name="connsiteY11" fmla="*/ 184946 h 787651"/>
                <a:gd name="connsiteX12" fmla="*/ 174068 w 291728"/>
                <a:gd name="connsiteY12" fmla="*/ 198208 h 787651"/>
                <a:gd name="connsiteX13" fmla="*/ 166206 w 291728"/>
                <a:gd name="connsiteY13" fmla="*/ 211928 h 787651"/>
                <a:gd name="connsiteX14" fmla="*/ 158940 w 291728"/>
                <a:gd name="connsiteY14" fmla="*/ 226099 h 787651"/>
                <a:gd name="connsiteX15" fmla="*/ 152282 w 291728"/>
                <a:gd name="connsiteY15" fmla="*/ 240713 h 787651"/>
                <a:gd name="connsiteX16" fmla="*/ 146268 w 291728"/>
                <a:gd name="connsiteY16" fmla="*/ 255775 h 787651"/>
                <a:gd name="connsiteX17" fmla="*/ 140906 w 291728"/>
                <a:gd name="connsiteY17" fmla="*/ 271271 h 787651"/>
                <a:gd name="connsiteX18" fmla="*/ 136230 w 291728"/>
                <a:gd name="connsiteY18" fmla="*/ 287195 h 787651"/>
                <a:gd name="connsiteX19" fmla="*/ 132258 w 291728"/>
                <a:gd name="connsiteY19" fmla="*/ 303547 h 787651"/>
                <a:gd name="connsiteX20" fmla="*/ 129011 w 291728"/>
                <a:gd name="connsiteY20" fmla="*/ 320314 h 787651"/>
                <a:gd name="connsiteX21" fmla="*/ 126515 w 291728"/>
                <a:gd name="connsiteY21" fmla="*/ 337495 h 787651"/>
                <a:gd name="connsiteX22" fmla="*/ 124787 w 291728"/>
                <a:gd name="connsiteY22" fmla="*/ 355086 h 787651"/>
                <a:gd name="connsiteX23" fmla="*/ 123853 w 291728"/>
                <a:gd name="connsiteY23" fmla="*/ 373081 h 787651"/>
                <a:gd name="connsiteX24" fmla="*/ 123739 w 291728"/>
                <a:gd name="connsiteY24" fmla="*/ 391467 h 787651"/>
                <a:gd name="connsiteX25" fmla="*/ 124463 w 291728"/>
                <a:gd name="connsiteY25" fmla="*/ 410248 h 787651"/>
                <a:gd name="connsiteX26" fmla="*/ 126049 w 291728"/>
                <a:gd name="connsiteY26" fmla="*/ 429415 h 787651"/>
                <a:gd name="connsiteX27" fmla="*/ 128515 w 291728"/>
                <a:gd name="connsiteY27" fmla="*/ 448963 h 787651"/>
                <a:gd name="connsiteX28" fmla="*/ 131892 w 291728"/>
                <a:gd name="connsiteY28" fmla="*/ 468882 h 787651"/>
                <a:gd name="connsiteX29" fmla="*/ 153078 w 291728"/>
                <a:gd name="connsiteY29" fmla="*/ 570835 h 787651"/>
                <a:gd name="connsiteX30" fmla="*/ 178054 w 291728"/>
                <a:gd name="connsiteY30" fmla="*/ 634326 h 787651"/>
                <a:gd name="connsiteX31" fmla="*/ 222940 w 291728"/>
                <a:gd name="connsiteY31" fmla="*/ 685903 h 787651"/>
                <a:gd name="connsiteX32" fmla="*/ 291728 w 291728"/>
                <a:gd name="connsiteY32" fmla="*/ 751682 h 787651"/>
                <a:gd name="connsiteX33" fmla="*/ 291728 w 291728"/>
                <a:gd name="connsiteY33" fmla="*/ 758691 h 787651"/>
                <a:gd name="connsiteX34" fmla="*/ 277964 w 291728"/>
                <a:gd name="connsiteY34" fmla="*/ 765694 h 787651"/>
                <a:gd name="connsiteX35" fmla="*/ 253416 w 291728"/>
                <a:gd name="connsiteY35" fmla="*/ 775994 h 787651"/>
                <a:gd name="connsiteX36" fmla="*/ 228083 w 291728"/>
                <a:gd name="connsiteY36" fmla="*/ 782704 h 787651"/>
                <a:gd name="connsiteX37" fmla="*/ 202111 w 291728"/>
                <a:gd name="connsiteY37" fmla="*/ 786389 h 787651"/>
                <a:gd name="connsiteX38" fmla="*/ 186368 w 291728"/>
                <a:gd name="connsiteY38" fmla="*/ 787651 h 787651"/>
                <a:gd name="connsiteX39" fmla="*/ 174487 w 291728"/>
                <a:gd name="connsiteY39" fmla="*/ 786518 h 787651"/>
                <a:gd name="connsiteX40" fmla="*/ 160082 w 291728"/>
                <a:gd name="connsiteY40" fmla="*/ 783013 h 787651"/>
                <a:gd name="connsiteX41" fmla="*/ 149001 w 291728"/>
                <a:gd name="connsiteY41" fmla="*/ 771023 h 787651"/>
                <a:gd name="connsiteX42" fmla="*/ 131082 w 291728"/>
                <a:gd name="connsiteY42" fmla="*/ 750798 h 787651"/>
                <a:gd name="connsiteX43" fmla="*/ 119772 w 291728"/>
                <a:gd name="connsiteY43" fmla="*/ 736813 h 787651"/>
                <a:gd name="connsiteX44" fmla="*/ 108930 w 291728"/>
                <a:gd name="connsiteY44" fmla="*/ 722574 h 787651"/>
                <a:gd name="connsiteX45" fmla="*/ 98553 w 291728"/>
                <a:gd name="connsiteY45" fmla="*/ 708098 h 787651"/>
                <a:gd name="connsiteX46" fmla="*/ 88653 w 291728"/>
                <a:gd name="connsiteY46" fmla="*/ 693393 h 787651"/>
                <a:gd name="connsiteX47" fmla="*/ 79234 w 291728"/>
                <a:gd name="connsiteY47" fmla="*/ 678474 h 787651"/>
                <a:gd name="connsiteX48" fmla="*/ 70306 w 291728"/>
                <a:gd name="connsiteY48" fmla="*/ 663350 h 787651"/>
                <a:gd name="connsiteX49" fmla="*/ 61877 w 291728"/>
                <a:gd name="connsiteY49" fmla="*/ 648045 h 787651"/>
                <a:gd name="connsiteX50" fmla="*/ 53953 w 291728"/>
                <a:gd name="connsiteY50" fmla="*/ 632564 h 787651"/>
                <a:gd name="connsiteX51" fmla="*/ 46539 w 291728"/>
                <a:gd name="connsiteY51" fmla="*/ 616926 h 787651"/>
                <a:gd name="connsiteX52" fmla="*/ 39643 w 291728"/>
                <a:gd name="connsiteY52" fmla="*/ 601140 h 787651"/>
                <a:gd name="connsiteX53" fmla="*/ 33272 w 291728"/>
                <a:gd name="connsiteY53" fmla="*/ 585221 h 787651"/>
                <a:gd name="connsiteX54" fmla="*/ 27438 w 291728"/>
                <a:gd name="connsiteY54" fmla="*/ 569183 h 787651"/>
                <a:gd name="connsiteX55" fmla="*/ 22143 w 291728"/>
                <a:gd name="connsiteY55" fmla="*/ 553040 h 787651"/>
                <a:gd name="connsiteX56" fmla="*/ 17396 w 291728"/>
                <a:gd name="connsiteY56" fmla="*/ 536806 h 787651"/>
                <a:gd name="connsiteX57" fmla="*/ 13205 w 291728"/>
                <a:gd name="connsiteY57" fmla="*/ 520497 h 787651"/>
                <a:gd name="connsiteX58" fmla="*/ 9572 w 291728"/>
                <a:gd name="connsiteY58" fmla="*/ 504120 h 787651"/>
                <a:gd name="connsiteX59" fmla="*/ 6514 w 291728"/>
                <a:gd name="connsiteY59" fmla="*/ 487692 h 787651"/>
                <a:gd name="connsiteX60" fmla="*/ 4029 w 291728"/>
                <a:gd name="connsiteY60" fmla="*/ 471225 h 787651"/>
                <a:gd name="connsiteX61" fmla="*/ 2129 w 291728"/>
                <a:gd name="connsiteY61" fmla="*/ 454734 h 787651"/>
                <a:gd name="connsiteX62" fmla="*/ 819 w 291728"/>
                <a:gd name="connsiteY62" fmla="*/ 438234 h 787651"/>
                <a:gd name="connsiteX63" fmla="*/ 105 w 291728"/>
                <a:gd name="connsiteY63" fmla="*/ 421739 h 787651"/>
                <a:gd name="connsiteX64" fmla="*/ 0 w 291728"/>
                <a:gd name="connsiteY64" fmla="*/ 405258 h 787651"/>
                <a:gd name="connsiteX65" fmla="*/ 505 w 291728"/>
                <a:gd name="connsiteY65" fmla="*/ 388810 h 787651"/>
                <a:gd name="connsiteX66" fmla="*/ 1634 w 291728"/>
                <a:gd name="connsiteY66" fmla="*/ 372405 h 787651"/>
                <a:gd name="connsiteX67" fmla="*/ 3386 w 291728"/>
                <a:gd name="connsiteY67" fmla="*/ 356057 h 787651"/>
                <a:gd name="connsiteX68" fmla="*/ 5772 w 291728"/>
                <a:gd name="connsiteY68" fmla="*/ 339781 h 787651"/>
                <a:gd name="connsiteX69" fmla="*/ 8800 w 291728"/>
                <a:gd name="connsiteY69" fmla="*/ 323585 h 787651"/>
                <a:gd name="connsiteX70" fmla="*/ 12477 w 291728"/>
                <a:gd name="connsiteY70" fmla="*/ 307495 h 787651"/>
                <a:gd name="connsiteX71" fmla="*/ 16810 w 291728"/>
                <a:gd name="connsiteY71" fmla="*/ 291514 h 787651"/>
                <a:gd name="connsiteX72" fmla="*/ 21805 w 291728"/>
                <a:gd name="connsiteY72" fmla="*/ 275657 h 787651"/>
                <a:gd name="connsiteX73" fmla="*/ 27467 w 291728"/>
                <a:gd name="connsiteY73" fmla="*/ 259937 h 787651"/>
                <a:gd name="connsiteX74" fmla="*/ 33810 w 291728"/>
                <a:gd name="connsiteY74" fmla="*/ 244371 h 787651"/>
                <a:gd name="connsiteX75" fmla="*/ 40839 w 291728"/>
                <a:gd name="connsiteY75" fmla="*/ 228975 h 787651"/>
                <a:gd name="connsiteX76" fmla="*/ 48558 w 291728"/>
                <a:gd name="connsiteY76" fmla="*/ 213751 h 787651"/>
                <a:gd name="connsiteX77" fmla="*/ 56972 w 291728"/>
                <a:gd name="connsiteY77" fmla="*/ 198727 h 787651"/>
                <a:gd name="connsiteX78" fmla="*/ 66096 w 291728"/>
                <a:gd name="connsiteY78" fmla="*/ 183908 h 787651"/>
                <a:gd name="connsiteX79" fmla="*/ 75934 w 291728"/>
                <a:gd name="connsiteY79" fmla="*/ 169308 h 787651"/>
                <a:gd name="connsiteX80" fmla="*/ 86491 w 291728"/>
                <a:gd name="connsiteY80" fmla="*/ 154941 h 787651"/>
                <a:gd name="connsiteX81" fmla="*/ 97772 w 291728"/>
                <a:gd name="connsiteY81" fmla="*/ 140827 h 787651"/>
                <a:gd name="connsiteX82" fmla="*/ 109792 w 291728"/>
                <a:gd name="connsiteY82" fmla="*/ 126970 h 787651"/>
                <a:gd name="connsiteX83" fmla="*/ 122554 w 291728"/>
                <a:gd name="connsiteY83" fmla="*/ 113388 h 787651"/>
                <a:gd name="connsiteX84" fmla="*/ 136063 w 291728"/>
                <a:gd name="connsiteY84" fmla="*/ 100093 h 787651"/>
                <a:gd name="connsiteX85" fmla="*/ 150330 w 291728"/>
                <a:gd name="connsiteY85" fmla="*/ 87102 h 787651"/>
                <a:gd name="connsiteX86" fmla="*/ 165363 w 291728"/>
                <a:gd name="connsiteY86" fmla="*/ 74426 h 787651"/>
                <a:gd name="connsiteX87" fmla="*/ 176763 w 291728"/>
                <a:gd name="connsiteY87" fmla="*/ 65460 h 787651"/>
                <a:gd name="connsiteX88" fmla="*/ 188754 w 291728"/>
                <a:gd name="connsiteY88" fmla="*/ 56621 h 787651"/>
                <a:gd name="connsiteX89" fmla="*/ 201321 w 291728"/>
                <a:gd name="connsiteY89" fmla="*/ 47950 h 787651"/>
                <a:gd name="connsiteX90" fmla="*/ 214450 w 291728"/>
                <a:gd name="connsiteY90" fmla="*/ 39478 h 787651"/>
                <a:gd name="connsiteX91" fmla="*/ 228135 w 291728"/>
                <a:gd name="connsiteY91" fmla="*/ 31245 h 787651"/>
                <a:gd name="connsiteX92" fmla="*/ 242354 w 291728"/>
                <a:gd name="connsiteY92" fmla="*/ 23288 h 787651"/>
                <a:gd name="connsiteX93" fmla="*/ 257097 w 291728"/>
                <a:gd name="connsiteY93" fmla="*/ 15645 h 787651"/>
                <a:gd name="connsiteX94" fmla="*/ 272350 w 291728"/>
                <a:gd name="connsiteY94" fmla="*/ 8350 h 787651"/>
                <a:gd name="connsiteX95" fmla="*/ 288107 w 291728"/>
                <a:gd name="connsiteY95" fmla="*/ 1445 h 787651"/>
                <a:gd name="connsiteX96" fmla="*/ 291728 w 291728"/>
                <a:gd name="connsiteY96" fmla="*/ 0 h 78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291728" h="787651">
                  <a:moveTo>
                    <a:pt x="291728" y="0"/>
                  </a:moveTo>
                  <a:lnTo>
                    <a:pt x="291728" y="79686"/>
                  </a:lnTo>
                  <a:lnTo>
                    <a:pt x="280245" y="87145"/>
                  </a:lnTo>
                  <a:lnTo>
                    <a:pt x="267707" y="96031"/>
                  </a:lnTo>
                  <a:lnTo>
                    <a:pt x="255540" y="105422"/>
                  </a:lnTo>
                  <a:lnTo>
                    <a:pt x="243754" y="115322"/>
                  </a:lnTo>
                  <a:lnTo>
                    <a:pt x="232388" y="125712"/>
                  </a:lnTo>
                  <a:lnTo>
                    <a:pt x="221450" y="136598"/>
                  </a:lnTo>
                  <a:lnTo>
                    <a:pt x="210968" y="147970"/>
                  </a:lnTo>
                  <a:lnTo>
                    <a:pt x="200968" y="159822"/>
                  </a:lnTo>
                  <a:lnTo>
                    <a:pt x="191468" y="172151"/>
                  </a:lnTo>
                  <a:lnTo>
                    <a:pt x="182497" y="184946"/>
                  </a:lnTo>
                  <a:lnTo>
                    <a:pt x="174068" y="198208"/>
                  </a:lnTo>
                  <a:lnTo>
                    <a:pt x="166206" y="211928"/>
                  </a:lnTo>
                  <a:lnTo>
                    <a:pt x="158940" y="226099"/>
                  </a:lnTo>
                  <a:lnTo>
                    <a:pt x="152282" y="240713"/>
                  </a:lnTo>
                  <a:lnTo>
                    <a:pt x="146268" y="255775"/>
                  </a:lnTo>
                  <a:lnTo>
                    <a:pt x="140906" y="271271"/>
                  </a:lnTo>
                  <a:lnTo>
                    <a:pt x="136230" y="287195"/>
                  </a:lnTo>
                  <a:lnTo>
                    <a:pt x="132258" y="303547"/>
                  </a:lnTo>
                  <a:lnTo>
                    <a:pt x="129011" y="320314"/>
                  </a:lnTo>
                  <a:lnTo>
                    <a:pt x="126515" y="337495"/>
                  </a:lnTo>
                  <a:lnTo>
                    <a:pt x="124787" y="355086"/>
                  </a:lnTo>
                  <a:lnTo>
                    <a:pt x="123853" y="373081"/>
                  </a:lnTo>
                  <a:lnTo>
                    <a:pt x="123739" y="391467"/>
                  </a:lnTo>
                  <a:lnTo>
                    <a:pt x="124463" y="410248"/>
                  </a:lnTo>
                  <a:lnTo>
                    <a:pt x="126049" y="429415"/>
                  </a:lnTo>
                  <a:lnTo>
                    <a:pt x="128515" y="448963"/>
                  </a:lnTo>
                  <a:lnTo>
                    <a:pt x="131892" y="468882"/>
                  </a:lnTo>
                  <a:lnTo>
                    <a:pt x="153078" y="570835"/>
                  </a:lnTo>
                  <a:lnTo>
                    <a:pt x="178054" y="634326"/>
                  </a:lnTo>
                  <a:lnTo>
                    <a:pt x="222940" y="685903"/>
                  </a:lnTo>
                  <a:lnTo>
                    <a:pt x="291728" y="751682"/>
                  </a:lnTo>
                  <a:lnTo>
                    <a:pt x="291728" y="758691"/>
                  </a:lnTo>
                  <a:lnTo>
                    <a:pt x="277964" y="765694"/>
                  </a:lnTo>
                  <a:lnTo>
                    <a:pt x="253416" y="775994"/>
                  </a:lnTo>
                  <a:lnTo>
                    <a:pt x="228083" y="782704"/>
                  </a:lnTo>
                  <a:lnTo>
                    <a:pt x="202111" y="786389"/>
                  </a:lnTo>
                  <a:lnTo>
                    <a:pt x="186368" y="787651"/>
                  </a:lnTo>
                  <a:lnTo>
                    <a:pt x="174487" y="786518"/>
                  </a:lnTo>
                  <a:lnTo>
                    <a:pt x="160082" y="783013"/>
                  </a:lnTo>
                  <a:lnTo>
                    <a:pt x="149001" y="771023"/>
                  </a:lnTo>
                  <a:lnTo>
                    <a:pt x="131082" y="750798"/>
                  </a:lnTo>
                  <a:lnTo>
                    <a:pt x="119772" y="736813"/>
                  </a:lnTo>
                  <a:lnTo>
                    <a:pt x="108930" y="722574"/>
                  </a:lnTo>
                  <a:lnTo>
                    <a:pt x="98553" y="708098"/>
                  </a:lnTo>
                  <a:lnTo>
                    <a:pt x="88653" y="693393"/>
                  </a:lnTo>
                  <a:lnTo>
                    <a:pt x="79234" y="678474"/>
                  </a:lnTo>
                  <a:lnTo>
                    <a:pt x="70306" y="663350"/>
                  </a:lnTo>
                  <a:lnTo>
                    <a:pt x="61877" y="648045"/>
                  </a:lnTo>
                  <a:lnTo>
                    <a:pt x="53953" y="632564"/>
                  </a:lnTo>
                  <a:lnTo>
                    <a:pt x="46539" y="616926"/>
                  </a:lnTo>
                  <a:lnTo>
                    <a:pt x="39643" y="601140"/>
                  </a:lnTo>
                  <a:lnTo>
                    <a:pt x="33272" y="585221"/>
                  </a:lnTo>
                  <a:lnTo>
                    <a:pt x="27438" y="569183"/>
                  </a:lnTo>
                  <a:lnTo>
                    <a:pt x="22143" y="553040"/>
                  </a:lnTo>
                  <a:lnTo>
                    <a:pt x="17396" y="536806"/>
                  </a:lnTo>
                  <a:lnTo>
                    <a:pt x="13205" y="520497"/>
                  </a:lnTo>
                  <a:lnTo>
                    <a:pt x="9572" y="504120"/>
                  </a:lnTo>
                  <a:lnTo>
                    <a:pt x="6514" y="487692"/>
                  </a:lnTo>
                  <a:lnTo>
                    <a:pt x="4029" y="471225"/>
                  </a:lnTo>
                  <a:lnTo>
                    <a:pt x="2129" y="454734"/>
                  </a:lnTo>
                  <a:lnTo>
                    <a:pt x="819" y="438234"/>
                  </a:lnTo>
                  <a:lnTo>
                    <a:pt x="105" y="421739"/>
                  </a:lnTo>
                  <a:lnTo>
                    <a:pt x="0" y="405258"/>
                  </a:lnTo>
                  <a:lnTo>
                    <a:pt x="505" y="388810"/>
                  </a:lnTo>
                  <a:lnTo>
                    <a:pt x="1634" y="372405"/>
                  </a:lnTo>
                  <a:lnTo>
                    <a:pt x="3386" y="356057"/>
                  </a:lnTo>
                  <a:lnTo>
                    <a:pt x="5772" y="339781"/>
                  </a:lnTo>
                  <a:lnTo>
                    <a:pt x="8800" y="323585"/>
                  </a:lnTo>
                  <a:lnTo>
                    <a:pt x="12477" y="307495"/>
                  </a:lnTo>
                  <a:lnTo>
                    <a:pt x="16810" y="291514"/>
                  </a:lnTo>
                  <a:lnTo>
                    <a:pt x="21805" y="275657"/>
                  </a:lnTo>
                  <a:lnTo>
                    <a:pt x="27467" y="259937"/>
                  </a:lnTo>
                  <a:lnTo>
                    <a:pt x="33810" y="244371"/>
                  </a:lnTo>
                  <a:lnTo>
                    <a:pt x="40839" y="228975"/>
                  </a:lnTo>
                  <a:lnTo>
                    <a:pt x="48558" y="213751"/>
                  </a:lnTo>
                  <a:lnTo>
                    <a:pt x="56972" y="198727"/>
                  </a:lnTo>
                  <a:lnTo>
                    <a:pt x="66096" y="183908"/>
                  </a:lnTo>
                  <a:lnTo>
                    <a:pt x="75934" y="169308"/>
                  </a:lnTo>
                  <a:lnTo>
                    <a:pt x="86491" y="154941"/>
                  </a:lnTo>
                  <a:lnTo>
                    <a:pt x="97772" y="140827"/>
                  </a:lnTo>
                  <a:lnTo>
                    <a:pt x="109792" y="126970"/>
                  </a:lnTo>
                  <a:lnTo>
                    <a:pt x="122554" y="113388"/>
                  </a:lnTo>
                  <a:lnTo>
                    <a:pt x="136063" y="100093"/>
                  </a:lnTo>
                  <a:lnTo>
                    <a:pt x="150330" y="87102"/>
                  </a:lnTo>
                  <a:lnTo>
                    <a:pt x="165363" y="74426"/>
                  </a:lnTo>
                  <a:lnTo>
                    <a:pt x="176763" y="65460"/>
                  </a:lnTo>
                  <a:lnTo>
                    <a:pt x="188754" y="56621"/>
                  </a:lnTo>
                  <a:lnTo>
                    <a:pt x="201321" y="47950"/>
                  </a:lnTo>
                  <a:lnTo>
                    <a:pt x="214450" y="39478"/>
                  </a:lnTo>
                  <a:lnTo>
                    <a:pt x="228135" y="31245"/>
                  </a:lnTo>
                  <a:lnTo>
                    <a:pt x="242354" y="23288"/>
                  </a:lnTo>
                  <a:lnTo>
                    <a:pt x="257097" y="15645"/>
                  </a:lnTo>
                  <a:lnTo>
                    <a:pt x="272350" y="8350"/>
                  </a:lnTo>
                  <a:lnTo>
                    <a:pt x="288107" y="1445"/>
                  </a:lnTo>
                  <a:lnTo>
                    <a:pt x="291728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1033B3D-C89B-45E6-93B3-B1C811BC4C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2829154"/>
            <a:ext cx="309562" cy="1428292"/>
          </a:xfrm>
        </p:spPr>
        <p:txBody>
          <a:bodyPr vert="vert270" wrap="none" lIns="0" tIns="180000" rIns="72000" bIns="0" anchor="b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7355152-5E8D-F293-2F6D-A0EB6E65F50A}"/>
              </a:ext>
            </a:extLst>
          </p:cNvPr>
          <p:cNvSpPr/>
          <p:nvPr userDrawn="1"/>
        </p:nvSpPr>
        <p:spPr>
          <a:xfrm>
            <a:off x="0" y="1313468"/>
            <a:ext cx="12192000" cy="119176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Chart Placeholder 4">
            <a:extLst>
              <a:ext uri="{FF2B5EF4-FFF2-40B4-BE49-F238E27FC236}">
                <a16:creationId xmlns:a16="http://schemas.microsoft.com/office/drawing/2014/main" id="{FA5CCDA9-7266-4A34-78F5-444C6923AEA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15900" y="1366838"/>
            <a:ext cx="11758613" cy="4949825"/>
          </a:xfrm>
          <a:ln>
            <a:solidFill>
              <a:srgbClr val="CAB9A7"/>
            </a:solidFill>
          </a:ln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4669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8" userDrawn="1">
          <p15:clr>
            <a:srgbClr val="FBAE40"/>
          </p15:clr>
        </p15:guide>
        <p15:guide id="2" pos="6912" userDrawn="1">
          <p15:clr>
            <a:srgbClr val="FBAE40"/>
          </p15:clr>
        </p15:guide>
        <p15:guide id="3" orient="horz" pos="1104" userDrawn="1">
          <p15:clr>
            <a:srgbClr val="FBAE40"/>
          </p15:clr>
        </p15:guide>
        <p15:guide id="4" orient="horz" pos="33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74BD564B-7BAE-9A9A-338C-65D425E5D84E}"/>
              </a:ext>
            </a:extLst>
          </p:cNvPr>
          <p:cNvGrpSpPr/>
          <p:nvPr userDrawn="1"/>
        </p:nvGrpSpPr>
        <p:grpSpPr>
          <a:xfrm>
            <a:off x="11049000" y="4951958"/>
            <a:ext cx="1147784" cy="1400163"/>
            <a:chOff x="11049000" y="4929548"/>
            <a:chExt cx="1147784" cy="1400163"/>
          </a:xfrm>
          <a:solidFill>
            <a:schemeClr val="accent5"/>
          </a:solidFill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224410F-7A6B-86B7-BFAB-3D19DEAD1250}"/>
                </a:ext>
              </a:extLst>
            </p:cNvPr>
            <p:cNvSpPr/>
            <p:nvPr userDrawn="1"/>
          </p:nvSpPr>
          <p:spPr>
            <a:xfrm>
              <a:off x="12192000" y="6293742"/>
              <a:ext cx="4784" cy="7009"/>
            </a:xfrm>
            <a:custGeom>
              <a:avLst/>
              <a:gdLst>
                <a:gd name="connsiteX0" fmla="*/ 0 w 4784"/>
                <a:gd name="connsiteY0" fmla="*/ 0 h 7009"/>
                <a:gd name="connsiteX1" fmla="*/ 4784 w 4784"/>
                <a:gd name="connsiteY1" fmla="*/ 4574 h 7009"/>
                <a:gd name="connsiteX2" fmla="*/ 0 w 4784"/>
                <a:gd name="connsiteY2" fmla="*/ 7009 h 7009"/>
                <a:gd name="connsiteX3" fmla="*/ 0 w 4784"/>
                <a:gd name="connsiteY3" fmla="*/ 0 h 7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4" h="7009">
                  <a:moveTo>
                    <a:pt x="0" y="0"/>
                  </a:moveTo>
                  <a:lnTo>
                    <a:pt x="4784" y="4574"/>
                  </a:lnTo>
                  <a:lnTo>
                    <a:pt x="0" y="70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375BB53-25CE-1329-60CB-D8D2F0241029}"/>
                </a:ext>
              </a:extLst>
            </p:cNvPr>
            <p:cNvSpPr/>
            <p:nvPr userDrawn="1"/>
          </p:nvSpPr>
          <p:spPr>
            <a:xfrm>
              <a:off x="11049000" y="4929548"/>
              <a:ext cx="1143000" cy="1092840"/>
            </a:xfrm>
            <a:custGeom>
              <a:avLst/>
              <a:gdLst>
                <a:gd name="connsiteX0" fmla="*/ 1143000 w 1143000"/>
                <a:gd name="connsiteY0" fmla="*/ 0 h 1092840"/>
                <a:gd name="connsiteX1" fmla="*/ 1143000 w 1143000"/>
                <a:gd name="connsiteY1" fmla="*/ 99531 h 1092840"/>
                <a:gd name="connsiteX2" fmla="*/ 1131798 w 1143000"/>
                <a:gd name="connsiteY2" fmla="*/ 100952 h 1092840"/>
                <a:gd name="connsiteX3" fmla="*/ 1110140 w 1143000"/>
                <a:gd name="connsiteY3" fmla="*/ 104580 h 1092840"/>
                <a:gd name="connsiteX4" fmla="*/ 1089117 w 1143000"/>
                <a:gd name="connsiteY4" fmla="*/ 108980 h 1092840"/>
                <a:gd name="connsiteX5" fmla="*/ 1068712 w 1143000"/>
                <a:gd name="connsiteY5" fmla="*/ 114128 h 1092840"/>
                <a:gd name="connsiteX6" fmla="*/ 1048926 w 1143000"/>
                <a:gd name="connsiteY6" fmla="*/ 119990 h 1092840"/>
                <a:gd name="connsiteX7" fmla="*/ 1029745 w 1143000"/>
                <a:gd name="connsiteY7" fmla="*/ 126533 h 1092840"/>
                <a:gd name="connsiteX8" fmla="*/ 1011168 w 1143000"/>
                <a:gd name="connsiteY8" fmla="*/ 133733 h 1092840"/>
                <a:gd name="connsiteX9" fmla="*/ 993178 w 1143000"/>
                <a:gd name="connsiteY9" fmla="*/ 141561 h 1092840"/>
                <a:gd name="connsiteX10" fmla="*/ 975768 w 1143000"/>
                <a:gd name="connsiteY10" fmla="*/ 149980 h 1092840"/>
                <a:gd name="connsiteX11" fmla="*/ 958935 w 1143000"/>
                <a:gd name="connsiteY11" fmla="*/ 158966 h 1092840"/>
                <a:gd name="connsiteX12" fmla="*/ 942668 w 1143000"/>
                <a:gd name="connsiteY12" fmla="*/ 168485 h 1092840"/>
                <a:gd name="connsiteX13" fmla="*/ 926959 w 1143000"/>
                <a:gd name="connsiteY13" fmla="*/ 178514 h 1092840"/>
                <a:gd name="connsiteX14" fmla="*/ 911801 w 1143000"/>
                <a:gd name="connsiteY14" fmla="*/ 189019 h 1092840"/>
                <a:gd name="connsiteX15" fmla="*/ 897182 w 1143000"/>
                <a:gd name="connsiteY15" fmla="*/ 199971 h 1092840"/>
                <a:gd name="connsiteX16" fmla="*/ 883096 w 1143000"/>
                <a:gd name="connsiteY16" fmla="*/ 211338 h 1092840"/>
                <a:gd name="connsiteX17" fmla="*/ 869539 w 1143000"/>
                <a:gd name="connsiteY17" fmla="*/ 223095 h 1092840"/>
                <a:gd name="connsiteX18" fmla="*/ 856496 w 1143000"/>
                <a:gd name="connsiteY18" fmla="*/ 235205 h 1092840"/>
                <a:gd name="connsiteX19" fmla="*/ 843963 w 1143000"/>
                <a:gd name="connsiteY19" fmla="*/ 247648 h 1092840"/>
                <a:gd name="connsiteX20" fmla="*/ 831929 w 1143000"/>
                <a:gd name="connsiteY20" fmla="*/ 260386 h 1092840"/>
                <a:gd name="connsiteX21" fmla="*/ 820391 w 1143000"/>
                <a:gd name="connsiteY21" fmla="*/ 273391 h 1092840"/>
                <a:gd name="connsiteX22" fmla="*/ 809334 w 1143000"/>
                <a:gd name="connsiteY22" fmla="*/ 286639 h 1092840"/>
                <a:gd name="connsiteX23" fmla="*/ 798758 w 1143000"/>
                <a:gd name="connsiteY23" fmla="*/ 300091 h 1092840"/>
                <a:gd name="connsiteX24" fmla="*/ 788643 w 1143000"/>
                <a:gd name="connsiteY24" fmla="*/ 313725 h 1092840"/>
                <a:gd name="connsiteX25" fmla="*/ 778991 w 1143000"/>
                <a:gd name="connsiteY25" fmla="*/ 327511 h 1092840"/>
                <a:gd name="connsiteX26" fmla="*/ 769791 w 1143000"/>
                <a:gd name="connsiteY26" fmla="*/ 341415 h 1092840"/>
                <a:gd name="connsiteX27" fmla="*/ 761038 w 1143000"/>
                <a:gd name="connsiteY27" fmla="*/ 355406 h 1092840"/>
                <a:gd name="connsiteX28" fmla="*/ 752714 w 1143000"/>
                <a:gd name="connsiteY28" fmla="*/ 369458 h 1092840"/>
                <a:gd name="connsiteX29" fmla="*/ 744819 w 1143000"/>
                <a:gd name="connsiteY29" fmla="*/ 383544 h 1092840"/>
                <a:gd name="connsiteX30" fmla="*/ 737343 w 1143000"/>
                <a:gd name="connsiteY30" fmla="*/ 397630 h 1092840"/>
                <a:gd name="connsiteX31" fmla="*/ 730281 w 1143000"/>
                <a:gd name="connsiteY31" fmla="*/ 411688 h 1092840"/>
                <a:gd name="connsiteX32" fmla="*/ 723619 w 1143000"/>
                <a:gd name="connsiteY32" fmla="*/ 425683 h 1092840"/>
                <a:gd name="connsiteX33" fmla="*/ 717352 w 1143000"/>
                <a:gd name="connsiteY33" fmla="*/ 439592 h 1092840"/>
                <a:gd name="connsiteX34" fmla="*/ 711466 w 1143000"/>
                <a:gd name="connsiteY34" fmla="*/ 453388 h 1092840"/>
                <a:gd name="connsiteX35" fmla="*/ 705967 w 1143000"/>
                <a:gd name="connsiteY35" fmla="*/ 467031 h 1092840"/>
                <a:gd name="connsiteX36" fmla="*/ 700833 w 1143000"/>
                <a:gd name="connsiteY36" fmla="*/ 480498 h 1092840"/>
                <a:gd name="connsiteX37" fmla="*/ 691642 w 1143000"/>
                <a:gd name="connsiteY37" fmla="*/ 506779 h 1092840"/>
                <a:gd name="connsiteX38" fmla="*/ 683828 w 1143000"/>
                <a:gd name="connsiteY38" fmla="*/ 531998 h 1092840"/>
                <a:gd name="connsiteX39" fmla="*/ 677338 w 1143000"/>
                <a:gd name="connsiteY39" fmla="*/ 555908 h 1092840"/>
                <a:gd name="connsiteX40" fmla="*/ 672090 w 1143000"/>
                <a:gd name="connsiteY40" fmla="*/ 578279 h 1092840"/>
                <a:gd name="connsiteX41" fmla="*/ 668033 w 1143000"/>
                <a:gd name="connsiteY41" fmla="*/ 598870 h 1092840"/>
                <a:gd name="connsiteX42" fmla="*/ 665090 w 1143000"/>
                <a:gd name="connsiteY42" fmla="*/ 617446 h 1092840"/>
                <a:gd name="connsiteX43" fmla="*/ 662823 w 1143000"/>
                <a:gd name="connsiteY43" fmla="*/ 635299 h 1092840"/>
                <a:gd name="connsiteX44" fmla="*/ 660885 w 1143000"/>
                <a:gd name="connsiteY44" fmla="*/ 653561 h 1092840"/>
                <a:gd name="connsiteX45" fmla="*/ 659290 w 1143000"/>
                <a:gd name="connsiteY45" fmla="*/ 672180 h 1092840"/>
                <a:gd name="connsiteX46" fmla="*/ 658033 w 1143000"/>
                <a:gd name="connsiteY46" fmla="*/ 691113 h 1092840"/>
                <a:gd name="connsiteX47" fmla="*/ 657114 w 1143000"/>
                <a:gd name="connsiteY47" fmla="*/ 710313 h 1092840"/>
                <a:gd name="connsiteX48" fmla="*/ 656547 w 1143000"/>
                <a:gd name="connsiteY48" fmla="*/ 729728 h 1092840"/>
                <a:gd name="connsiteX49" fmla="*/ 656323 w 1143000"/>
                <a:gd name="connsiteY49" fmla="*/ 749314 h 1092840"/>
                <a:gd name="connsiteX50" fmla="*/ 656452 w 1143000"/>
                <a:gd name="connsiteY50" fmla="*/ 769024 h 1092840"/>
                <a:gd name="connsiteX51" fmla="*/ 656933 w 1143000"/>
                <a:gd name="connsiteY51" fmla="*/ 788809 h 1092840"/>
                <a:gd name="connsiteX52" fmla="*/ 657771 w 1143000"/>
                <a:gd name="connsiteY52" fmla="*/ 808624 h 1092840"/>
                <a:gd name="connsiteX53" fmla="*/ 658966 w 1143000"/>
                <a:gd name="connsiteY53" fmla="*/ 828419 h 1092840"/>
                <a:gd name="connsiteX54" fmla="*/ 660528 w 1143000"/>
                <a:gd name="connsiteY54" fmla="*/ 848153 h 1092840"/>
                <a:gd name="connsiteX55" fmla="*/ 662452 w 1143000"/>
                <a:gd name="connsiteY55" fmla="*/ 867767 h 1092840"/>
                <a:gd name="connsiteX56" fmla="*/ 664742 w 1143000"/>
                <a:gd name="connsiteY56" fmla="*/ 887225 h 1092840"/>
                <a:gd name="connsiteX57" fmla="*/ 667404 w 1143000"/>
                <a:gd name="connsiteY57" fmla="*/ 906473 h 1092840"/>
                <a:gd name="connsiteX58" fmla="*/ 670438 w 1143000"/>
                <a:gd name="connsiteY58" fmla="*/ 925463 h 1092840"/>
                <a:gd name="connsiteX59" fmla="*/ 673847 w 1143000"/>
                <a:gd name="connsiteY59" fmla="*/ 944154 h 1092840"/>
                <a:gd name="connsiteX60" fmla="*/ 677638 w 1143000"/>
                <a:gd name="connsiteY60" fmla="*/ 962497 h 1092840"/>
                <a:gd name="connsiteX61" fmla="*/ 681809 w 1143000"/>
                <a:gd name="connsiteY61" fmla="*/ 980440 h 1092840"/>
                <a:gd name="connsiteX62" fmla="*/ 686366 w 1143000"/>
                <a:gd name="connsiteY62" fmla="*/ 997940 h 1092840"/>
                <a:gd name="connsiteX63" fmla="*/ 691309 w 1143000"/>
                <a:gd name="connsiteY63" fmla="*/ 1014950 h 1092840"/>
                <a:gd name="connsiteX64" fmla="*/ 696638 w 1143000"/>
                <a:gd name="connsiteY64" fmla="*/ 1031421 h 1092840"/>
                <a:gd name="connsiteX65" fmla="*/ 702367 w 1143000"/>
                <a:gd name="connsiteY65" fmla="*/ 1047302 h 1092840"/>
                <a:gd name="connsiteX66" fmla="*/ 708486 w 1143000"/>
                <a:gd name="connsiteY66" fmla="*/ 1062554 h 1092840"/>
                <a:gd name="connsiteX67" fmla="*/ 715005 w 1143000"/>
                <a:gd name="connsiteY67" fmla="*/ 1077126 h 1092840"/>
                <a:gd name="connsiteX68" fmla="*/ 721924 w 1143000"/>
                <a:gd name="connsiteY68" fmla="*/ 1090969 h 1092840"/>
                <a:gd name="connsiteX69" fmla="*/ 706938 w 1143000"/>
                <a:gd name="connsiteY69" fmla="*/ 1092007 h 1092840"/>
                <a:gd name="connsiteX70" fmla="*/ 692000 w 1143000"/>
                <a:gd name="connsiteY70" fmla="*/ 1092636 h 1092840"/>
                <a:gd name="connsiteX71" fmla="*/ 677123 w 1143000"/>
                <a:gd name="connsiteY71" fmla="*/ 1092840 h 1092840"/>
                <a:gd name="connsiteX72" fmla="*/ 662328 w 1143000"/>
                <a:gd name="connsiteY72" fmla="*/ 1092621 h 1092840"/>
                <a:gd name="connsiteX73" fmla="*/ 647623 w 1143000"/>
                <a:gd name="connsiteY73" fmla="*/ 1091965 h 1092840"/>
                <a:gd name="connsiteX74" fmla="*/ 633023 w 1143000"/>
                <a:gd name="connsiteY74" fmla="*/ 1090860 h 1092840"/>
                <a:gd name="connsiteX75" fmla="*/ 618542 w 1143000"/>
                <a:gd name="connsiteY75" fmla="*/ 1089302 h 1092840"/>
                <a:gd name="connsiteX76" fmla="*/ 604195 w 1143000"/>
                <a:gd name="connsiteY76" fmla="*/ 1087284 h 1092840"/>
                <a:gd name="connsiteX77" fmla="*/ 589989 w 1143000"/>
                <a:gd name="connsiteY77" fmla="*/ 1084793 h 1092840"/>
                <a:gd name="connsiteX78" fmla="*/ 575951 w 1143000"/>
                <a:gd name="connsiteY78" fmla="*/ 1081826 h 1092840"/>
                <a:gd name="connsiteX79" fmla="*/ 548403 w 1143000"/>
                <a:gd name="connsiteY79" fmla="*/ 1074417 h 1092840"/>
                <a:gd name="connsiteX80" fmla="*/ 521665 w 1143000"/>
                <a:gd name="connsiteY80" fmla="*/ 1064988 h 1092840"/>
                <a:gd name="connsiteX81" fmla="*/ 495846 w 1143000"/>
                <a:gd name="connsiteY81" fmla="*/ 1053474 h 1092840"/>
                <a:gd name="connsiteX82" fmla="*/ 471055 w 1143000"/>
                <a:gd name="connsiteY82" fmla="*/ 1039812 h 1092840"/>
                <a:gd name="connsiteX83" fmla="*/ 447408 w 1143000"/>
                <a:gd name="connsiteY83" fmla="*/ 1023926 h 1092840"/>
                <a:gd name="connsiteX84" fmla="*/ 436041 w 1143000"/>
                <a:gd name="connsiteY84" fmla="*/ 1015130 h 1092840"/>
                <a:gd name="connsiteX85" fmla="*/ 425003 w 1143000"/>
                <a:gd name="connsiteY85" fmla="*/ 1005754 h 1092840"/>
                <a:gd name="connsiteX86" fmla="*/ 414307 w 1143000"/>
                <a:gd name="connsiteY86" fmla="*/ 995788 h 1092840"/>
                <a:gd name="connsiteX87" fmla="*/ 403964 w 1143000"/>
                <a:gd name="connsiteY87" fmla="*/ 985225 h 1092840"/>
                <a:gd name="connsiteX88" fmla="*/ 393988 w 1143000"/>
                <a:gd name="connsiteY88" fmla="*/ 974059 h 1092840"/>
                <a:gd name="connsiteX89" fmla="*/ 384398 w 1143000"/>
                <a:gd name="connsiteY89" fmla="*/ 962278 h 1092840"/>
                <a:gd name="connsiteX90" fmla="*/ 375198 w 1143000"/>
                <a:gd name="connsiteY90" fmla="*/ 949873 h 1092840"/>
                <a:gd name="connsiteX91" fmla="*/ 366407 w 1143000"/>
                <a:gd name="connsiteY91" fmla="*/ 936839 h 1092840"/>
                <a:gd name="connsiteX92" fmla="*/ 358045 w 1143000"/>
                <a:gd name="connsiteY92" fmla="*/ 923163 h 1092840"/>
                <a:gd name="connsiteX93" fmla="*/ 350112 w 1143000"/>
                <a:gd name="connsiteY93" fmla="*/ 908839 h 1092840"/>
                <a:gd name="connsiteX94" fmla="*/ 342636 w 1143000"/>
                <a:gd name="connsiteY94" fmla="*/ 893863 h 1092840"/>
                <a:gd name="connsiteX95" fmla="*/ 335621 w 1143000"/>
                <a:gd name="connsiteY95" fmla="*/ 878220 h 1092840"/>
                <a:gd name="connsiteX96" fmla="*/ 329088 w 1143000"/>
                <a:gd name="connsiteY96" fmla="*/ 861905 h 1092840"/>
                <a:gd name="connsiteX97" fmla="*/ 323045 w 1143000"/>
                <a:gd name="connsiteY97" fmla="*/ 844910 h 1092840"/>
                <a:gd name="connsiteX98" fmla="*/ 317507 w 1143000"/>
                <a:gd name="connsiteY98" fmla="*/ 827224 h 1092840"/>
                <a:gd name="connsiteX99" fmla="*/ 312493 w 1143000"/>
                <a:gd name="connsiteY99" fmla="*/ 808838 h 1092840"/>
                <a:gd name="connsiteX100" fmla="*/ 308007 w 1143000"/>
                <a:gd name="connsiteY100" fmla="*/ 789748 h 1092840"/>
                <a:gd name="connsiteX101" fmla="*/ 304073 w 1143000"/>
                <a:gd name="connsiteY101" fmla="*/ 769938 h 1092840"/>
                <a:gd name="connsiteX102" fmla="*/ 300697 w 1143000"/>
                <a:gd name="connsiteY102" fmla="*/ 749409 h 1092840"/>
                <a:gd name="connsiteX103" fmla="*/ 297902 w 1143000"/>
                <a:gd name="connsiteY103" fmla="*/ 728147 h 1092840"/>
                <a:gd name="connsiteX104" fmla="*/ 295687 w 1143000"/>
                <a:gd name="connsiteY104" fmla="*/ 706147 h 1092840"/>
                <a:gd name="connsiteX105" fmla="*/ 294083 w 1143000"/>
                <a:gd name="connsiteY105" fmla="*/ 683394 h 1092840"/>
                <a:gd name="connsiteX106" fmla="*/ 293092 w 1143000"/>
                <a:gd name="connsiteY106" fmla="*/ 659884 h 1092840"/>
                <a:gd name="connsiteX107" fmla="*/ 292731 w 1143000"/>
                <a:gd name="connsiteY107" fmla="*/ 635613 h 1092840"/>
                <a:gd name="connsiteX108" fmla="*/ 293016 w 1143000"/>
                <a:gd name="connsiteY108" fmla="*/ 610565 h 1092840"/>
                <a:gd name="connsiteX109" fmla="*/ 271916 w 1143000"/>
                <a:gd name="connsiteY109" fmla="*/ 609608 h 1092840"/>
                <a:gd name="connsiteX110" fmla="*/ 251459 w 1143000"/>
                <a:gd name="connsiteY110" fmla="*/ 607641 h 1092840"/>
                <a:gd name="connsiteX111" fmla="*/ 231649 w 1143000"/>
                <a:gd name="connsiteY111" fmla="*/ 604694 h 1092840"/>
                <a:gd name="connsiteX112" fmla="*/ 212506 w 1143000"/>
                <a:gd name="connsiteY112" fmla="*/ 600779 h 1092840"/>
                <a:gd name="connsiteX113" fmla="*/ 194020 w 1143000"/>
                <a:gd name="connsiteY113" fmla="*/ 595917 h 1092840"/>
                <a:gd name="connsiteX114" fmla="*/ 176210 w 1143000"/>
                <a:gd name="connsiteY114" fmla="*/ 590132 h 1092840"/>
                <a:gd name="connsiteX115" fmla="*/ 159082 w 1143000"/>
                <a:gd name="connsiteY115" fmla="*/ 583437 h 1092840"/>
                <a:gd name="connsiteX116" fmla="*/ 142634 w 1143000"/>
                <a:gd name="connsiteY116" fmla="*/ 575860 h 1092840"/>
                <a:gd name="connsiteX117" fmla="*/ 126877 w 1143000"/>
                <a:gd name="connsiteY117" fmla="*/ 567417 h 1092840"/>
                <a:gd name="connsiteX118" fmla="*/ 111820 w 1143000"/>
                <a:gd name="connsiteY118" fmla="*/ 558127 h 1092840"/>
                <a:gd name="connsiteX119" fmla="*/ 97462 w 1143000"/>
                <a:gd name="connsiteY119" fmla="*/ 548012 h 1092840"/>
                <a:gd name="connsiteX120" fmla="*/ 83820 w 1143000"/>
                <a:gd name="connsiteY120" fmla="*/ 537093 h 1092840"/>
                <a:gd name="connsiteX121" fmla="*/ 70896 w 1143000"/>
                <a:gd name="connsiteY121" fmla="*/ 525393 h 1092840"/>
                <a:gd name="connsiteX122" fmla="*/ 58696 w 1143000"/>
                <a:gd name="connsiteY122" fmla="*/ 512922 h 1092840"/>
                <a:gd name="connsiteX123" fmla="*/ 47224 w 1143000"/>
                <a:gd name="connsiteY123" fmla="*/ 499707 h 1092840"/>
                <a:gd name="connsiteX124" fmla="*/ 36491 w 1143000"/>
                <a:gd name="connsiteY124" fmla="*/ 485769 h 1092840"/>
                <a:gd name="connsiteX125" fmla="*/ 26500 w 1143000"/>
                <a:gd name="connsiteY125" fmla="*/ 471131 h 1092840"/>
                <a:gd name="connsiteX126" fmla="*/ 17262 w 1143000"/>
                <a:gd name="connsiteY126" fmla="*/ 455802 h 1092840"/>
                <a:gd name="connsiteX127" fmla="*/ 8781 w 1143000"/>
                <a:gd name="connsiteY127" fmla="*/ 439811 h 1092840"/>
                <a:gd name="connsiteX128" fmla="*/ 0 w 1143000"/>
                <a:gd name="connsiteY128" fmla="*/ 419692 h 1092840"/>
                <a:gd name="connsiteX129" fmla="*/ 500 w 1143000"/>
                <a:gd name="connsiteY129" fmla="*/ 417887 h 1092840"/>
                <a:gd name="connsiteX130" fmla="*/ 11771 w 1143000"/>
                <a:gd name="connsiteY130" fmla="*/ 429583 h 1092840"/>
                <a:gd name="connsiteX131" fmla="*/ 23705 w 1143000"/>
                <a:gd name="connsiteY131" fmla="*/ 440735 h 1092840"/>
                <a:gd name="connsiteX132" fmla="*/ 36276 w 1143000"/>
                <a:gd name="connsiteY132" fmla="*/ 451340 h 1092840"/>
                <a:gd name="connsiteX133" fmla="*/ 49453 w 1143000"/>
                <a:gd name="connsiteY133" fmla="*/ 461373 h 1092840"/>
                <a:gd name="connsiteX134" fmla="*/ 63215 w 1143000"/>
                <a:gd name="connsiteY134" fmla="*/ 470831 h 1092840"/>
                <a:gd name="connsiteX135" fmla="*/ 77524 w 1143000"/>
                <a:gd name="connsiteY135" fmla="*/ 479693 h 1092840"/>
                <a:gd name="connsiteX136" fmla="*/ 92367 w 1143000"/>
                <a:gd name="connsiteY136" fmla="*/ 487945 h 1092840"/>
                <a:gd name="connsiteX137" fmla="*/ 107705 w 1143000"/>
                <a:gd name="connsiteY137" fmla="*/ 495579 h 1092840"/>
                <a:gd name="connsiteX138" fmla="*/ 123515 w 1143000"/>
                <a:gd name="connsiteY138" fmla="*/ 502579 h 1092840"/>
                <a:gd name="connsiteX139" fmla="*/ 139767 w 1143000"/>
                <a:gd name="connsiteY139" fmla="*/ 508931 h 1092840"/>
                <a:gd name="connsiteX140" fmla="*/ 156439 w 1143000"/>
                <a:gd name="connsiteY140" fmla="*/ 514622 h 1092840"/>
                <a:gd name="connsiteX141" fmla="*/ 173496 w 1143000"/>
                <a:gd name="connsiteY141" fmla="*/ 519636 h 1092840"/>
                <a:gd name="connsiteX142" fmla="*/ 190915 w 1143000"/>
                <a:gd name="connsiteY142" fmla="*/ 523964 h 1092840"/>
                <a:gd name="connsiteX143" fmla="*/ 208673 w 1143000"/>
                <a:gd name="connsiteY143" fmla="*/ 527593 h 1092840"/>
                <a:gd name="connsiteX144" fmla="*/ 226730 w 1143000"/>
                <a:gd name="connsiteY144" fmla="*/ 530502 h 1092840"/>
                <a:gd name="connsiteX145" fmla="*/ 245073 w 1143000"/>
                <a:gd name="connsiteY145" fmla="*/ 532688 h 1092840"/>
                <a:gd name="connsiteX146" fmla="*/ 263664 w 1143000"/>
                <a:gd name="connsiteY146" fmla="*/ 534131 h 1092840"/>
                <a:gd name="connsiteX147" fmla="*/ 282478 w 1143000"/>
                <a:gd name="connsiteY147" fmla="*/ 534817 h 1092840"/>
                <a:gd name="connsiteX148" fmla="*/ 301488 w 1143000"/>
                <a:gd name="connsiteY148" fmla="*/ 534736 h 1092840"/>
                <a:gd name="connsiteX149" fmla="*/ 320669 w 1143000"/>
                <a:gd name="connsiteY149" fmla="*/ 533869 h 1092840"/>
                <a:gd name="connsiteX150" fmla="*/ 339993 w 1143000"/>
                <a:gd name="connsiteY150" fmla="*/ 532212 h 1092840"/>
                <a:gd name="connsiteX151" fmla="*/ 359431 w 1143000"/>
                <a:gd name="connsiteY151" fmla="*/ 529741 h 1092840"/>
                <a:gd name="connsiteX152" fmla="*/ 378955 w 1143000"/>
                <a:gd name="connsiteY152" fmla="*/ 526450 h 1092840"/>
                <a:gd name="connsiteX153" fmla="*/ 409093 w 1143000"/>
                <a:gd name="connsiteY153" fmla="*/ 519712 h 1092840"/>
                <a:gd name="connsiteX154" fmla="*/ 429822 w 1143000"/>
                <a:gd name="connsiteY154" fmla="*/ 513912 h 1092840"/>
                <a:gd name="connsiteX155" fmla="*/ 439988 w 1143000"/>
                <a:gd name="connsiteY155" fmla="*/ 510722 h 1092840"/>
                <a:gd name="connsiteX156" fmla="*/ 433941 w 1143000"/>
                <a:gd name="connsiteY156" fmla="*/ 526388 h 1092840"/>
                <a:gd name="connsiteX157" fmla="*/ 428622 w 1143000"/>
                <a:gd name="connsiteY157" fmla="*/ 542650 h 1092840"/>
                <a:gd name="connsiteX158" fmla="*/ 424026 w 1143000"/>
                <a:gd name="connsiteY158" fmla="*/ 559446 h 1092840"/>
                <a:gd name="connsiteX159" fmla="*/ 420136 w 1143000"/>
                <a:gd name="connsiteY159" fmla="*/ 576722 h 1092840"/>
                <a:gd name="connsiteX160" fmla="*/ 416955 w 1143000"/>
                <a:gd name="connsiteY160" fmla="*/ 594408 h 1092840"/>
                <a:gd name="connsiteX161" fmla="*/ 414469 w 1143000"/>
                <a:gd name="connsiteY161" fmla="*/ 612451 h 1092840"/>
                <a:gd name="connsiteX162" fmla="*/ 412669 w 1143000"/>
                <a:gd name="connsiteY162" fmla="*/ 630785 h 1092840"/>
                <a:gd name="connsiteX163" fmla="*/ 411545 w 1143000"/>
                <a:gd name="connsiteY163" fmla="*/ 649351 h 1092840"/>
                <a:gd name="connsiteX164" fmla="*/ 411098 w 1143000"/>
                <a:gd name="connsiteY164" fmla="*/ 668089 h 1092840"/>
                <a:gd name="connsiteX165" fmla="*/ 411307 w 1143000"/>
                <a:gd name="connsiteY165" fmla="*/ 686942 h 1092840"/>
                <a:gd name="connsiteX166" fmla="*/ 412174 w 1143000"/>
                <a:gd name="connsiteY166" fmla="*/ 705842 h 1092840"/>
                <a:gd name="connsiteX167" fmla="*/ 413688 w 1143000"/>
                <a:gd name="connsiteY167" fmla="*/ 724733 h 1092840"/>
                <a:gd name="connsiteX168" fmla="*/ 415836 w 1143000"/>
                <a:gd name="connsiteY168" fmla="*/ 743557 h 1092840"/>
                <a:gd name="connsiteX169" fmla="*/ 418617 w 1143000"/>
                <a:gd name="connsiteY169" fmla="*/ 762243 h 1092840"/>
                <a:gd name="connsiteX170" fmla="*/ 422017 w 1143000"/>
                <a:gd name="connsiteY170" fmla="*/ 780743 h 1092840"/>
                <a:gd name="connsiteX171" fmla="*/ 426026 w 1143000"/>
                <a:gd name="connsiteY171" fmla="*/ 798986 h 1092840"/>
                <a:gd name="connsiteX172" fmla="*/ 430646 w 1143000"/>
                <a:gd name="connsiteY172" fmla="*/ 816919 h 1092840"/>
                <a:gd name="connsiteX173" fmla="*/ 435860 w 1143000"/>
                <a:gd name="connsiteY173" fmla="*/ 834481 h 1092840"/>
                <a:gd name="connsiteX174" fmla="*/ 441660 w 1143000"/>
                <a:gd name="connsiteY174" fmla="*/ 851605 h 1092840"/>
                <a:gd name="connsiteX175" fmla="*/ 448041 w 1143000"/>
                <a:gd name="connsiteY175" fmla="*/ 868234 h 1092840"/>
                <a:gd name="connsiteX176" fmla="*/ 454993 w 1143000"/>
                <a:gd name="connsiteY176" fmla="*/ 884310 h 1092840"/>
                <a:gd name="connsiteX177" fmla="*/ 462508 w 1143000"/>
                <a:gd name="connsiteY177" fmla="*/ 899768 h 1092840"/>
                <a:gd name="connsiteX178" fmla="*/ 470579 w 1143000"/>
                <a:gd name="connsiteY178" fmla="*/ 914549 h 1092840"/>
                <a:gd name="connsiteX179" fmla="*/ 479194 w 1143000"/>
                <a:gd name="connsiteY179" fmla="*/ 928597 h 1092840"/>
                <a:gd name="connsiteX180" fmla="*/ 488351 w 1143000"/>
                <a:gd name="connsiteY180" fmla="*/ 941839 h 1092840"/>
                <a:gd name="connsiteX181" fmla="*/ 498036 w 1143000"/>
                <a:gd name="connsiteY181" fmla="*/ 954230 h 1092840"/>
                <a:gd name="connsiteX182" fmla="*/ 508242 w 1143000"/>
                <a:gd name="connsiteY182" fmla="*/ 965697 h 1092840"/>
                <a:gd name="connsiteX183" fmla="*/ 518965 w 1143000"/>
                <a:gd name="connsiteY183" fmla="*/ 976187 h 1092840"/>
                <a:gd name="connsiteX184" fmla="*/ 530189 w 1143000"/>
                <a:gd name="connsiteY184" fmla="*/ 985640 h 1092840"/>
                <a:gd name="connsiteX185" fmla="*/ 541913 w 1143000"/>
                <a:gd name="connsiteY185" fmla="*/ 993987 h 1092840"/>
                <a:gd name="connsiteX186" fmla="*/ 566818 w 1143000"/>
                <a:gd name="connsiteY186" fmla="*/ 1007135 h 1092840"/>
                <a:gd name="connsiteX187" fmla="*/ 579980 w 1143000"/>
                <a:gd name="connsiteY187" fmla="*/ 1011821 h 1092840"/>
                <a:gd name="connsiteX188" fmla="*/ 574594 w 1143000"/>
                <a:gd name="connsiteY188" fmla="*/ 993825 h 1092840"/>
                <a:gd name="connsiteX189" fmla="*/ 569523 w 1143000"/>
                <a:gd name="connsiteY189" fmla="*/ 975726 h 1092840"/>
                <a:gd name="connsiteX190" fmla="*/ 564756 w 1143000"/>
                <a:gd name="connsiteY190" fmla="*/ 957535 h 1092840"/>
                <a:gd name="connsiteX191" fmla="*/ 560308 w 1143000"/>
                <a:gd name="connsiteY191" fmla="*/ 939254 h 1092840"/>
                <a:gd name="connsiteX192" fmla="*/ 556170 w 1143000"/>
                <a:gd name="connsiteY192" fmla="*/ 920901 h 1092840"/>
                <a:gd name="connsiteX193" fmla="*/ 552351 w 1143000"/>
                <a:gd name="connsiteY193" fmla="*/ 902482 h 1092840"/>
                <a:gd name="connsiteX194" fmla="*/ 548842 w 1143000"/>
                <a:gd name="connsiteY194" fmla="*/ 884010 h 1092840"/>
                <a:gd name="connsiteX195" fmla="*/ 545656 w 1143000"/>
                <a:gd name="connsiteY195" fmla="*/ 865486 h 1092840"/>
                <a:gd name="connsiteX196" fmla="*/ 542784 w 1143000"/>
                <a:gd name="connsiteY196" fmla="*/ 846929 h 1092840"/>
                <a:gd name="connsiteX197" fmla="*/ 540237 w 1143000"/>
                <a:gd name="connsiteY197" fmla="*/ 828338 h 1092840"/>
                <a:gd name="connsiteX198" fmla="*/ 538008 w 1143000"/>
                <a:gd name="connsiteY198" fmla="*/ 809734 h 1092840"/>
                <a:gd name="connsiteX199" fmla="*/ 536103 w 1143000"/>
                <a:gd name="connsiteY199" fmla="*/ 791119 h 1092840"/>
                <a:gd name="connsiteX200" fmla="*/ 534523 w 1143000"/>
                <a:gd name="connsiteY200" fmla="*/ 772504 h 1092840"/>
                <a:gd name="connsiteX201" fmla="*/ 533265 w 1143000"/>
                <a:gd name="connsiteY201" fmla="*/ 753904 h 1092840"/>
                <a:gd name="connsiteX202" fmla="*/ 532337 w 1143000"/>
                <a:gd name="connsiteY202" fmla="*/ 735319 h 1092840"/>
                <a:gd name="connsiteX203" fmla="*/ 531737 w 1143000"/>
                <a:gd name="connsiteY203" fmla="*/ 716766 h 1092840"/>
                <a:gd name="connsiteX204" fmla="*/ 531461 w 1143000"/>
                <a:gd name="connsiteY204" fmla="*/ 698252 h 1092840"/>
                <a:gd name="connsiteX205" fmla="*/ 531518 w 1143000"/>
                <a:gd name="connsiteY205" fmla="*/ 679780 h 1092840"/>
                <a:gd name="connsiteX206" fmla="*/ 531908 w 1143000"/>
                <a:gd name="connsiteY206" fmla="*/ 661370 h 1092840"/>
                <a:gd name="connsiteX207" fmla="*/ 532627 w 1143000"/>
                <a:gd name="connsiteY207" fmla="*/ 643027 h 1092840"/>
                <a:gd name="connsiteX208" fmla="*/ 533680 w 1143000"/>
                <a:gd name="connsiteY208" fmla="*/ 624760 h 1092840"/>
                <a:gd name="connsiteX209" fmla="*/ 535070 w 1143000"/>
                <a:gd name="connsiteY209" fmla="*/ 606584 h 1092840"/>
                <a:gd name="connsiteX210" fmla="*/ 536799 w 1143000"/>
                <a:gd name="connsiteY210" fmla="*/ 588498 h 1092840"/>
                <a:gd name="connsiteX211" fmla="*/ 538861 w 1143000"/>
                <a:gd name="connsiteY211" fmla="*/ 570517 h 1092840"/>
                <a:gd name="connsiteX212" fmla="*/ 541260 w 1143000"/>
                <a:gd name="connsiteY212" fmla="*/ 552655 h 1092840"/>
                <a:gd name="connsiteX213" fmla="*/ 544004 w 1143000"/>
                <a:gd name="connsiteY213" fmla="*/ 534912 h 1092840"/>
                <a:gd name="connsiteX214" fmla="*/ 547089 w 1143000"/>
                <a:gd name="connsiteY214" fmla="*/ 517307 h 1092840"/>
                <a:gd name="connsiteX215" fmla="*/ 550518 w 1143000"/>
                <a:gd name="connsiteY215" fmla="*/ 499845 h 1092840"/>
                <a:gd name="connsiteX216" fmla="*/ 554285 w 1143000"/>
                <a:gd name="connsiteY216" fmla="*/ 482531 h 1092840"/>
                <a:gd name="connsiteX217" fmla="*/ 558404 w 1143000"/>
                <a:gd name="connsiteY217" fmla="*/ 465383 h 1092840"/>
                <a:gd name="connsiteX218" fmla="*/ 562865 w 1143000"/>
                <a:gd name="connsiteY218" fmla="*/ 448407 h 1092840"/>
                <a:gd name="connsiteX219" fmla="*/ 567675 w 1143000"/>
                <a:gd name="connsiteY219" fmla="*/ 431607 h 1092840"/>
                <a:gd name="connsiteX220" fmla="*/ 572832 w 1143000"/>
                <a:gd name="connsiteY220" fmla="*/ 415002 h 1092840"/>
                <a:gd name="connsiteX221" fmla="*/ 578342 w 1143000"/>
                <a:gd name="connsiteY221" fmla="*/ 398597 h 1092840"/>
                <a:gd name="connsiteX222" fmla="*/ 584204 w 1143000"/>
                <a:gd name="connsiteY222" fmla="*/ 382402 h 1092840"/>
                <a:gd name="connsiteX223" fmla="*/ 590413 w 1143000"/>
                <a:gd name="connsiteY223" fmla="*/ 366425 h 1092840"/>
                <a:gd name="connsiteX224" fmla="*/ 596980 w 1143000"/>
                <a:gd name="connsiteY224" fmla="*/ 350677 h 1092840"/>
                <a:gd name="connsiteX225" fmla="*/ 603904 w 1143000"/>
                <a:gd name="connsiteY225" fmla="*/ 335163 h 1092840"/>
                <a:gd name="connsiteX226" fmla="*/ 611180 w 1143000"/>
                <a:gd name="connsiteY226" fmla="*/ 319901 h 1092840"/>
                <a:gd name="connsiteX227" fmla="*/ 618818 w 1143000"/>
                <a:gd name="connsiteY227" fmla="*/ 304896 h 1092840"/>
                <a:gd name="connsiteX228" fmla="*/ 626814 w 1143000"/>
                <a:gd name="connsiteY228" fmla="*/ 290158 h 1092840"/>
                <a:gd name="connsiteX229" fmla="*/ 635171 w 1143000"/>
                <a:gd name="connsiteY229" fmla="*/ 275696 h 1092840"/>
                <a:gd name="connsiteX230" fmla="*/ 643885 w 1143000"/>
                <a:gd name="connsiteY230" fmla="*/ 261515 h 1092840"/>
                <a:gd name="connsiteX231" fmla="*/ 652966 w 1143000"/>
                <a:gd name="connsiteY231" fmla="*/ 247634 h 1092840"/>
                <a:gd name="connsiteX232" fmla="*/ 662409 w 1143000"/>
                <a:gd name="connsiteY232" fmla="*/ 234057 h 1092840"/>
                <a:gd name="connsiteX233" fmla="*/ 672219 w 1143000"/>
                <a:gd name="connsiteY233" fmla="*/ 220791 h 1092840"/>
                <a:gd name="connsiteX234" fmla="*/ 682390 w 1143000"/>
                <a:gd name="connsiteY234" fmla="*/ 207852 h 1092840"/>
                <a:gd name="connsiteX235" fmla="*/ 692933 w 1143000"/>
                <a:gd name="connsiteY235" fmla="*/ 195243 h 1092840"/>
                <a:gd name="connsiteX236" fmla="*/ 703847 w 1143000"/>
                <a:gd name="connsiteY236" fmla="*/ 182976 h 1092840"/>
                <a:gd name="connsiteX237" fmla="*/ 715129 w 1143000"/>
                <a:gd name="connsiteY237" fmla="*/ 171066 h 1092840"/>
                <a:gd name="connsiteX238" fmla="*/ 726781 w 1143000"/>
                <a:gd name="connsiteY238" fmla="*/ 159514 h 1092840"/>
                <a:gd name="connsiteX239" fmla="*/ 738810 w 1143000"/>
                <a:gd name="connsiteY239" fmla="*/ 148333 h 1092840"/>
                <a:gd name="connsiteX240" fmla="*/ 751210 w 1143000"/>
                <a:gd name="connsiteY240" fmla="*/ 137533 h 1092840"/>
                <a:gd name="connsiteX241" fmla="*/ 763986 w 1143000"/>
                <a:gd name="connsiteY241" fmla="*/ 127123 h 1092840"/>
                <a:gd name="connsiteX242" fmla="*/ 777133 w 1143000"/>
                <a:gd name="connsiteY242" fmla="*/ 117114 h 1092840"/>
                <a:gd name="connsiteX243" fmla="*/ 790667 w 1143000"/>
                <a:gd name="connsiteY243" fmla="*/ 107509 h 1092840"/>
                <a:gd name="connsiteX244" fmla="*/ 804572 w 1143000"/>
                <a:gd name="connsiteY244" fmla="*/ 98328 h 1092840"/>
                <a:gd name="connsiteX245" fmla="*/ 818863 w 1143000"/>
                <a:gd name="connsiteY245" fmla="*/ 89570 h 1092840"/>
                <a:gd name="connsiteX246" fmla="*/ 833534 w 1143000"/>
                <a:gd name="connsiteY246" fmla="*/ 81256 h 1092840"/>
                <a:gd name="connsiteX247" fmla="*/ 848587 w 1143000"/>
                <a:gd name="connsiteY247" fmla="*/ 73385 h 1092840"/>
                <a:gd name="connsiteX248" fmla="*/ 861587 w 1143000"/>
                <a:gd name="connsiteY248" fmla="*/ 67061 h 1092840"/>
                <a:gd name="connsiteX249" fmla="*/ 874863 w 1143000"/>
                <a:gd name="connsiteY249" fmla="*/ 60985 h 1092840"/>
                <a:gd name="connsiteX250" fmla="*/ 888406 w 1143000"/>
                <a:gd name="connsiteY250" fmla="*/ 55161 h 1092840"/>
                <a:gd name="connsiteX251" fmla="*/ 902211 w 1143000"/>
                <a:gd name="connsiteY251" fmla="*/ 49584 h 1092840"/>
                <a:gd name="connsiteX252" fmla="*/ 916268 w 1143000"/>
                <a:gd name="connsiteY252" fmla="*/ 44275 h 1092840"/>
                <a:gd name="connsiteX253" fmla="*/ 930568 w 1143000"/>
                <a:gd name="connsiteY253" fmla="*/ 39227 h 1092840"/>
                <a:gd name="connsiteX254" fmla="*/ 945102 w 1143000"/>
                <a:gd name="connsiteY254" fmla="*/ 34451 h 1092840"/>
                <a:gd name="connsiteX255" fmla="*/ 959859 w 1143000"/>
                <a:gd name="connsiteY255" fmla="*/ 29956 h 1092840"/>
                <a:gd name="connsiteX256" fmla="*/ 974826 w 1143000"/>
                <a:gd name="connsiteY256" fmla="*/ 25736 h 1092840"/>
                <a:gd name="connsiteX257" fmla="*/ 990002 w 1143000"/>
                <a:gd name="connsiteY257" fmla="*/ 21813 h 1092840"/>
                <a:gd name="connsiteX258" fmla="*/ 1005374 w 1143000"/>
                <a:gd name="connsiteY258" fmla="*/ 18179 h 1092840"/>
                <a:gd name="connsiteX259" fmla="*/ 1020930 w 1143000"/>
                <a:gd name="connsiteY259" fmla="*/ 14846 h 1092840"/>
                <a:gd name="connsiteX260" fmla="*/ 1036669 w 1143000"/>
                <a:gd name="connsiteY260" fmla="*/ 11817 h 1092840"/>
                <a:gd name="connsiteX261" fmla="*/ 1052569 w 1143000"/>
                <a:gd name="connsiteY261" fmla="*/ 9103 h 1092840"/>
                <a:gd name="connsiteX262" fmla="*/ 1068636 w 1143000"/>
                <a:gd name="connsiteY262" fmla="*/ 6703 h 1092840"/>
                <a:gd name="connsiteX263" fmla="*/ 1084850 w 1143000"/>
                <a:gd name="connsiteY263" fmla="*/ 4627 h 1092840"/>
                <a:gd name="connsiteX264" fmla="*/ 1101202 w 1143000"/>
                <a:gd name="connsiteY264" fmla="*/ 2875 h 1092840"/>
                <a:gd name="connsiteX265" fmla="*/ 1117688 w 1143000"/>
                <a:gd name="connsiteY265" fmla="*/ 1460 h 1092840"/>
                <a:gd name="connsiteX266" fmla="*/ 1134298 w 1143000"/>
                <a:gd name="connsiteY266" fmla="*/ 379 h 1092840"/>
                <a:gd name="connsiteX267" fmla="*/ 1143000 w 1143000"/>
                <a:gd name="connsiteY267" fmla="*/ 0 h 109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43000" h="1092840">
                  <a:moveTo>
                    <a:pt x="1143000" y="0"/>
                  </a:moveTo>
                  <a:lnTo>
                    <a:pt x="1143000" y="99531"/>
                  </a:lnTo>
                  <a:lnTo>
                    <a:pt x="1131798" y="100952"/>
                  </a:lnTo>
                  <a:lnTo>
                    <a:pt x="1110140" y="104580"/>
                  </a:lnTo>
                  <a:lnTo>
                    <a:pt x="1089117" y="108980"/>
                  </a:lnTo>
                  <a:lnTo>
                    <a:pt x="1068712" y="114128"/>
                  </a:lnTo>
                  <a:lnTo>
                    <a:pt x="1048926" y="119990"/>
                  </a:lnTo>
                  <a:lnTo>
                    <a:pt x="1029745" y="126533"/>
                  </a:lnTo>
                  <a:lnTo>
                    <a:pt x="1011168" y="133733"/>
                  </a:lnTo>
                  <a:lnTo>
                    <a:pt x="993178" y="141561"/>
                  </a:lnTo>
                  <a:lnTo>
                    <a:pt x="975768" y="149980"/>
                  </a:lnTo>
                  <a:lnTo>
                    <a:pt x="958935" y="158966"/>
                  </a:lnTo>
                  <a:lnTo>
                    <a:pt x="942668" y="168485"/>
                  </a:lnTo>
                  <a:lnTo>
                    <a:pt x="926959" y="178514"/>
                  </a:lnTo>
                  <a:lnTo>
                    <a:pt x="911801" y="189019"/>
                  </a:lnTo>
                  <a:lnTo>
                    <a:pt x="897182" y="199971"/>
                  </a:lnTo>
                  <a:lnTo>
                    <a:pt x="883096" y="211338"/>
                  </a:lnTo>
                  <a:lnTo>
                    <a:pt x="869539" y="223095"/>
                  </a:lnTo>
                  <a:lnTo>
                    <a:pt x="856496" y="235205"/>
                  </a:lnTo>
                  <a:lnTo>
                    <a:pt x="843963" y="247648"/>
                  </a:lnTo>
                  <a:lnTo>
                    <a:pt x="831929" y="260386"/>
                  </a:lnTo>
                  <a:lnTo>
                    <a:pt x="820391" y="273391"/>
                  </a:lnTo>
                  <a:lnTo>
                    <a:pt x="809334" y="286639"/>
                  </a:lnTo>
                  <a:lnTo>
                    <a:pt x="798758" y="300091"/>
                  </a:lnTo>
                  <a:lnTo>
                    <a:pt x="788643" y="313725"/>
                  </a:lnTo>
                  <a:lnTo>
                    <a:pt x="778991" y="327511"/>
                  </a:lnTo>
                  <a:lnTo>
                    <a:pt x="769791" y="341415"/>
                  </a:lnTo>
                  <a:lnTo>
                    <a:pt x="761038" y="355406"/>
                  </a:lnTo>
                  <a:lnTo>
                    <a:pt x="752714" y="369458"/>
                  </a:lnTo>
                  <a:lnTo>
                    <a:pt x="744819" y="383544"/>
                  </a:lnTo>
                  <a:lnTo>
                    <a:pt x="737343" y="397630"/>
                  </a:lnTo>
                  <a:lnTo>
                    <a:pt x="730281" y="411688"/>
                  </a:lnTo>
                  <a:lnTo>
                    <a:pt x="723619" y="425683"/>
                  </a:lnTo>
                  <a:lnTo>
                    <a:pt x="717352" y="439592"/>
                  </a:lnTo>
                  <a:lnTo>
                    <a:pt x="711466" y="453388"/>
                  </a:lnTo>
                  <a:lnTo>
                    <a:pt x="705967" y="467031"/>
                  </a:lnTo>
                  <a:lnTo>
                    <a:pt x="700833" y="480498"/>
                  </a:lnTo>
                  <a:lnTo>
                    <a:pt x="691642" y="506779"/>
                  </a:lnTo>
                  <a:lnTo>
                    <a:pt x="683828" y="531998"/>
                  </a:lnTo>
                  <a:lnTo>
                    <a:pt x="677338" y="555908"/>
                  </a:lnTo>
                  <a:lnTo>
                    <a:pt x="672090" y="578279"/>
                  </a:lnTo>
                  <a:lnTo>
                    <a:pt x="668033" y="598870"/>
                  </a:lnTo>
                  <a:lnTo>
                    <a:pt x="665090" y="617446"/>
                  </a:lnTo>
                  <a:lnTo>
                    <a:pt x="662823" y="635299"/>
                  </a:lnTo>
                  <a:lnTo>
                    <a:pt x="660885" y="653561"/>
                  </a:lnTo>
                  <a:lnTo>
                    <a:pt x="659290" y="672180"/>
                  </a:lnTo>
                  <a:lnTo>
                    <a:pt x="658033" y="691113"/>
                  </a:lnTo>
                  <a:lnTo>
                    <a:pt x="657114" y="710313"/>
                  </a:lnTo>
                  <a:lnTo>
                    <a:pt x="656547" y="729728"/>
                  </a:lnTo>
                  <a:lnTo>
                    <a:pt x="656323" y="749314"/>
                  </a:lnTo>
                  <a:lnTo>
                    <a:pt x="656452" y="769024"/>
                  </a:lnTo>
                  <a:lnTo>
                    <a:pt x="656933" y="788809"/>
                  </a:lnTo>
                  <a:lnTo>
                    <a:pt x="657771" y="808624"/>
                  </a:lnTo>
                  <a:lnTo>
                    <a:pt x="658966" y="828419"/>
                  </a:lnTo>
                  <a:lnTo>
                    <a:pt x="660528" y="848153"/>
                  </a:lnTo>
                  <a:lnTo>
                    <a:pt x="662452" y="867767"/>
                  </a:lnTo>
                  <a:lnTo>
                    <a:pt x="664742" y="887225"/>
                  </a:lnTo>
                  <a:lnTo>
                    <a:pt x="667404" y="906473"/>
                  </a:lnTo>
                  <a:lnTo>
                    <a:pt x="670438" y="925463"/>
                  </a:lnTo>
                  <a:lnTo>
                    <a:pt x="673847" y="944154"/>
                  </a:lnTo>
                  <a:lnTo>
                    <a:pt x="677638" y="962497"/>
                  </a:lnTo>
                  <a:lnTo>
                    <a:pt x="681809" y="980440"/>
                  </a:lnTo>
                  <a:lnTo>
                    <a:pt x="686366" y="997940"/>
                  </a:lnTo>
                  <a:lnTo>
                    <a:pt x="691309" y="1014950"/>
                  </a:lnTo>
                  <a:lnTo>
                    <a:pt x="696638" y="1031421"/>
                  </a:lnTo>
                  <a:lnTo>
                    <a:pt x="702367" y="1047302"/>
                  </a:lnTo>
                  <a:lnTo>
                    <a:pt x="708486" y="1062554"/>
                  </a:lnTo>
                  <a:lnTo>
                    <a:pt x="715005" y="1077126"/>
                  </a:lnTo>
                  <a:lnTo>
                    <a:pt x="721924" y="1090969"/>
                  </a:lnTo>
                  <a:lnTo>
                    <a:pt x="706938" y="1092007"/>
                  </a:lnTo>
                  <a:lnTo>
                    <a:pt x="692000" y="1092636"/>
                  </a:lnTo>
                  <a:lnTo>
                    <a:pt x="677123" y="1092840"/>
                  </a:lnTo>
                  <a:lnTo>
                    <a:pt x="662328" y="1092621"/>
                  </a:lnTo>
                  <a:lnTo>
                    <a:pt x="647623" y="1091965"/>
                  </a:lnTo>
                  <a:lnTo>
                    <a:pt x="633023" y="1090860"/>
                  </a:lnTo>
                  <a:lnTo>
                    <a:pt x="618542" y="1089302"/>
                  </a:lnTo>
                  <a:lnTo>
                    <a:pt x="604195" y="1087284"/>
                  </a:lnTo>
                  <a:lnTo>
                    <a:pt x="589989" y="1084793"/>
                  </a:lnTo>
                  <a:lnTo>
                    <a:pt x="575951" y="1081826"/>
                  </a:lnTo>
                  <a:lnTo>
                    <a:pt x="548403" y="1074417"/>
                  </a:lnTo>
                  <a:lnTo>
                    <a:pt x="521665" y="1064988"/>
                  </a:lnTo>
                  <a:lnTo>
                    <a:pt x="495846" y="1053474"/>
                  </a:lnTo>
                  <a:lnTo>
                    <a:pt x="471055" y="1039812"/>
                  </a:lnTo>
                  <a:lnTo>
                    <a:pt x="447408" y="1023926"/>
                  </a:lnTo>
                  <a:lnTo>
                    <a:pt x="436041" y="1015130"/>
                  </a:lnTo>
                  <a:lnTo>
                    <a:pt x="425003" y="1005754"/>
                  </a:lnTo>
                  <a:lnTo>
                    <a:pt x="414307" y="995788"/>
                  </a:lnTo>
                  <a:lnTo>
                    <a:pt x="403964" y="985225"/>
                  </a:lnTo>
                  <a:lnTo>
                    <a:pt x="393988" y="974059"/>
                  </a:lnTo>
                  <a:lnTo>
                    <a:pt x="384398" y="962278"/>
                  </a:lnTo>
                  <a:lnTo>
                    <a:pt x="375198" y="949873"/>
                  </a:lnTo>
                  <a:lnTo>
                    <a:pt x="366407" y="936839"/>
                  </a:lnTo>
                  <a:lnTo>
                    <a:pt x="358045" y="923163"/>
                  </a:lnTo>
                  <a:lnTo>
                    <a:pt x="350112" y="908839"/>
                  </a:lnTo>
                  <a:lnTo>
                    <a:pt x="342636" y="893863"/>
                  </a:lnTo>
                  <a:lnTo>
                    <a:pt x="335621" y="878220"/>
                  </a:lnTo>
                  <a:lnTo>
                    <a:pt x="329088" y="861905"/>
                  </a:lnTo>
                  <a:lnTo>
                    <a:pt x="323045" y="844910"/>
                  </a:lnTo>
                  <a:lnTo>
                    <a:pt x="317507" y="827224"/>
                  </a:lnTo>
                  <a:lnTo>
                    <a:pt x="312493" y="808838"/>
                  </a:lnTo>
                  <a:lnTo>
                    <a:pt x="308007" y="789748"/>
                  </a:lnTo>
                  <a:lnTo>
                    <a:pt x="304073" y="769938"/>
                  </a:lnTo>
                  <a:lnTo>
                    <a:pt x="300697" y="749409"/>
                  </a:lnTo>
                  <a:lnTo>
                    <a:pt x="297902" y="728147"/>
                  </a:lnTo>
                  <a:lnTo>
                    <a:pt x="295687" y="706147"/>
                  </a:lnTo>
                  <a:lnTo>
                    <a:pt x="294083" y="683394"/>
                  </a:lnTo>
                  <a:lnTo>
                    <a:pt x="293092" y="659884"/>
                  </a:lnTo>
                  <a:lnTo>
                    <a:pt x="292731" y="635613"/>
                  </a:lnTo>
                  <a:lnTo>
                    <a:pt x="293016" y="610565"/>
                  </a:lnTo>
                  <a:lnTo>
                    <a:pt x="271916" y="609608"/>
                  </a:lnTo>
                  <a:lnTo>
                    <a:pt x="251459" y="607641"/>
                  </a:lnTo>
                  <a:lnTo>
                    <a:pt x="231649" y="604694"/>
                  </a:lnTo>
                  <a:lnTo>
                    <a:pt x="212506" y="600779"/>
                  </a:lnTo>
                  <a:lnTo>
                    <a:pt x="194020" y="595917"/>
                  </a:lnTo>
                  <a:lnTo>
                    <a:pt x="176210" y="590132"/>
                  </a:lnTo>
                  <a:lnTo>
                    <a:pt x="159082" y="583437"/>
                  </a:lnTo>
                  <a:lnTo>
                    <a:pt x="142634" y="575860"/>
                  </a:lnTo>
                  <a:lnTo>
                    <a:pt x="126877" y="567417"/>
                  </a:lnTo>
                  <a:lnTo>
                    <a:pt x="111820" y="558127"/>
                  </a:lnTo>
                  <a:lnTo>
                    <a:pt x="97462" y="548012"/>
                  </a:lnTo>
                  <a:lnTo>
                    <a:pt x="83820" y="537093"/>
                  </a:lnTo>
                  <a:lnTo>
                    <a:pt x="70896" y="525393"/>
                  </a:lnTo>
                  <a:lnTo>
                    <a:pt x="58696" y="512922"/>
                  </a:lnTo>
                  <a:lnTo>
                    <a:pt x="47224" y="499707"/>
                  </a:lnTo>
                  <a:lnTo>
                    <a:pt x="36491" y="485769"/>
                  </a:lnTo>
                  <a:lnTo>
                    <a:pt x="26500" y="471131"/>
                  </a:lnTo>
                  <a:lnTo>
                    <a:pt x="17262" y="455802"/>
                  </a:lnTo>
                  <a:lnTo>
                    <a:pt x="8781" y="439811"/>
                  </a:lnTo>
                  <a:lnTo>
                    <a:pt x="0" y="419692"/>
                  </a:lnTo>
                  <a:lnTo>
                    <a:pt x="500" y="417887"/>
                  </a:lnTo>
                  <a:lnTo>
                    <a:pt x="11771" y="429583"/>
                  </a:lnTo>
                  <a:lnTo>
                    <a:pt x="23705" y="440735"/>
                  </a:lnTo>
                  <a:lnTo>
                    <a:pt x="36276" y="451340"/>
                  </a:lnTo>
                  <a:lnTo>
                    <a:pt x="49453" y="461373"/>
                  </a:lnTo>
                  <a:lnTo>
                    <a:pt x="63215" y="470831"/>
                  </a:lnTo>
                  <a:lnTo>
                    <a:pt x="77524" y="479693"/>
                  </a:lnTo>
                  <a:lnTo>
                    <a:pt x="92367" y="487945"/>
                  </a:lnTo>
                  <a:lnTo>
                    <a:pt x="107705" y="495579"/>
                  </a:lnTo>
                  <a:lnTo>
                    <a:pt x="123515" y="502579"/>
                  </a:lnTo>
                  <a:lnTo>
                    <a:pt x="139767" y="508931"/>
                  </a:lnTo>
                  <a:lnTo>
                    <a:pt x="156439" y="514622"/>
                  </a:lnTo>
                  <a:lnTo>
                    <a:pt x="173496" y="519636"/>
                  </a:lnTo>
                  <a:lnTo>
                    <a:pt x="190915" y="523964"/>
                  </a:lnTo>
                  <a:lnTo>
                    <a:pt x="208673" y="527593"/>
                  </a:lnTo>
                  <a:lnTo>
                    <a:pt x="226730" y="530502"/>
                  </a:lnTo>
                  <a:lnTo>
                    <a:pt x="245073" y="532688"/>
                  </a:lnTo>
                  <a:lnTo>
                    <a:pt x="263664" y="534131"/>
                  </a:lnTo>
                  <a:lnTo>
                    <a:pt x="282478" y="534817"/>
                  </a:lnTo>
                  <a:lnTo>
                    <a:pt x="301488" y="534736"/>
                  </a:lnTo>
                  <a:lnTo>
                    <a:pt x="320669" y="533869"/>
                  </a:lnTo>
                  <a:lnTo>
                    <a:pt x="339993" y="532212"/>
                  </a:lnTo>
                  <a:lnTo>
                    <a:pt x="359431" y="529741"/>
                  </a:lnTo>
                  <a:lnTo>
                    <a:pt x="378955" y="526450"/>
                  </a:lnTo>
                  <a:lnTo>
                    <a:pt x="409093" y="519712"/>
                  </a:lnTo>
                  <a:lnTo>
                    <a:pt x="429822" y="513912"/>
                  </a:lnTo>
                  <a:lnTo>
                    <a:pt x="439988" y="510722"/>
                  </a:lnTo>
                  <a:lnTo>
                    <a:pt x="433941" y="526388"/>
                  </a:lnTo>
                  <a:lnTo>
                    <a:pt x="428622" y="542650"/>
                  </a:lnTo>
                  <a:lnTo>
                    <a:pt x="424026" y="559446"/>
                  </a:lnTo>
                  <a:lnTo>
                    <a:pt x="420136" y="576722"/>
                  </a:lnTo>
                  <a:lnTo>
                    <a:pt x="416955" y="594408"/>
                  </a:lnTo>
                  <a:lnTo>
                    <a:pt x="414469" y="612451"/>
                  </a:lnTo>
                  <a:lnTo>
                    <a:pt x="412669" y="630785"/>
                  </a:lnTo>
                  <a:lnTo>
                    <a:pt x="411545" y="649351"/>
                  </a:lnTo>
                  <a:lnTo>
                    <a:pt x="411098" y="668089"/>
                  </a:lnTo>
                  <a:lnTo>
                    <a:pt x="411307" y="686942"/>
                  </a:lnTo>
                  <a:lnTo>
                    <a:pt x="412174" y="705842"/>
                  </a:lnTo>
                  <a:lnTo>
                    <a:pt x="413688" y="724733"/>
                  </a:lnTo>
                  <a:lnTo>
                    <a:pt x="415836" y="743557"/>
                  </a:lnTo>
                  <a:lnTo>
                    <a:pt x="418617" y="762243"/>
                  </a:lnTo>
                  <a:lnTo>
                    <a:pt x="422017" y="780743"/>
                  </a:lnTo>
                  <a:lnTo>
                    <a:pt x="426026" y="798986"/>
                  </a:lnTo>
                  <a:lnTo>
                    <a:pt x="430646" y="816919"/>
                  </a:lnTo>
                  <a:lnTo>
                    <a:pt x="435860" y="834481"/>
                  </a:lnTo>
                  <a:lnTo>
                    <a:pt x="441660" y="851605"/>
                  </a:lnTo>
                  <a:lnTo>
                    <a:pt x="448041" y="868234"/>
                  </a:lnTo>
                  <a:lnTo>
                    <a:pt x="454993" y="884310"/>
                  </a:lnTo>
                  <a:lnTo>
                    <a:pt x="462508" y="899768"/>
                  </a:lnTo>
                  <a:lnTo>
                    <a:pt x="470579" y="914549"/>
                  </a:lnTo>
                  <a:lnTo>
                    <a:pt x="479194" y="928597"/>
                  </a:lnTo>
                  <a:lnTo>
                    <a:pt x="488351" y="941839"/>
                  </a:lnTo>
                  <a:lnTo>
                    <a:pt x="498036" y="954230"/>
                  </a:lnTo>
                  <a:lnTo>
                    <a:pt x="508242" y="965697"/>
                  </a:lnTo>
                  <a:lnTo>
                    <a:pt x="518965" y="976187"/>
                  </a:lnTo>
                  <a:lnTo>
                    <a:pt x="530189" y="985640"/>
                  </a:lnTo>
                  <a:lnTo>
                    <a:pt x="541913" y="993987"/>
                  </a:lnTo>
                  <a:lnTo>
                    <a:pt x="566818" y="1007135"/>
                  </a:lnTo>
                  <a:lnTo>
                    <a:pt x="579980" y="1011821"/>
                  </a:lnTo>
                  <a:lnTo>
                    <a:pt x="574594" y="993825"/>
                  </a:lnTo>
                  <a:lnTo>
                    <a:pt x="569523" y="975726"/>
                  </a:lnTo>
                  <a:lnTo>
                    <a:pt x="564756" y="957535"/>
                  </a:lnTo>
                  <a:lnTo>
                    <a:pt x="560308" y="939254"/>
                  </a:lnTo>
                  <a:lnTo>
                    <a:pt x="556170" y="920901"/>
                  </a:lnTo>
                  <a:lnTo>
                    <a:pt x="552351" y="902482"/>
                  </a:lnTo>
                  <a:lnTo>
                    <a:pt x="548842" y="884010"/>
                  </a:lnTo>
                  <a:lnTo>
                    <a:pt x="545656" y="865486"/>
                  </a:lnTo>
                  <a:lnTo>
                    <a:pt x="542784" y="846929"/>
                  </a:lnTo>
                  <a:lnTo>
                    <a:pt x="540237" y="828338"/>
                  </a:lnTo>
                  <a:lnTo>
                    <a:pt x="538008" y="809734"/>
                  </a:lnTo>
                  <a:lnTo>
                    <a:pt x="536103" y="791119"/>
                  </a:lnTo>
                  <a:lnTo>
                    <a:pt x="534523" y="772504"/>
                  </a:lnTo>
                  <a:lnTo>
                    <a:pt x="533265" y="753904"/>
                  </a:lnTo>
                  <a:lnTo>
                    <a:pt x="532337" y="735319"/>
                  </a:lnTo>
                  <a:lnTo>
                    <a:pt x="531737" y="716766"/>
                  </a:lnTo>
                  <a:lnTo>
                    <a:pt x="531461" y="698252"/>
                  </a:lnTo>
                  <a:lnTo>
                    <a:pt x="531518" y="679780"/>
                  </a:lnTo>
                  <a:lnTo>
                    <a:pt x="531908" y="661370"/>
                  </a:lnTo>
                  <a:lnTo>
                    <a:pt x="532627" y="643027"/>
                  </a:lnTo>
                  <a:lnTo>
                    <a:pt x="533680" y="624760"/>
                  </a:lnTo>
                  <a:lnTo>
                    <a:pt x="535070" y="606584"/>
                  </a:lnTo>
                  <a:lnTo>
                    <a:pt x="536799" y="588498"/>
                  </a:lnTo>
                  <a:lnTo>
                    <a:pt x="538861" y="570517"/>
                  </a:lnTo>
                  <a:lnTo>
                    <a:pt x="541260" y="552655"/>
                  </a:lnTo>
                  <a:lnTo>
                    <a:pt x="544004" y="534912"/>
                  </a:lnTo>
                  <a:lnTo>
                    <a:pt x="547089" y="517307"/>
                  </a:lnTo>
                  <a:lnTo>
                    <a:pt x="550518" y="499845"/>
                  </a:lnTo>
                  <a:lnTo>
                    <a:pt x="554285" y="482531"/>
                  </a:lnTo>
                  <a:lnTo>
                    <a:pt x="558404" y="465383"/>
                  </a:lnTo>
                  <a:lnTo>
                    <a:pt x="562865" y="448407"/>
                  </a:lnTo>
                  <a:lnTo>
                    <a:pt x="567675" y="431607"/>
                  </a:lnTo>
                  <a:lnTo>
                    <a:pt x="572832" y="415002"/>
                  </a:lnTo>
                  <a:lnTo>
                    <a:pt x="578342" y="398597"/>
                  </a:lnTo>
                  <a:lnTo>
                    <a:pt x="584204" y="382402"/>
                  </a:lnTo>
                  <a:lnTo>
                    <a:pt x="590413" y="366425"/>
                  </a:lnTo>
                  <a:lnTo>
                    <a:pt x="596980" y="350677"/>
                  </a:lnTo>
                  <a:lnTo>
                    <a:pt x="603904" y="335163"/>
                  </a:lnTo>
                  <a:lnTo>
                    <a:pt x="611180" y="319901"/>
                  </a:lnTo>
                  <a:lnTo>
                    <a:pt x="618818" y="304896"/>
                  </a:lnTo>
                  <a:lnTo>
                    <a:pt x="626814" y="290158"/>
                  </a:lnTo>
                  <a:lnTo>
                    <a:pt x="635171" y="275696"/>
                  </a:lnTo>
                  <a:lnTo>
                    <a:pt x="643885" y="261515"/>
                  </a:lnTo>
                  <a:lnTo>
                    <a:pt x="652966" y="247634"/>
                  </a:lnTo>
                  <a:lnTo>
                    <a:pt x="662409" y="234057"/>
                  </a:lnTo>
                  <a:lnTo>
                    <a:pt x="672219" y="220791"/>
                  </a:lnTo>
                  <a:lnTo>
                    <a:pt x="682390" y="207852"/>
                  </a:lnTo>
                  <a:lnTo>
                    <a:pt x="692933" y="195243"/>
                  </a:lnTo>
                  <a:lnTo>
                    <a:pt x="703847" y="182976"/>
                  </a:lnTo>
                  <a:lnTo>
                    <a:pt x="715129" y="171066"/>
                  </a:lnTo>
                  <a:lnTo>
                    <a:pt x="726781" y="159514"/>
                  </a:lnTo>
                  <a:lnTo>
                    <a:pt x="738810" y="148333"/>
                  </a:lnTo>
                  <a:lnTo>
                    <a:pt x="751210" y="137533"/>
                  </a:lnTo>
                  <a:lnTo>
                    <a:pt x="763986" y="127123"/>
                  </a:lnTo>
                  <a:lnTo>
                    <a:pt x="777133" y="117114"/>
                  </a:lnTo>
                  <a:lnTo>
                    <a:pt x="790667" y="107509"/>
                  </a:lnTo>
                  <a:lnTo>
                    <a:pt x="804572" y="98328"/>
                  </a:lnTo>
                  <a:lnTo>
                    <a:pt x="818863" y="89570"/>
                  </a:lnTo>
                  <a:lnTo>
                    <a:pt x="833534" y="81256"/>
                  </a:lnTo>
                  <a:lnTo>
                    <a:pt x="848587" y="73385"/>
                  </a:lnTo>
                  <a:lnTo>
                    <a:pt x="861587" y="67061"/>
                  </a:lnTo>
                  <a:lnTo>
                    <a:pt x="874863" y="60985"/>
                  </a:lnTo>
                  <a:lnTo>
                    <a:pt x="888406" y="55161"/>
                  </a:lnTo>
                  <a:lnTo>
                    <a:pt x="902211" y="49584"/>
                  </a:lnTo>
                  <a:lnTo>
                    <a:pt x="916268" y="44275"/>
                  </a:lnTo>
                  <a:lnTo>
                    <a:pt x="930568" y="39227"/>
                  </a:lnTo>
                  <a:lnTo>
                    <a:pt x="945102" y="34451"/>
                  </a:lnTo>
                  <a:lnTo>
                    <a:pt x="959859" y="29956"/>
                  </a:lnTo>
                  <a:lnTo>
                    <a:pt x="974826" y="25736"/>
                  </a:lnTo>
                  <a:lnTo>
                    <a:pt x="990002" y="21813"/>
                  </a:lnTo>
                  <a:lnTo>
                    <a:pt x="1005374" y="18179"/>
                  </a:lnTo>
                  <a:lnTo>
                    <a:pt x="1020930" y="14846"/>
                  </a:lnTo>
                  <a:lnTo>
                    <a:pt x="1036669" y="11817"/>
                  </a:lnTo>
                  <a:lnTo>
                    <a:pt x="1052569" y="9103"/>
                  </a:lnTo>
                  <a:lnTo>
                    <a:pt x="1068636" y="6703"/>
                  </a:lnTo>
                  <a:lnTo>
                    <a:pt x="1084850" y="4627"/>
                  </a:lnTo>
                  <a:lnTo>
                    <a:pt x="1101202" y="2875"/>
                  </a:lnTo>
                  <a:lnTo>
                    <a:pt x="1117688" y="1460"/>
                  </a:lnTo>
                  <a:lnTo>
                    <a:pt x="1134298" y="379"/>
                  </a:lnTo>
                  <a:lnTo>
                    <a:pt x="114300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90A942-83AC-241F-6E87-AC632C780A70}"/>
                </a:ext>
              </a:extLst>
            </p:cNvPr>
            <p:cNvSpPr/>
            <p:nvPr userDrawn="1"/>
          </p:nvSpPr>
          <p:spPr>
            <a:xfrm>
              <a:off x="11900272" y="5542060"/>
              <a:ext cx="291728" cy="787651"/>
            </a:xfrm>
            <a:custGeom>
              <a:avLst/>
              <a:gdLst>
                <a:gd name="connsiteX0" fmla="*/ 291728 w 291728"/>
                <a:gd name="connsiteY0" fmla="*/ 0 h 787651"/>
                <a:gd name="connsiteX1" fmla="*/ 291728 w 291728"/>
                <a:gd name="connsiteY1" fmla="*/ 79686 h 787651"/>
                <a:gd name="connsiteX2" fmla="*/ 280245 w 291728"/>
                <a:gd name="connsiteY2" fmla="*/ 87145 h 787651"/>
                <a:gd name="connsiteX3" fmla="*/ 267707 w 291728"/>
                <a:gd name="connsiteY3" fmla="*/ 96031 h 787651"/>
                <a:gd name="connsiteX4" fmla="*/ 255540 w 291728"/>
                <a:gd name="connsiteY4" fmla="*/ 105422 h 787651"/>
                <a:gd name="connsiteX5" fmla="*/ 243754 w 291728"/>
                <a:gd name="connsiteY5" fmla="*/ 115322 h 787651"/>
                <a:gd name="connsiteX6" fmla="*/ 232388 w 291728"/>
                <a:gd name="connsiteY6" fmla="*/ 125712 h 787651"/>
                <a:gd name="connsiteX7" fmla="*/ 221450 w 291728"/>
                <a:gd name="connsiteY7" fmla="*/ 136598 h 787651"/>
                <a:gd name="connsiteX8" fmla="*/ 210968 w 291728"/>
                <a:gd name="connsiteY8" fmla="*/ 147970 h 787651"/>
                <a:gd name="connsiteX9" fmla="*/ 200968 w 291728"/>
                <a:gd name="connsiteY9" fmla="*/ 159822 h 787651"/>
                <a:gd name="connsiteX10" fmla="*/ 191468 w 291728"/>
                <a:gd name="connsiteY10" fmla="*/ 172151 h 787651"/>
                <a:gd name="connsiteX11" fmla="*/ 182497 w 291728"/>
                <a:gd name="connsiteY11" fmla="*/ 184946 h 787651"/>
                <a:gd name="connsiteX12" fmla="*/ 174068 w 291728"/>
                <a:gd name="connsiteY12" fmla="*/ 198208 h 787651"/>
                <a:gd name="connsiteX13" fmla="*/ 166206 w 291728"/>
                <a:gd name="connsiteY13" fmla="*/ 211928 h 787651"/>
                <a:gd name="connsiteX14" fmla="*/ 158940 w 291728"/>
                <a:gd name="connsiteY14" fmla="*/ 226099 h 787651"/>
                <a:gd name="connsiteX15" fmla="*/ 152282 w 291728"/>
                <a:gd name="connsiteY15" fmla="*/ 240713 h 787651"/>
                <a:gd name="connsiteX16" fmla="*/ 146268 w 291728"/>
                <a:gd name="connsiteY16" fmla="*/ 255775 h 787651"/>
                <a:gd name="connsiteX17" fmla="*/ 140906 w 291728"/>
                <a:gd name="connsiteY17" fmla="*/ 271271 h 787651"/>
                <a:gd name="connsiteX18" fmla="*/ 136230 w 291728"/>
                <a:gd name="connsiteY18" fmla="*/ 287195 h 787651"/>
                <a:gd name="connsiteX19" fmla="*/ 132258 w 291728"/>
                <a:gd name="connsiteY19" fmla="*/ 303547 h 787651"/>
                <a:gd name="connsiteX20" fmla="*/ 129011 w 291728"/>
                <a:gd name="connsiteY20" fmla="*/ 320314 h 787651"/>
                <a:gd name="connsiteX21" fmla="*/ 126515 w 291728"/>
                <a:gd name="connsiteY21" fmla="*/ 337495 h 787651"/>
                <a:gd name="connsiteX22" fmla="*/ 124787 w 291728"/>
                <a:gd name="connsiteY22" fmla="*/ 355086 h 787651"/>
                <a:gd name="connsiteX23" fmla="*/ 123853 w 291728"/>
                <a:gd name="connsiteY23" fmla="*/ 373081 h 787651"/>
                <a:gd name="connsiteX24" fmla="*/ 123739 w 291728"/>
                <a:gd name="connsiteY24" fmla="*/ 391467 h 787651"/>
                <a:gd name="connsiteX25" fmla="*/ 124463 w 291728"/>
                <a:gd name="connsiteY25" fmla="*/ 410248 h 787651"/>
                <a:gd name="connsiteX26" fmla="*/ 126049 w 291728"/>
                <a:gd name="connsiteY26" fmla="*/ 429415 h 787651"/>
                <a:gd name="connsiteX27" fmla="*/ 128515 w 291728"/>
                <a:gd name="connsiteY27" fmla="*/ 448963 h 787651"/>
                <a:gd name="connsiteX28" fmla="*/ 131892 w 291728"/>
                <a:gd name="connsiteY28" fmla="*/ 468882 h 787651"/>
                <a:gd name="connsiteX29" fmla="*/ 153078 w 291728"/>
                <a:gd name="connsiteY29" fmla="*/ 570835 h 787651"/>
                <a:gd name="connsiteX30" fmla="*/ 178054 w 291728"/>
                <a:gd name="connsiteY30" fmla="*/ 634326 h 787651"/>
                <a:gd name="connsiteX31" fmla="*/ 222940 w 291728"/>
                <a:gd name="connsiteY31" fmla="*/ 685903 h 787651"/>
                <a:gd name="connsiteX32" fmla="*/ 291728 w 291728"/>
                <a:gd name="connsiteY32" fmla="*/ 751682 h 787651"/>
                <a:gd name="connsiteX33" fmla="*/ 291728 w 291728"/>
                <a:gd name="connsiteY33" fmla="*/ 758691 h 787651"/>
                <a:gd name="connsiteX34" fmla="*/ 277964 w 291728"/>
                <a:gd name="connsiteY34" fmla="*/ 765694 h 787651"/>
                <a:gd name="connsiteX35" fmla="*/ 253416 w 291728"/>
                <a:gd name="connsiteY35" fmla="*/ 775994 h 787651"/>
                <a:gd name="connsiteX36" fmla="*/ 228083 w 291728"/>
                <a:gd name="connsiteY36" fmla="*/ 782704 h 787651"/>
                <a:gd name="connsiteX37" fmla="*/ 202111 w 291728"/>
                <a:gd name="connsiteY37" fmla="*/ 786389 h 787651"/>
                <a:gd name="connsiteX38" fmla="*/ 186368 w 291728"/>
                <a:gd name="connsiteY38" fmla="*/ 787651 h 787651"/>
                <a:gd name="connsiteX39" fmla="*/ 174487 w 291728"/>
                <a:gd name="connsiteY39" fmla="*/ 786518 h 787651"/>
                <a:gd name="connsiteX40" fmla="*/ 160082 w 291728"/>
                <a:gd name="connsiteY40" fmla="*/ 783013 h 787651"/>
                <a:gd name="connsiteX41" fmla="*/ 149001 w 291728"/>
                <a:gd name="connsiteY41" fmla="*/ 771023 h 787651"/>
                <a:gd name="connsiteX42" fmla="*/ 131082 w 291728"/>
                <a:gd name="connsiteY42" fmla="*/ 750798 h 787651"/>
                <a:gd name="connsiteX43" fmla="*/ 119772 w 291728"/>
                <a:gd name="connsiteY43" fmla="*/ 736813 h 787651"/>
                <a:gd name="connsiteX44" fmla="*/ 108930 w 291728"/>
                <a:gd name="connsiteY44" fmla="*/ 722574 h 787651"/>
                <a:gd name="connsiteX45" fmla="*/ 98553 w 291728"/>
                <a:gd name="connsiteY45" fmla="*/ 708098 h 787651"/>
                <a:gd name="connsiteX46" fmla="*/ 88653 w 291728"/>
                <a:gd name="connsiteY46" fmla="*/ 693393 h 787651"/>
                <a:gd name="connsiteX47" fmla="*/ 79234 w 291728"/>
                <a:gd name="connsiteY47" fmla="*/ 678474 h 787651"/>
                <a:gd name="connsiteX48" fmla="*/ 70306 w 291728"/>
                <a:gd name="connsiteY48" fmla="*/ 663350 h 787651"/>
                <a:gd name="connsiteX49" fmla="*/ 61877 w 291728"/>
                <a:gd name="connsiteY49" fmla="*/ 648045 h 787651"/>
                <a:gd name="connsiteX50" fmla="*/ 53953 w 291728"/>
                <a:gd name="connsiteY50" fmla="*/ 632564 h 787651"/>
                <a:gd name="connsiteX51" fmla="*/ 46539 w 291728"/>
                <a:gd name="connsiteY51" fmla="*/ 616926 h 787651"/>
                <a:gd name="connsiteX52" fmla="*/ 39643 w 291728"/>
                <a:gd name="connsiteY52" fmla="*/ 601140 h 787651"/>
                <a:gd name="connsiteX53" fmla="*/ 33272 w 291728"/>
                <a:gd name="connsiteY53" fmla="*/ 585221 h 787651"/>
                <a:gd name="connsiteX54" fmla="*/ 27438 w 291728"/>
                <a:gd name="connsiteY54" fmla="*/ 569183 h 787651"/>
                <a:gd name="connsiteX55" fmla="*/ 22143 w 291728"/>
                <a:gd name="connsiteY55" fmla="*/ 553040 h 787651"/>
                <a:gd name="connsiteX56" fmla="*/ 17396 w 291728"/>
                <a:gd name="connsiteY56" fmla="*/ 536806 h 787651"/>
                <a:gd name="connsiteX57" fmla="*/ 13205 w 291728"/>
                <a:gd name="connsiteY57" fmla="*/ 520497 h 787651"/>
                <a:gd name="connsiteX58" fmla="*/ 9572 w 291728"/>
                <a:gd name="connsiteY58" fmla="*/ 504120 h 787651"/>
                <a:gd name="connsiteX59" fmla="*/ 6514 w 291728"/>
                <a:gd name="connsiteY59" fmla="*/ 487692 h 787651"/>
                <a:gd name="connsiteX60" fmla="*/ 4029 w 291728"/>
                <a:gd name="connsiteY60" fmla="*/ 471225 h 787651"/>
                <a:gd name="connsiteX61" fmla="*/ 2129 w 291728"/>
                <a:gd name="connsiteY61" fmla="*/ 454734 h 787651"/>
                <a:gd name="connsiteX62" fmla="*/ 819 w 291728"/>
                <a:gd name="connsiteY62" fmla="*/ 438234 h 787651"/>
                <a:gd name="connsiteX63" fmla="*/ 105 w 291728"/>
                <a:gd name="connsiteY63" fmla="*/ 421739 h 787651"/>
                <a:gd name="connsiteX64" fmla="*/ 0 w 291728"/>
                <a:gd name="connsiteY64" fmla="*/ 405258 h 787651"/>
                <a:gd name="connsiteX65" fmla="*/ 505 w 291728"/>
                <a:gd name="connsiteY65" fmla="*/ 388810 h 787651"/>
                <a:gd name="connsiteX66" fmla="*/ 1634 w 291728"/>
                <a:gd name="connsiteY66" fmla="*/ 372405 h 787651"/>
                <a:gd name="connsiteX67" fmla="*/ 3386 w 291728"/>
                <a:gd name="connsiteY67" fmla="*/ 356057 h 787651"/>
                <a:gd name="connsiteX68" fmla="*/ 5772 w 291728"/>
                <a:gd name="connsiteY68" fmla="*/ 339781 h 787651"/>
                <a:gd name="connsiteX69" fmla="*/ 8800 w 291728"/>
                <a:gd name="connsiteY69" fmla="*/ 323585 h 787651"/>
                <a:gd name="connsiteX70" fmla="*/ 12477 w 291728"/>
                <a:gd name="connsiteY70" fmla="*/ 307495 h 787651"/>
                <a:gd name="connsiteX71" fmla="*/ 16810 w 291728"/>
                <a:gd name="connsiteY71" fmla="*/ 291514 h 787651"/>
                <a:gd name="connsiteX72" fmla="*/ 21805 w 291728"/>
                <a:gd name="connsiteY72" fmla="*/ 275657 h 787651"/>
                <a:gd name="connsiteX73" fmla="*/ 27467 w 291728"/>
                <a:gd name="connsiteY73" fmla="*/ 259937 h 787651"/>
                <a:gd name="connsiteX74" fmla="*/ 33810 w 291728"/>
                <a:gd name="connsiteY74" fmla="*/ 244371 h 787651"/>
                <a:gd name="connsiteX75" fmla="*/ 40839 w 291728"/>
                <a:gd name="connsiteY75" fmla="*/ 228975 h 787651"/>
                <a:gd name="connsiteX76" fmla="*/ 48558 w 291728"/>
                <a:gd name="connsiteY76" fmla="*/ 213751 h 787651"/>
                <a:gd name="connsiteX77" fmla="*/ 56972 w 291728"/>
                <a:gd name="connsiteY77" fmla="*/ 198727 h 787651"/>
                <a:gd name="connsiteX78" fmla="*/ 66096 w 291728"/>
                <a:gd name="connsiteY78" fmla="*/ 183908 h 787651"/>
                <a:gd name="connsiteX79" fmla="*/ 75934 w 291728"/>
                <a:gd name="connsiteY79" fmla="*/ 169308 h 787651"/>
                <a:gd name="connsiteX80" fmla="*/ 86491 w 291728"/>
                <a:gd name="connsiteY80" fmla="*/ 154941 h 787651"/>
                <a:gd name="connsiteX81" fmla="*/ 97772 w 291728"/>
                <a:gd name="connsiteY81" fmla="*/ 140827 h 787651"/>
                <a:gd name="connsiteX82" fmla="*/ 109792 w 291728"/>
                <a:gd name="connsiteY82" fmla="*/ 126970 h 787651"/>
                <a:gd name="connsiteX83" fmla="*/ 122554 w 291728"/>
                <a:gd name="connsiteY83" fmla="*/ 113388 h 787651"/>
                <a:gd name="connsiteX84" fmla="*/ 136063 w 291728"/>
                <a:gd name="connsiteY84" fmla="*/ 100093 h 787651"/>
                <a:gd name="connsiteX85" fmla="*/ 150330 w 291728"/>
                <a:gd name="connsiteY85" fmla="*/ 87102 h 787651"/>
                <a:gd name="connsiteX86" fmla="*/ 165363 w 291728"/>
                <a:gd name="connsiteY86" fmla="*/ 74426 h 787651"/>
                <a:gd name="connsiteX87" fmla="*/ 176763 w 291728"/>
                <a:gd name="connsiteY87" fmla="*/ 65460 h 787651"/>
                <a:gd name="connsiteX88" fmla="*/ 188754 w 291728"/>
                <a:gd name="connsiteY88" fmla="*/ 56621 h 787651"/>
                <a:gd name="connsiteX89" fmla="*/ 201321 w 291728"/>
                <a:gd name="connsiteY89" fmla="*/ 47950 h 787651"/>
                <a:gd name="connsiteX90" fmla="*/ 214450 w 291728"/>
                <a:gd name="connsiteY90" fmla="*/ 39478 h 787651"/>
                <a:gd name="connsiteX91" fmla="*/ 228135 w 291728"/>
                <a:gd name="connsiteY91" fmla="*/ 31245 h 787651"/>
                <a:gd name="connsiteX92" fmla="*/ 242354 w 291728"/>
                <a:gd name="connsiteY92" fmla="*/ 23288 h 787651"/>
                <a:gd name="connsiteX93" fmla="*/ 257097 w 291728"/>
                <a:gd name="connsiteY93" fmla="*/ 15645 h 787651"/>
                <a:gd name="connsiteX94" fmla="*/ 272350 w 291728"/>
                <a:gd name="connsiteY94" fmla="*/ 8350 h 787651"/>
                <a:gd name="connsiteX95" fmla="*/ 288107 w 291728"/>
                <a:gd name="connsiteY95" fmla="*/ 1445 h 787651"/>
                <a:gd name="connsiteX96" fmla="*/ 291728 w 291728"/>
                <a:gd name="connsiteY96" fmla="*/ 0 h 78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291728" h="787651">
                  <a:moveTo>
                    <a:pt x="291728" y="0"/>
                  </a:moveTo>
                  <a:lnTo>
                    <a:pt x="291728" y="79686"/>
                  </a:lnTo>
                  <a:lnTo>
                    <a:pt x="280245" y="87145"/>
                  </a:lnTo>
                  <a:lnTo>
                    <a:pt x="267707" y="96031"/>
                  </a:lnTo>
                  <a:lnTo>
                    <a:pt x="255540" y="105422"/>
                  </a:lnTo>
                  <a:lnTo>
                    <a:pt x="243754" y="115322"/>
                  </a:lnTo>
                  <a:lnTo>
                    <a:pt x="232388" y="125712"/>
                  </a:lnTo>
                  <a:lnTo>
                    <a:pt x="221450" y="136598"/>
                  </a:lnTo>
                  <a:lnTo>
                    <a:pt x="210968" y="147970"/>
                  </a:lnTo>
                  <a:lnTo>
                    <a:pt x="200968" y="159822"/>
                  </a:lnTo>
                  <a:lnTo>
                    <a:pt x="191468" y="172151"/>
                  </a:lnTo>
                  <a:lnTo>
                    <a:pt x="182497" y="184946"/>
                  </a:lnTo>
                  <a:lnTo>
                    <a:pt x="174068" y="198208"/>
                  </a:lnTo>
                  <a:lnTo>
                    <a:pt x="166206" y="211928"/>
                  </a:lnTo>
                  <a:lnTo>
                    <a:pt x="158940" y="226099"/>
                  </a:lnTo>
                  <a:lnTo>
                    <a:pt x="152282" y="240713"/>
                  </a:lnTo>
                  <a:lnTo>
                    <a:pt x="146268" y="255775"/>
                  </a:lnTo>
                  <a:lnTo>
                    <a:pt x="140906" y="271271"/>
                  </a:lnTo>
                  <a:lnTo>
                    <a:pt x="136230" y="287195"/>
                  </a:lnTo>
                  <a:lnTo>
                    <a:pt x="132258" y="303547"/>
                  </a:lnTo>
                  <a:lnTo>
                    <a:pt x="129011" y="320314"/>
                  </a:lnTo>
                  <a:lnTo>
                    <a:pt x="126515" y="337495"/>
                  </a:lnTo>
                  <a:lnTo>
                    <a:pt x="124787" y="355086"/>
                  </a:lnTo>
                  <a:lnTo>
                    <a:pt x="123853" y="373081"/>
                  </a:lnTo>
                  <a:lnTo>
                    <a:pt x="123739" y="391467"/>
                  </a:lnTo>
                  <a:lnTo>
                    <a:pt x="124463" y="410248"/>
                  </a:lnTo>
                  <a:lnTo>
                    <a:pt x="126049" y="429415"/>
                  </a:lnTo>
                  <a:lnTo>
                    <a:pt x="128515" y="448963"/>
                  </a:lnTo>
                  <a:lnTo>
                    <a:pt x="131892" y="468882"/>
                  </a:lnTo>
                  <a:lnTo>
                    <a:pt x="153078" y="570835"/>
                  </a:lnTo>
                  <a:lnTo>
                    <a:pt x="178054" y="634326"/>
                  </a:lnTo>
                  <a:lnTo>
                    <a:pt x="222940" y="685903"/>
                  </a:lnTo>
                  <a:lnTo>
                    <a:pt x="291728" y="751682"/>
                  </a:lnTo>
                  <a:lnTo>
                    <a:pt x="291728" y="758691"/>
                  </a:lnTo>
                  <a:lnTo>
                    <a:pt x="277964" y="765694"/>
                  </a:lnTo>
                  <a:lnTo>
                    <a:pt x="253416" y="775994"/>
                  </a:lnTo>
                  <a:lnTo>
                    <a:pt x="228083" y="782704"/>
                  </a:lnTo>
                  <a:lnTo>
                    <a:pt x="202111" y="786389"/>
                  </a:lnTo>
                  <a:lnTo>
                    <a:pt x="186368" y="787651"/>
                  </a:lnTo>
                  <a:lnTo>
                    <a:pt x="174487" y="786518"/>
                  </a:lnTo>
                  <a:lnTo>
                    <a:pt x="160082" y="783013"/>
                  </a:lnTo>
                  <a:lnTo>
                    <a:pt x="149001" y="771023"/>
                  </a:lnTo>
                  <a:lnTo>
                    <a:pt x="131082" y="750798"/>
                  </a:lnTo>
                  <a:lnTo>
                    <a:pt x="119772" y="736813"/>
                  </a:lnTo>
                  <a:lnTo>
                    <a:pt x="108930" y="722574"/>
                  </a:lnTo>
                  <a:lnTo>
                    <a:pt x="98553" y="708098"/>
                  </a:lnTo>
                  <a:lnTo>
                    <a:pt x="88653" y="693393"/>
                  </a:lnTo>
                  <a:lnTo>
                    <a:pt x="79234" y="678474"/>
                  </a:lnTo>
                  <a:lnTo>
                    <a:pt x="70306" y="663350"/>
                  </a:lnTo>
                  <a:lnTo>
                    <a:pt x="61877" y="648045"/>
                  </a:lnTo>
                  <a:lnTo>
                    <a:pt x="53953" y="632564"/>
                  </a:lnTo>
                  <a:lnTo>
                    <a:pt x="46539" y="616926"/>
                  </a:lnTo>
                  <a:lnTo>
                    <a:pt x="39643" y="601140"/>
                  </a:lnTo>
                  <a:lnTo>
                    <a:pt x="33272" y="585221"/>
                  </a:lnTo>
                  <a:lnTo>
                    <a:pt x="27438" y="569183"/>
                  </a:lnTo>
                  <a:lnTo>
                    <a:pt x="22143" y="553040"/>
                  </a:lnTo>
                  <a:lnTo>
                    <a:pt x="17396" y="536806"/>
                  </a:lnTo>
                  <a:lnTo>
                    <a:pt x="13205" y="520497"/>
                  </a:lnTo>
                  <a:lnTo>
                    <a:pt x="9572" y="504120"/>
                  </a:lnTo>
                  <a:lnTo>
                    <a:pt x="6514" y="487692"/>
                  </a:lnTo>
                  <a:lnTo>
                    <a:pt x="4029" y="471225"/>
                  </a:lnTo>
                  <a:lnTo>
                    <a:pt x="2129" y="454734"/>
                  </a:lnTo>
                  <a:lnTo>
                    <a:pt x="819" y="438234"/>
                  </a:lnTo>
                  <a:lnTo>
                    <a:pt x="105" y="421739"/>
                  </a:lnTo>
                  <a:lnTo>
                    <a:pt x="0" y="405258"/>
                  </a:lnTo>
                  <a:lnTo>
                    <a:pt x="505" y="388810"/>
                  </a:lnTo>
                  <a:lnTo>
                    <a:pt x="1634" y="372405"/>
                  </a:lnTo>
                  <a:lnTo>
                    <a:pt x="3386" y="356057"/>
                  </a:lnTo>
                  <a:lnTo>
                    <a:pt x="5772" y="339781"/>
                  </a:lnTo>
                  <a:lnTo>
                    <a:pt x="8800" y="323585"/>
                  </a:lnTo>
                  <a:lnTo>
                    <a:pt x="12477" y="307495"/>
                  </a:lnTo>
                  <a:lnTo>
                    <a:pt x="16810" y="291514"/>
                  </a:lnTo>
                  <a:lnTo>
                    <a:pt x="21805" y="275657"/>
                  </a:lnTo>
                  <a:lnTo>
                    <a:pt x="27467" y="259937"/>
                  </a:lnTo>
                  <a:lnTo>
                    <a:pt x="33810" y="244371"/>
                  </a:lnTo>
                  <a:lnTo>
                    <a:pt x="40839" y="228975"/>
                  </a:lnTo>
                  <a:lnTo>
                    <a:pt x="48558" y="213751"/>
                  </a:lnTo>
                  <a:lnTo>
                    <a:pt x="56972" y="198727"/>
                  </a:lnTo>
                  <a:lnTo>
                    <a:pt x="66096" y="183908"/>
                  </a:lnTo>
                  <a:lnTo>
                    <a:pt x="75934" y="169308"/>
                  </a:lnTo>
                  <a:lnTo>
                    <a:pt x="86491" y="154941"/>
                  </a:lnTo>
                  <a:lnTo>
                    <a:pt x="97772" y="140827"/>
                  </a:lnTo>
                  <a:lnTo>
                    <a:pt x="109792" y="126970"/>
                  </a:lnTo>
                  <a:lnTo>
                    <a:pt x="122554" y="113388"/>
                  </a:lnTo>
                  <a:lnTo>
                    <a:pt x="136063" y="100093"/>
                  </a:lnTo>
                  <a:lnTo>
                    <a:pt x="150330" y="87102"/>
                  </a:lnTo>
                  <a:lnTo>
                    <a:pt x="165363" y="74426"/>
                  </a:lnTo>
                  <a:lnTo>
                    <a:pt x="176763" y="65460"/>
                  </a:lnTo>
                  <a:lnTo>
                    <a:pt x="188754" y="56621"/>
                  </a:lnTo>
                  <a:lnTo>
                    <a:pt x="201321" y="47950"/>
                  </a:lnTo>
                  <a:lnTo>
                    <a:pt x="214450" y="39478"/>
                  </a:lnTo>
                  <a:lnTo>
                    <a:pt x="228135" y="31245"/>
                  </a:lnTo>
                  <a:lnTo>
                    <a:pt x="242354" y="23288"/>
                  </a:lnTo>
                  <a:lnTo>
                    <a:pt x="257097" y="15645"/>
                  </a:lnTo>
                  <a:lnTo>
                    <a:pt x="272350" y="8350"/>
                  </a:lnTo>
                  <a:lnTo>
                    <a:pt x="288107" y="1445"/>
                  </a:lnTo>
                  <a:lnTo>
                    <a:pt x="291728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156B518-A9D5-69A4-777F-5E0C9D02EA14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custGeom>
            <a:avLst/>
            <a:gdLst>
              <a:gd name="connsiteX0" fmla="*/ 0 w 12192000"/>
              <a:gd name="connsiteY0" fmla="*/ 0 h 5087332"/>
              <a:gd name="connsiteX1" fmla="*/ 12192000 w 12192000"/>
              <a:gd name="connsiteY1" fmla="*/ 0 h 5087332"/>
              <a:gd name="connsiteX2" fmla="*/ 12192000 w 12192000"/>
              <a:gd name="connsiteY2" fmla="*/ 5087332 h 5087332"/>
              <a:gd name="connsiteX3" fmla="*/ 0 w 12192000"/>
              <a:gd name="connsiteY3" fmla="*/ 5087332 h 5087332"/>
              <a:gd name="connsiteX4" fmla="*/ 0 w 12192000"/>
              <a:gd name="connsiteY4" fmla="*/ 0 h 5087332"/>
              <a:gd name="connsiteX5" fmla="*/ 215901 w 12192000"/>
              <a:gd name="connsiteY5" fmla="*/ 53371 h 5087332"/>
              <a:gd name="connsiteX6" fmla="*/ 215901 w 12192000"/>
              <a:gd name="connsiteY6" fmla="*/ 5003196 h 5087332"/>
              <a:gd name="connsiteX7" fmla="*/ 11974514 w 12192000"/>
              <a:gd name="connsiteY7" fmla="*/ 5003196 h 5087332"/>
              <a:gd name="connsiteX8" fmla="*/ 11974514 w 12192000"/>
              <a:gd name="connsiteY8" fmla="*/ 53371 h 5087332"/>
              <a:gd name="connsiteX9" fmla="*/ 215901 w 12192000"/>
              <a:gd name="connsiteY9" fmla="*/ 53371 h 508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5087332">
                <a:moveTo>
                  <a:pt x="0" y="0"/>
                </a:moveTo>
                <a:lnTo>
                  <a:pt x="12192000" y="0"/>
                </a:lnTo>
                <a:lnTo>
                  <a:pt x="12192000" y="5087332"/>
                </a:lnTo>
                <a:lnTo>
                  <a:pt x="0" y="5087332"/>
                </a:lnTo>
                <a:lnTo>
                  <a:pt x="0" y="0"/>
                </a:lnTo>
                <a:close/>
                <a:moveTo>
                  <a:pt x="215901" y="53371"/>
                </a:moveTo>
                <a:lnTo>
                  <a:pt x="215901" y="5003196"/>
                </a:lnTo>
                <a:lnTo>
                  <a:pt x="11974514" y="5003196"/>
                </a:lnTo>
                <a:lnTo>
                  <a:pt x="11974514" y="53371"/>
                </a:lnTo>
                <a:lnTo>
                  <a:pt x="215901" y="53371"/>
                </a:lnTo>
                <a:close/>
              </a:path>
            </a:pathLst>
          </a:cu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2B0A1E-CDDD-413F-B0D9-1F9FFC2C36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04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9AFC005-EABD-9AA8-A49E-D710730E2346}"/>
              </a:ext>
            </a:extLst>
          </p:cNvPr>
          <p:cNvSpPr/>
          <p:nvPr userDrawn="1"/>
        </p:nvSpPr>
        <p:spPr>
          <a:xfrm>
            <a:off x="215902" y="1366840"/>
            <a:ext cx="11758613" cy="4949825"/>
          </a:xfrm>
          <a:custGeom>
            <a:avLst/>
            <a:gdLst>
              <a:gd name="connsiteX0" fmla="*/ 0 w 11758613"/>
              <a:gd name="connsiteY0" fmla="*/ 0 h 4949825"/>
              <a:gd name="connsiteX1" fmla="*/ 11758613 w 11758613"/>
              <a:gd name="connsiteY1" fmla="*/ 0 h 4949825"/>
              <a:gd name="connsiteX2" fmla="*/ 11758613 w 11758613"/>
              <a:gd name="connsiteY2" fmla="*/ 4949825 h 4949825"/>
              <a:gd name="connsiteX3" fmla="*/ 0 w 11758613"/>
              <a:gd name="connsiteY3" fmla="*/ 4949825 h 4949825"/>
              <a:gd name="connsiteX4" fmla="*/ 0 w 11758613"/>
              <a:gd name="connsiteY4" fmla="*/ 0 h 4949825"/>
              <a:gd name="connsiteX5" fmla="*/ 1003300 w 11758613"/>
              <a:gd name="connsiteY5" fmla="*/ 381000 h 4949825"/>
              <a:gd name="connsiteX6" fmla="*/ 1003300 w 11758613"/>
              <a:gd name="connsiteY6" fmla="*/ 3967162 h 4949825"/>
              <a:gd name="connsiteX7" fmla="*/ 10756900 w 11758613"/>
              <a:gd name="connsiteY7" fmla="*/ 3967162 h 4949825"/>
              <a:gd name="connsiteX8" fmla="*/ 10756900 w 11758613"/>
              <a:gd name="connsiteY8" fmla="*/ 381000 h 4949825"/>
              <a:gd name="connsiteX9" fmla="*/ 1003300 w 11758613"/>
              <a:gd name="connsiteY9" fmla="*/ 38100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58613" h="4949825">
                <a:moveTo>
                  <a:pt x="0" y="0"/>
                </a:moveTo>
                <a:lnTo>
                  <a:pt x="11758613" y="0"/>
                </a:lnTo>
                <a:lnTo>
                  <a:pt x="11758613" y="4949825"/>
                </a:lnTo>
                <a:lnTo>
                  <a:pt x="0" y="4949825"/>
                </a:lnTo>
                <a:lnTo>
                  <a:pt x="0" y="0"/>
                </a:lnTo>
                <a:close/>
                <a:moveTo>
                  <a:pt x="1003300" y="381000"/>
                </a:moveTo>
                <a:lnTo>
                  <a:pt x="1003300" y="3967162"/>
                </a:lnTo>
                <a:lnTo>
                  <a:pt x="10756900" y="3967162"/>
                </a:lnTo>
                <a:lnTo>
                  <a:pt x="10756900" y="381000"/>
                </a:lnTo>
                <a:lnTo>
                  <a:pt x="1003300" y="381000"/>
                </a:lnTo>
                <a:close/>
              </a:path>
            </a:pathLst>
          </a:cu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1033B3D-C89B-45E6-93B3-B1C811BC4C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2829154"/>
            <a:ext cx="309562" cy="1428292"/>
          </a:xfrm>
        </p:spPr>
        <p:txBody>
          <a:bodyPr vert="vert270" wrap="none" lIns="0" tIns="180000" rIns="72000" bIns="0" anchor="b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7355152-5E8D-F293-2F6D-A0EB6E65F50A}"/>
              </a:ext>
            </a:extLst>
          </p:cNvPr>
          <p:cNvSpPr/>
          <p:nvPr userDrawn="1"/>
        </p:nvSpPr>
        <p:spPr>
          <a:xfrm>
            <a:off x="0" y="1313468"/>
            <a:ext cx="12192000" cy="119176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Chart Placeholder 4">
            <a:extLst>
              <a:ext uri="{FF2B5EF4-FFF2-40B4-BE49-F238E27FC236}">
                <a16:creationId xmlns:a16="http://schemas.microsoft.com/office/drawing/2014/main" id="{FA5CCDA9-7266-4A34-78F5-444C6923AEA6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15900" y="1366838"/>
            <a:ext cx="11758613" cy="4949825"/>
          </a:xfrm>
          <a:ln>
            <a:solidFill>
              <a:srgbClr val="CAB9A7"/>
            </a:solidFill>
          </a:ln>
        </p:spPr>
        <p:txBody>
          <a:bodyPr/>
          <a:lstStyle/>
          <a:p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51835C8-7169-4170-912C-400316053C2B}"/>
              </a:ext>
            </a:extLst>
          </p:cNvPr>
          <p:cNvGrpSpPr/>
          <p:nvPr userDrawn="1"/>
        </p:nvGrpSpPr>
        <p:grpSpPr>
          <a:xfrm>
            <a:off x="11049000" y="1371600"/>
            <a:ext cx="1147784" cy="1400164"/>
            <a:chOff x="11049000" y="4929548"/>
            <a:chExt cx="1147784" cy="1400163"/>
          </a:xfrm>
          <a:solidFill>
            <a:schemeClr val="accent5"/>
          </a:solidFill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2A1BB95-5338-7576-5D63-8B72738049FD}"/>
                </a:ext>
              </a:extLst>
            </p:cNvPr>
            <p:cNvSpPr/>
            <p:nvPr userDrawn="1"/>
          </p:nvSpPr>
          <p:spPr>
            <a:xfrm>
              <a:off x="12192000" y="6293742"/>
              <a:ext cx="4784" cy="7009"/>
            </a:xfrm>
            <a:custGeom>
              <a:avLst/>
              <a:gdLst>
                <a:gd name="connsiteX0" fmla="*/ 0 w 4784"/>
                <a:gd name="connsiteY0" fmla="*/ 0 h 7009"/>
                <a:gd name="connsiteX1" fmla="*/ 4784 w 4784"/>
                <a:gd name="connsiteY1" fmla="*/ 4574 h 7009"/>
                <a:gd name="connsiteX2" fmla="*/ 0 w 4784"/>
                <a:gd name="connsiteY2" fmla="*/ 7009 h 7009"/>
                <a:gd name="connsiteX3" fmla="*/ 0 w 4784"/>
                <a:gd name="connsiteY3" fmla="*/ 0 h 7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4" h="7009">
                  <a:moveTo>
                    <a:pt x="0" y="0"/>
                  </a:moveTo>
                  <a:lnTo>
                    <a:pt x="4784" y="4574"/>
                  </a:lnTo>
                  <a:lnTo>
                    <a:pt x="0" y="70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4620AD6A-7F81-1061-3890-2CC9796E7EC3}"/>
                </a:ext>
              </a:extLst>
            </p:cNvPr>
            <p:cNvSpPr/>
            <p:nvPr userDrawn="1"/>
          </p:nvSpPr>
          <p:spPr>
            <a:xfrm>
              <a:off x="11049000" y="4929548"/>
              <a:ext cx="1143000" cy="1092840"/>
            </a:xfrm>
            <a:custGeom>
              <a:avLst/>
              <a:gdLst>
                <a:gd name="connsiteX0" fmla="*/ 1143000 w 1143000"/>
                <a:gd name="connsiteY0" fmla="*/ 0 h 1092840"/>
                <a:gd name="connsiteX1" fmla="*/ 1143000 w 1143000"/>
                <a:gd name="connsiteY1" fmla="*/ 99531 h 1092840"/>
                <a:gd name="connsiteX2" fmla="*/ 1131798 w 1143000"/>
                <a:gd name="connsiteY2" fmla="*/ 100952 h 1092840"/>
                <a:gd name="connsiteX3" fmla="*/ 1110140 w 1143000"/>
                <a:gd name="connsiteY3" fmla="*/ 104580 h 1092840"/>
                <a:gd name="connsiteX4" fmla="*/ 1089117 w 1143000"/>
                <a:gd name="connsiteY4" fmla="*/ 108980 h 1092840"/>
                <a:gd name="connsiteX5" fmla="*/ 1068712 w 1143000"/>
                <a:gd name="connsiteY5" fmla="*/ 114128 h 1092840"/>
                <a:gd name="connsiteX6" fmla="*/ 1048926 w 1143000"/>
                <a:gd name="connsiteY6" fmla="*/ 119990 h 1092840"/>
                <a:gd name="connsiteX7" fmla="*/ 1029745 w 1143000"/>
                <a:gd name="connsiteY7" fmla="*/ 126533 h 1092840"/>
                <a:gd name="connsiteX8" fmla="*/ 1011168 w 1143000"/>
                <a:gd name="connsiteY8" fmla="*/ 133733 h 1092840"/>
                <a:gd name="connsiteX9" fmla="*/ 993178 w 1143000"/>
                <a:gd name="connsiteY9" fmla="*/ 141561 h 1092840"/>
                <a:gd name="connsiteX10" fmla="*/ 975768 w 1143000"/>
                <a:gd name="connsiteY10" fmla="*/ 149980 h 1092840"/>
                <a:gd name="connsiteX11" fmla="*/ 958935 w 1143000"/>
                <a:gd name="connsiteY11" fmla="*/ 158966 h 1092840"/>
                <a:gd name="connsiteX12" fmla="*/ 942668 w 1143000"/>
                <a:gd name="connsiteY12" fmla="*/ 168485 h 1092840"/>
                <a:gd name="connsiteX13" fmla="*/ 926959 w 1143000"/>
                <a:gd name="connsiteY13" fmla="*/ 178514 h 1092840"/>
                <a:gd name="connsiteX14" fmla="*/ 911801 w 1143000"/>
                <a:gd name="connsiteY14" fmla="*/ 189019 h 1092840"/>
                <a:gd name="connsiteX15" fmla="*/ 897182 w 1143000"/>
                <a:gd name="connsiteY15" fmla="*/ 199971 h 1092840"/>
                <a:gd name="connsiteX16" fmla="*/ 883096 w 1143000"/>
                <a:gd name="connsiteY16" fmla="*/ 211338 h 1092840"/>
                <a:gd name="connsiteX17" fmla="*/ 869539 w 1143000"/>
                <a:gd name="connsiteY17" fmla="*/ 223095 h 1092840"/>
                <a:gd name="connsiteX18" fmla="*/ 856496 w 1143000"/>
                <a:gd name="connsiteY18" fmla="*/ 235205 h 1092840"/>
                <a:gd name="connsiteX19" fmla="*/ 843963 w 1143000"/>
                <a:gd name="connsiteY19" fmla="*/ 247648 h 1092840"/>
                <a:gd name="connsiteX20" fmla="*/ 831929 w 1143000"/>
                <a:gd name="connsiteY20" fmla="*/ 260386 h 1092840"/>
                <a:gd name="connsiteX21" fmla="*/ 820391 w 1143000"/>
                <a:gd name="connsiteY21" fmla="*/ 273391 h 1092840"/>
                <a:gd name="connsiteX22" fmla="*/ 809334 w 1143000"/>
                <a:gd name="connsiteY22" fmla="*/ 286639 h 1092840"/>
                <a:gd name="connsiteX23" fmla="*/ 798758 w 1143000"/>
                <a:gd name="connsiteY23" fmla="*/ 300091 h 1092840"/>
                <a:gd name="connsiteX24" fmla="*/ 788643 w 1143000"/>
                <a:gd name="connsiteY24" fmla="*/ 313725 h 1092840"/>
                <a:gd name="connsiteX25" fmla="*/ 778991 w 1143000"/>
                <a:gd name="connsiteY25" fmla="*/ 327511 h 1092840"/>
                <a:gd name="connsiteX26" fmla="*/ 769791 w 1143000"/>
                <a:gd name="connsiteY26" fmla="*/ 341415 h 1092840"/>
                <a:gd name="connsiteX27" fmla="*/ 761038 w 1143000"/>
                <a:gd name="connsiteY27" fmla="*/ 355406 h 1092840"/>
                <a:gd name="connsiteX28" fmla="*/ 752714 w 1143000"/>
                <a:gd name="connsiteY28" fmla="*/ 369458 h 1092840"/>
                <a:gd name="connsiteX29" fmla="*/ 744819 w 1143000"/>
                <a:gd name="connsiteY29" fmla="*/ 383544 h 1092840"/>
                <a:gd name="connsiteX30" fmla="*/ 737343 w 1143000"/>
                <a:gd name="connsiteY30" fmla="*/ 397630 h 1092840"/>
                <a:gd name="connsiteX31" fmla="*/ 730281 w 1143000"/>
                <a:gd name="connsiteY31" fmla="*/ 411688 h 1092840"/>
                <a:gd name="connsiteX32" fmla="*/ 723619 w 1143000"/>
                <a:gd name="connsiteY32" fmla="*/ 425683 h 1092840"/>
                <a:gd name="connsiteX33" fmla="*/ 717352 w 1143000"/>
                <a:gd name="connsiteY33" fmla="*/ 439592 h 1092840"/>
                <a:gd name="connsiteX34" fmla="*/ 711466 w 1143000"/>
                <a:gd name="connsiteY34" fmla="*/ 453388 h 1092840"/>
                <a:gd name="connsiteX35" fmla="*/ 705967 w 1143000"/>
                <a:gd name="connsiteY35" fmla="*/ 467031 h 1092840"/>
                <a:gd name="connsiteX36" fmla="*/ 700833 w 1143000"/>
                <a:gd name="connsiteY36" fmla="*/ 480498 h 1092840"/>
                <a:gd name="connsiteX37" fmla="*/ 691642 w 1143000"/>
                <a:gd name="connsiteY37" fmla="*/ 506779 h 1092840"/>
                <a:gd name="connsiteX38" fmla="*/ 683828 w 1143000"/>
                <a:gd name="connsiteY38" fmla="*/ 531998 h 1092840"/>
                <a:gd name="connsiteX39" fmla="*/ 677338 w 1143000"/>
                <a:gd name="connsiteY39" fmla="*/ 555908 h 1092840"/>
                <a:gd name="connsiteX40" fmla="*/ 672090 w 1143000"/>
                <a:gd name="connsiteY40" fmla="*/ 578279 h 1092840"/>
                <a:gd name="connsiteX41" fmla="*/ 668033 w 1143000"/>
                <a:gd name="connsiteY41" fmla="*/ 598870 h 1092840"/>
                <a:gd name="connsiteX42" fmla="*/ 665090 w 1143000"/>
                <a:gd name="connsiteY42" fmla="*/ 617446 h 1092840"/>
                <a:gd name="connsiteX43" fmla="*/ 662823 w 1143000"/>
                <a:gd name="connsiteY43" fmla="*/ 635299 h 1092840"/>
                <a:gd name="connsiteX44" fmla="*/ 660885 w 1143000"/>
                <a:gd name="connsiteY44" fmla="*/ 653561 h 1092840"/>
                <a:gd name="connsiteX45" fmla="*/ 659290 w 1143000"/>
                <a:gd name="connsiteY45" fmla="*/ 672180 h 1092840"/>
                <a:gd name="connsiteX46" fmla="*/ 658033 w 1143000"/>
                <a:gd name="connsiteY46" fmla="*/ 691113 h 1092840"/>
                <a:gd name="connsiteX47" fmla="*/ 657114 w 1143000"/>
                <a:gd name="connsiteY47" fmla="*/ 710313 h 1092840"/>
                <a:gd name="connsiteX48" fmla="*/ 656547 w 1143000"/>
                <a:gd name="connsiteY48" fmla="*/ 729728 h 1092840"/>
                <a:gd name="connsiteX49" fmla="*/ 656323 w 1143000"/>
                <a:gd name="connsiteY49" fmla="*/ 749314 h 1092840"/>
                <a:gd name="connsiteX50" fmla="*/ 656452 w 1143000"/>
                <a:gd name="connsiteY50" fmla="*/ 769024 h 1092840"/>
                <a:gd name="connsiteX51" fmla="*/ 656933 w 1143000"/>
                <a:gd name="connsiteY51" fmla="*/ 788809 h 1092840"/>
                <a:gd name="connsiteX52" fmla="*/ 657771 w 1143000"/>
                <a:gd name="connsiteY52" fmla="*/ 808624 h 1092840"/>
                <a:gd name="connsiteX53" fmla="*/ 658966 w 1143000"/>
                <a:gd name="connsiteY53" fmla="*/ 828419 h 1092840"/>
                <a:gd name="connsiteX54" fmla="*/ 660528 w 1143000"/>
                <a:gd name="connsiteY54" fmla="*/ 848153 h 1092840"/>
                <a:gd name="connsiteX55" fmla="*/ 662452 w 1143000"/>
                <a:gd name="connsiteY55" fmla="*/ 867767 h 1092840"/>
                <a:gd name="connsiteX56" fmla="*/ 664742 w 1143000"/>
                <a:gd name="connsiteY56" fmla="*/ 887225 h 1092840"/>
                <a:gd name="connsiteX57" fmla="*/ 667404 w 1143000"/>
                <a:gd name="connsiteY57" fmla="*/ 906473 h 1092840"/>
                <a:gd name="connsiteX58" fmla="*/ 670438 w 1143000"/>
                <a:gd name="connsiteY58" fmla="*/ 925463 h 1092840"/>
                <a:gd name="connsiteX59" fmla="*/ 673847 w 1143000"/>
                <a:gd name="connsiteY59" fmla="*/ 944154 h 1092840"/>
                <a:gd name="connsiteX60" fmla="*/ 677638 w 1143000"/>
                <a:gd name="connsiteY60" fmla="*/ 962497 h 1092840"/>
                <a:gd name="connsiteX61" fmla="*/ 681809 w 1143000"/>
                <a:gd name="connsiteY61" fmla="*/ 980440 h 1092840"/>
                <a:gd name="connsiteX62" fmla="*/ 686366 w 1143000"/>
                <a:gd name="connsiteY62" fmla="*/ 997940 h 1092840"/>
                <a:gd name="connsiteX63" fmla="*/ 691309 w 1143000"/>
                <a:gd name="connsiteY63" fmla="*/ 1014950 h 1092840"/>
                <a:gd name="connsiteX64" fmla="*/ 696638 w 1143000"/>
                <a:gd name="connsiteY64" fmla="*/ 1031421 h 1092840"/>
                <a:gd name="connsiteX65" fmla="*/ 702367 w 1143000"/>
                <a:gd name="connsiteY65" fmla="*/ 1047302 h 1092840"/>
                <a:gd name="connsiteX66" fmla="*/ 708486 w 1143000"/>
                <a:gd name="connsiteY66" fmla="*/ 1062554 h 1092840"/>
                <a:gd name="connsiteX67" fmla="*/ 715005 w 1143000"/>
                <a:gd name="connsiteY67" fmla="*/ 1077126 h 1092840"/>
                <a:gd name="connsiteX68" fmla="*/ 721924 w 1143000"/>
                <a:gd name="connsiteY68" fmla="*/ 1090969 h 1092840"/>
                <a:gd name="connsiteX69" fmla="*/ 706938 w 1143000"/>
                <a:gd name="connsiteY69" fmla="*/ 1092007 h 1092840"/>
                <a:gd name="connsiteX70" fmla="*/ 692000 w 1143000"/>
                <a:gd name="connsiteY70" fmla="*/ 1092636 h 1092840"/>
                <a:gd name="connsiteX71" fmla="*/ 677123 w 1143000"/>
                <a:gd name="connsiteY71" fmla="*/ 1092840 h 1092840"/>
                <a:gd name="connsiteX72" fmla="*/ 662328 w 1143000"/>
                <a:gd name="connsiteY72" fmla="*/ 1092621 h 1092840"/>
                <a:gd name="connsiteX73" fmla="*/ 647623 w 1143000"/>
                <a:gd name="connsiteY73" fmla="*/ 1091965 h 1092840"/>
                <a:gd name="connsiteX74" fmla="*/ 633023 w 1143000"/>
                <a:gd name="connsiteY74" fmla="*/ 1090860 h 1092840"/>
                <a:gd name="connsiteX75" fmla="*/ 618542 w 1143000"/>
                <a:gd name="connsiteY75" fmla="*/ 1089302 h 1092840"/>
                <a:gd name="connsiteX76" fmla="*/ 604195 w 1143000"/>
                <a:gd name="connsiteY76" fmla="*/ 1087284 h 1092840"/>
                <a:gd name="connsiteX77" fmla="*/ 589989 w 1143000"/>
                <a:gd name="connsiteY77" fmla="*/ 1084793 h 1092840"/>
                <a:gd name="connsiteX78" fmla="*/ 575951 w 1143000"/>
                <a:gd name="connsiteY78" fmla="*/ 1081826 h 1092840"/>
                <a:gd name="connsiteX79" fmla="*/ 548403 w 1143000"/>
                <a:gd name="connsiteY79" fmla="*/ 1074417 h 1092840"/>
                <a:gd name="connsiteX80" fmla="*/ 521665 w 1143000"/>
                <a:gd name="connsiteY80" fmla="*/ 1064988 h 1092840"/>
                <a:gd name="connsiteX81" fmla="*/ 495846 w 1143000"/>
                <a:gd name="connsiteY81" fmla="*/ 1053474 h 1092840"/>
                <a:gd name="connsiteX82" fmla="*/ 471055 w 1143000"/>
                <a:gd name="connsiteY82" fmla="*/ 1039812 h 1092840"/>
                <a:gd name="connsiteX83" fmla="*/ 447408 w 1143000"/>
                <a:gd name="connsiteY83" fmla="*/ 1023926 h 1092840"/>
                <a:gd name="connsiteX84" fmla="*/ 436041 w 1143000"/>
                <a:gd name="connsiteY84" fmla="*/ 1015130 h 1092840"/>
                <a:gd name="connsiteX85" fmla="*/ 425003 w 1143000"/>
                <a:gd name="connsiteY85" fmla="*/ 1005754 h 1092840"/>
                <a:gd name="connsiteX86" fmla="*/ 414307 w 1143000"/>
                <a:gd name="connsiteY86" fmla="*/ 995788 h 1092840"/>
                <a:gd name="connsiteX87" fmla="*/ 403964 w 1143000"/>
                <a:gd name="connsiteY87" fmla="*/ 985225 h 1092840"/>
                <a:gd name="connsiteX88" fmla="*/ 393988 w 1143000"/>
                <a:gd name="connsiteY88" fmla="*/ 974059 h 1092840"/>
                <a:gd name="connsiteX89" fmla="*/ 384398 w 1143000"/>
                <a:gd name="connsiteY89" fmla="*/ 962278 h 1092840"/>
                <a:gd name="connsiteX90" fmla="*/ 375198 w 1143000"/>
                <a:gd name="connsiteY90" fmla="*/ 949873 h 1092840"/>
                <a:gd name="connsiteX91" fmla="*/ 366407 w 1143000"/>
                <a:gd name="connsiteY91" fmla="*/ 936839 h 1092840"/>
                <a:gd name="connsiteX92" fmla="*/ 358045 w 1143000"/>
                <a:gd name="connsiteY92" fmla="*/ 923163 h 1092840"/>
                <a:gd name="connsiteX93" fmla="*/ 350112 w 1143000"/>
                <a:gd name="connsiteY93" fmla="*/ 908839 h 1092840"/>
                <a:gd name="connsiteX94" fmla="*/ 342636 w 1143000"/>
                <a:gd name="connsiteY94" fmla="*/ 893863 h 1092840"/>
                <a:gd name="connsiteX95" fmla="*/ 335621 w 1143000"/>
                <a:gd name="connsiteY95" fmla="*/ 878220 h 1092840"/>
                <a:gd name="connsiteX96" fmla="*/ 329088 w 1143000"/>
                <a:gd name="connsiteY96" fmla="*/ 861905 h 1092840"/>
                <a:gd name="connsiteX97" fmla="*/ 323045 w 1143000"/>
                <a:gd name="connsiteY97" fmla="*/ 844910 h 1092840"/>
                <a:gd name="connsiteX98" fmla="*/ 317507 w 1143000"/>
                <a:gd name="connsiteY98" fmla="*/ 827224 h 1092840"/>
                <a:gd name="connsiteX99" fmla="*/ 312493 w 1143000"/>
                <a:gd name="connsiteY99" fmla="*/ 808838 h 1092840"/>
                <a:gd name="connsiteX100" fmla="*/ 308007 w 1143000"/>
                <a:gd name="connsiteY100" fmla="*/ 789748 h 1092840"/>
                <a:gd name="connsiteX101" fmla="*/ 304073 w 1143000"/>
                <a:gd name="connsiteY101" fmla="*/ 769938 h 1092840"/>
                <a:gd name="connsiteX102" fmla="*/ 300697 w 1143000"/>
                <a:gd name="connsiteY102" fmla="*/ 749409 h 1092840"/>
                <a:gd name="connsiteX103" fmla="*/ 297902 w 1143000"/>
                <a:gd name="connsiteY103" fmla="*/ 728147 h 1092840"/>
                <a:gd name="connsiteX104" fmla="*/ 295687 w 1143000"/>
                <a:gd name="connsiteY104" fmla="*/ 706147 h 1092840"/>
                <a:gd name="connsiteX105" fmla="*/ 294083 w 1143000"/>
                <a:gd name="connsiteY105" fmla="*/ 683394 h 1092840"/>
                <a:gd name="connsiteX106" fmla="*/ 293092 w 1143000"/>
                <a:gd name="connsiteY106" fmla="*/ 659884 h 1092840"/>
                <a:gd name="connsiteX107" fmla="*/ 292731 w 1143000"/>
                <a:gd name="connsiteY107" fmla="*/ 635613 h 1092840"/>
                <a:gd name="connsiteX108" fmla="*/ 293016 w 1143000"/>
                <a:gd name="connsiteY108" fmla="*/ 610565 h 1092840"/>
                <a:gd name="connsiteX109" fmla="*/ 271916 w 1143000"/>
                <a:gd name="connsiteY109" fmla="*/ 609608 h 1092840"/>
                <a:gd name="connsiteX110" fmla="*/ 251459 w 1143000"/>
                <a:gd name="connsiteY110" fmla="*/ 607641 h 1092840"/>
                <a:gd name="connsiteX111" fmla="*/ 231649 w 1143000"/>
                <a:gd name="connsiteY111" fmla="*/ 604694 h 1092840"/>
                <a:gd name="connsiteX112" fmla="*/ 212506 w 1143000"/>
                <a:gd name="connsiteY112" fmla="*/ 600779 h 1092840"/>
                <a:gd name="connsiteX113" fmla="*/ 194020 w 1143000"/>
                <a:gd name="connsiteY113" fmla="*/ 595917 h 1092840"/>
                <a:gd name="connsiteX114" fmla="*/ 176210 w 1143000"/>
                <a:gd name="connsiteY114" fmla="*/ 590132 h 1092840"/>
                <a:gd name="connsiteX115" fmla="*/ 159082 w 1143000"/>
                <a:gd name="connsiteY115" fmla="*/ 583437 h 1092840"/>
                <a:gd name="connsiteX116" fmla="*/ 142634 w 1143000"/>
                <a:gd name="connsiteY116" fmla="*/ 575860 h 1092840"/>
                <a:gd name="connsiteX117" fmla="*/ 126877 w 1143000"/>
                <a:gd name="connsiteY117" fmla="*/ 567417 h 1092840"/>
                <a:gd name="connsiteX118" fmla="*/ 111820 w 1143000"/>
                <a:gd name="connsiteY118" fmla="*/ 558127 h 1092840"/>
                <a:gd name="connsiteX119" fmla="*/ 97462 w 1143000"/>
                <a:gd name="connsiteY119" fmla="*/ 548012 h 1092840"/>
                <a:gd name="connsiteX120" fmla="*/ 83820 w 1143000"/>
                <a:gd name="connsiteY120" fmla="*/ 537093 h 1092840"/>
                <a:gd name="connsiteX121" fmla="*/ 70896 w 1143000"/>
                <a:gd name="connsiteY121" fmla="*/ 525393 h 1092840"/>
                <a:gd name="connsiteX122" fmla="*/ 58696 w 1143000"/>
                <a:gd name="connsiteY122" fmla="*/ 512922 h 1092840"/>
                <a:gd name="connsiteX123" fmla="*/ 47224 w 1143000"/>
                <a:gd name="connsiteY123" fmla="*/ 499707 h 1092840"/>
                <a:gd name="connsiteX124" fmla="*/ 36491 w 1143000"/>
                <a:gd name="connsiteY124" fmla="*/ 485769 h 1092840"/>
                <a:gd name="connsiteX125" fmla="*/ 26500 w 1143000"/>
                <a:gd name="connsiteY125" fmla="*/ 471131 h 1092840"/>
                <a:gd name="connsiteX126" fmla="*/ 17262 w 1143000"/>
                <a:gd name="connsiteY126" fmla="*/ 455802 h 1092840"/>
                <a:gd name="connsiteX127" fmla="*/ 8781 w 1143000"/>
                <a:gd name="connsiteY127" fmla="*/ 439811 h 1092840"/>
                <a:gd name="connsiteX128" fmla="*/ 0 w 1143000"/>
                <a:gd name="connsiteY128" fmla="*/ 419692 h 1092840"/>
                <a:gd name="connsiteX129" fmla="*/ 500 w 1143000"/>
                <a:gd name="connsiteY129" fmla="*/ 417887 h 1092840"/>
                <a:gd name="connsiteX130" fmla="*/ 11771 w 1143000"/>
                <a:gd name="connsiteY130" fmla="*/ 429583 h 1092840"/>
                <a:gd name="connsiteX131" fmla="*/ 23705 w 1143000"/>
                <a:gd name="connsiteY131" fmla="*/ 440735 h 1092840"/>
                <a:gd name="connsiteX132" fmla="*/ 36276 w 1143000"/>
                <a:gd name="connsiteY132" fmla="*/ 451340 h 1092840"/>
                <a:gd name="connsiteX133" fmla="*/ 49453 w 1143000"/>
                <a:gd name="connsiteY133" fmla="*/ 461373 h 1092840"/>
                <a:gd name="connsiteX134" fmla="*/ 63215 w 1143000"/>
                <a:gd name="connsiteY134" fmla="*/ 470831 h 1092840"/>
                <a:gd name="connsiteX135" fmla="*/ 77524 w 1143000"/>
                <a:gd name="connsiteY135" fmla="*/ 479693 h 1092840"/>
                <a:gd name="connsiteX136" fmla="*/ 92367 w 1143000"/>
                <a:gd name="connsiteY136" fmla="*/ 487945 h 1092840"/>
                <a:gd name="connsiteX137" fmla="*/ 107705 w 1143000"/>
                <a:gd name="connsiteY137" fmla="*/ 495579 h 1092840"/>
                <a:gd name="connsiteX138" fmla="*/ 123515 w 1143000"/>
                <a:gd name="connsiteY138" fmla="*/ 502579 h 1092840"/>
                <a:gd name="connsiteX139" fmla="*/ 139767 w 1143000"/>
                <a:gd name="connsiteY139" fmla="*/ 508931 h 1092840"/>
                <a:gd name="connsiteX140" fmla="*/ 156439 w 1143000"/>
                <a:gd name="connsiteY140" fmla="*/ 514622 h 1092840"/>
                <a:gd name="connsiteX141" fmla="*/ 173496 w 1143000"/>
                <a:gd name="connsiteY141" fmla="*/ 519636 h 1092840"/>
                <a:gd name="connsiteX142" fmla="*/ 190915 w 1143000"/>
                <a:gd name="connsiteY142" fmla="*/ 523964 h 1092840"/>
                <a:gd name="connsiteX143" fmla="*/ 208673 w 1143000"/>
                <a:gd name="connsiteY143" fmla="*/ 527593 h 1092840"/>
                <a:gd name="connsiteX144" fmla="*/ 226730 w 1143000"/>
                <a:gd name="connsiteY144" fmla="*/ 530502 h 1092840"/>
                <a:gd name="connsiteX145" fmla="*/ 245073 w 1143000"/>
                <a:gd name="connsiteY145" fmla="*/ 532688 h 1092840"/>
                <a:gd name="connsiteX146" fmla="*/ 263664 w 1143000"/>
                <a:gd name="connsiteY146" fmla="*/ 534131 h 1092840"/>
                <a:gd name="connsiteX147" fmla="*/ 282478 w 1143000"/>
                <a:gd name="connsiteY147" fmla="*/ 534817 h 1092840"/>
                <a:gd name="connsiteX148" fmla="*/ 301488 w 1143000"/>
                <a:gd name="connsiteY148" fmla="*/ 534736 h 1092840"/>
                <a:gd name="connsiteX149" fmla="*/ 320669 w 1143000"/>
                <a:gd name="connsiteY149" fmla="*/ 533869 h 1092840"/>
                <a:gd name="connsiteX150" fmla="*/ 339993 w 1143000"/>
                <a:gd name="connsiteY150" fmla="*/ 532212 h 1092840"/>
                <a:gd name="connsiteX151" fmla="*/ 359431 w 1143000"/>
                <a:gd name="connsiteY151" fmla="*/ 529741 h 1092840"/>
                <a:gd name="connsiteX152" fmla="*/ 378955 w 1143000"/>
                <a:gd name="connsiteY152" fmla="*/ 526450 h 1092840"/>
                <a:gd name="connsiteX153" fmla="*/ 409093 w 1143000"/>
                <a:gd name="connsiteY153" fmla="*/ 519712 h 1092840"/>
                <a:gd name="connsiteX154" fmla="*/ 429822 w 1143000"/>
                <a:gd name="connsiteY154" fmla="*/ 513912 h 1092840"/>
                <a:gd name="connsiteX155" fmla="*/ 439988 w 1143000"/>
                <a:gd name="connsiteY155" fmla="*/ 510722 h 1092840"/>
                <a:gd name="connsiteX156" fmla="*/ 433941 w 1143000"/>
                <a:gd name="connsiteY156" fmla="*/ 526388 h 1092840"/>
                <a:gd name="connsiteX157" fmla="*/ 428622 w 1143000"/>
                <a:gd name="connsiteY157" fmla="*/ 542650 h 1092840"/>
                <a:gd name="connsiteX158" fmla="*/ 424026 w 1143000"/>
                <a:gd name="connsiteY158" fmla="*/ 559446 h 1092840"/>
                <a:gd name="connsiteX159" fmla="*/ 420136 w 1143000"/>
                <a:gd name="connsiteY159" fmla="*/ 576722 h 1092840"/>
                <a:gd name="connsiteX160" fmla="*/ 416955 w 1143000"/>
                <a:gd name="connsiteY160" fmla="*/ 594408 h 1092840"/>
                <a:gd name="connsiteX161" fmla="*/ 414469 w 1143000"/>
                <a:gd name="connsiteY161" fmla="*/ 612451 h 1092840"/>
                <a:gd name="connsiteX162" fmla="*/ 412669 w 1143000"/>
                <a:gd name="connsiteY162" fmla="*/ 630785 h 1092840"/>
                <a:gd name="connsiteX163" fmla="*/ 411545 w 1143000"/>
                <a:gd name="connsiteY163" fmla="*/ 649351 h 1092840"/>
                <a:gd name="connsiteX164" fmla="*/ 411098 w 1143000"/>
                <a:gd name="connsiteY164" fmla="*/ 668089 h 1092840"/>
                <a:gd name="connsiteX165" fmla="*/ 411307 w 1143000"/>
                <a:gd name="connsiteY165" fmla="*/ 686942 h 1092840"/>
                <a:gd name="connsiteX166" fmla="*/ 412174 w 1143000"/>
                <a:gd name="connsiteY166" fmla="*/ 705842 h 1092840"/>
                <a:gd name="connsiteX167" fmla="*/ 413688 w 1143000"/>
                <a:gd name="connsiteY167" fmla="*/ 724733 h 1092840"/>
                <a:gd name="connsiteX168" fmla="*/ 415836 w 1143000"/>
                <a:gd name="connsiteY168" fmla="*/ 743557 h 1092840"/>
                <a:gd name="connsiteX169" fmla="*/ 418617 w 1143000"/>
                <a:gd name="connsiteY169" fmla="*/ 762243 h 1092840"/>
                <a:gd name="connsiteX170" fmla="*/ 422017 w 1143000"/>
                <a:gd name="connsiteY170" fmla="*/ 780743 h 1092840"/>
                <a:gd name="connsiteX171" fmla="*/ 426026 w 1143000"/>
                <a:gd name="connsiteY171" fmla="*/ 798986 h 1092840"/>
                <a:gd name="connsiteX172" fmla="*/ 430646 w 1143000"/>
                <a:gd name="connsiteY172" fmla="*/ 816919 h 1092840"/>
                <a:gd name="connsiteX173" fmla="*/ 435860 w 1143000"/>
                <a:gd name="connsiteY173" fmla="*/ 834481 h 1092840"/>
                <a:gd name="connsiteX174" fmla="*/ 441660 w 1143000"/>
                <a:gd name="connsiteY174" fmla="*/ 851605 h 1092840"/>
                <a:gd name="connsiteX175" fmla="*/ 448041 w 1143000"/>
                <a:gd name="connsiteY175" fmla="*/ 868234 h 1092840"/>
                <a:gd name="connsiteX176" fmla="*/ 454993 w 1143000"/>
                <a:gd name="connsiteY176" fmla="*/ 884310 h 1092840"/>
                <a:gd name="connsiteX177" fmla="*/ 462508 w 1143000"/>
                <a:gd name="connsiteY177" fmla="*/ 899768 h 1092840"/>
                <a:gd name="connsiteX178" fmla="*/ 470579 w 1143000"/>
                <a:gd name="connsiteY178" fmla="*/ 914549 h 1092840"/>
                <a:gd name="connsiteX179" fmla="*/ 479194 w 1143000"/>
                <a:gd name="connsiteY179" fmla="*/ 928597 h 1092840"/>
                <a:gd name="connsiteX180" fmla="*/ 488351 w 1143000"/>
                <a:gd name="connsiteY180" fmla="*/ 941839 h 1092840"/>
                <a:gd name="connsiteX181" fmla="*/ 498036 w 1143000"/>
                <a:gd name="connsiteY181" fmla="*/ 954230 h 1092840"/>
                <a:gd name="connsiteX182" fmla="*/ 508242 w 1143000"/>
                <a:gd name="connsiteY182" fmla="*/ 965697 h 1092840"/>
                <a:gd name="connsiteX183" fmla="*/ 518965 w 1143000"/>
                <a:gd name="connsiteY183" fmla="*/ 976187 h 1092840"/>
                <a:gd name="connsiteX184" fmla="*/ 530189 w 1143000"/>
                <a:gd name="connsiteY184" fmla="*/ 985640 h 1092840"/>
                <a:gd name="connsiteX185" fmla="*/ 541913 w 1143000"/>
                <a:gd name="connsiteY185" fmla="*/ 993987 h 1092840"/>
                <a:gd name="connsiteX186" fmla="*/ 566818 w 1143000"/>
                <a:gd name="connsiteY186" fmla="*/ 1007135 h 1092840"/>
                <a:gd name="connsiteX187" fmla="*/ 579980 w 1143000"/>
                <a:gd name="connsiteY187" fmla="*/ 1011821 h 1092840"/>
                <a:gd name="connsiteX188" fmla="*/ 574594 w 1143000"/>
                <a:gd name="connsiteY188" fmla="*/ 993825 h 1092840"/>
                <a:gd name="connsiteX189" fmla="*/ 569523 w 1143000"/>
                <a:gd name="connsiteY189" fmla="*/ 975726 h 1092840"/>
                <a:gd name="connsiteX190" fmla="*/ 564756 w 1143000"/>
                <a:gd name="connsiteY190" fmla="*/ 957535 h 1092840"/>
                <a:gd name="connsiteX191" fmla="*/ 560308 w 1143000"/>
                <a:gd name="connsiteY191" fmla="*/ 939254 h 1092840"/>
                <a:gd name="connsiteX192" fmla="*/ 556170 w 1143000"/>
                <a:gd name="connsiteY192" fmla="*/ 920901 h 1092840"/>
                <a:gd name="connsiteX193" fmla="*/ 552351 w 1143000"/>
                <a:gd name="connsiteY193" fmla="*/ 902482 h 1092840"/>
                <a:gd name="connsiteX194" fmla="*/ 548842 w 1143000"/>
                <a:gd name="connsiteY194" fmla="*/ 884010 h 1092840"/>
                <a:gd name="connsiteX195" fmla="*/ 545656 w 1143000"/>
                <a:gd name="connsiteY195" fmla="*/ 865486 h 1092840"/>
                <a:gd name="connsiteX196" fmla="*/ 542784 w 1143000"/>
                <a:gd name="connsiteY196" fmla="*/ 846929 h 1092840"/>
                <a:gd name="connsiteX197" fmla="*/ 540237 w 1143000"/>
                <a:gd name="connsiteY197" fmla="*/ 828338 h 1092840"/>
                <a:gd name="connsiteX198" fmla="*/ 538008 w 1143000"/>
                <a:gd name="connsiteY198" fmla="*/ 809734 h 1092840"/>
                <a:gd name="connsiteX199" fmla="*/ 536103 w 1143000"/>
                <a:gd name="connsiteY199" fmla="*/ 791119 h 1092840"/>
                <a:gd name="connsiteX200" fmla="*/ 534523 w 1143000"/>
                <a:gd name="connsiteY200" fmla="*/ 772504 h 1092840"/>
                <a:gd name="connsiteX201" fmla="*/ 533265 w 1143000"/>
                <a:gd name="connsiteY201" fmla="*/ 753904 h 1092840"/>
                <a:gd name="connsiteX202" fmla="*/ 532337 w 1143000"/>
                <a:gd name="connsiteY202" fmla="*/ 735319 h 1092840"/>
                <a:gd name="connsiteX203" fmla="*/ 531737 w 1143000"/>
                <a:gd name="connsiteY203" fmla="*/ 716766 h 1092840"/>
                <a:gd name="connsiteX204" fmla="*/ 531461 w 1143000"/>
                <a:gd name="connsiteY204" fmla="*/ 698252 h 1092840"/>
                <a:gd name="connsiteX205" fmla="*/ 531518 w 1143000"/>
                <a:gd name="connsiteY205" fmla="*/ 679780 h 1092840"/>
                <a:gd name="connsiteX206" fmla="*/ 531908 w 1143000"/>
                <a:gd name="connsiteY206" fmla="*/ 661370 h 1092840"/>
                <a:gd name="connsiteX207" fmla="*/ 532627 w 1143000"/>
                <a:gd name="connsiteY207" fmla="*/ 643027 h 1092840"/>
                <a:gd name="connsiteX208" fmla="*/ 533680 w 1143000"/>
                <a:gd name="connsiteY208" fmla="*/ 624760 h 1092840"/>
                <a:gd name="connsiteX209" fmla="*/ 535070 w 1143000"/>
                <a:gd name="connsiteY209" fmla="*/ 606584 h 1092840"/>
                <a:gd name="connsiteX210" fmla="*/ 536799 w 1143000"/>
                <a:gd name="connsiteY210" fmla="*/ 588498 h 1092840"/>
                <a:gd name="connsiteX211" fmla="*/ 538861 w 1143000"/>
                <a:gd name="connsiteY211" fmla="*/ 570517 h 1092840"/>
                <a:gd name="connsiteX212" fmla="*/ 541260 w 1143000"/>
                <a:gd name="connsiteY212" fmla="*/ 552655 h 1092840"/>
                <a:gd name="connsiteX213" fmla="*/ 544004 w 1143000"/>
                <a:gd name="connsiteY213" fmla="*/ 534912 h 1092840"/>
                <a:gd name="connsiteX214" fmla="*/ 547089 w 1143000"/>
                <a:gd name="connsiteY214" fmla="*/ 517307 h 1092840"/>
                <a:gd name="connsiteX215" fmla="*/ 550518 w 1143000"/>
                <a:gd name="connsiteY215" fmla="*/ 499845 h 1092840"/>
                <a:gd name="connsiteX216" fmla="*/ 554285 w 1143000"/>
                <a:gd name="connsiteY216" fmla="*/ 482531 h 1092840"/>
                <a:gd name="connsiteX217" fmla="*/ 558404 w 1143000"/>
                <a:gd name="connsiteY217" fmla="*/ 465383 h 1092840"/>
                <a:gd name="connsiteX218" fmla="*/ 562865 w 1143000"/>
                <a:gd name="connsiteY218" fmla="*/ 448407 h 1092840"/>
                <a:gd name="connsiteX219" fmla="*/ 567675 w 1143000"/>
                <a:gd name="connsiteY219" fmla="*/ 431607 h 1092840"/>
                <a:gd name="connsiteX220" fmla="*/ 572832 w 1143000"/>
                <a:gd name="connsiteY220" fmla="*/ 415002 h 1092840"/>
                <a:gd name="connsiteX221" fmla="*/ 578342 w 1143000"/>
                <a:gd name="connsiteY221" fmla="*/ 398597 h 1092840"/>
                <a:gd name="connsiteX222" fmla="*/ 584204 w 1143000"/>
                <a:gd name="connsiteY222" fmla="*/ 382402 h 1092840"/>
                <a:gd name="connsiteX223" fmla="*/ 590413 w 1143000"/>
                <a:gd name="connsiteY223" fmla="*/ 366425 h 1092840"/>
                <a:gd name="connsiteX224" fmla="*/ 596980 w 1143000"/>
                <a:gd name="connsiteY224" fmla="*/ 350677 h 1092840"/>
                <a:gd name="connsiteX225" fmla="*/ 603904 w 1143000"/>
                <a:gd name="connsiteY225" fmla="*/ 335163 h 1092840"/>
                <a:gd name="connsiteX226" fmla="*/ 611180 w 1143000"/>
                <a:gd name="connsiteY226" fmla="*/ 319901 h 1092840"/>
                <a:gd name="connsiteX227" fmla="*/ 618818 w 1143000"/>
                <a:gd name="connsiteY227" fmla="*/ 304896 h 1092840"/>
                <a:gd name="connsiteX228" fmla="*/ 626814 w 1143000"/>
                <a:gd name="connsiteY228" fmla="*/ 290158 h 1092840"/>
                <a:gd name="connsiteX229" fmla="*/ 635171 w 1143000"/>
                <a:gd name="connsiteY229" fmla="*/ 275696 h 1092840"/>
                <a:gd name="connsiteX230" fmla="*/ 643885 w 1143000"/>
                <a:gd name="connsiteY230" fmla="*/ 261515 h 1092840"/>
                <a:gd name="connsiteX231" fmla="*/ 652966 w 1143000"/>
                <a:gd name="connsiteY231" fmla="*/ 247634 h 1092840"/>
                <a:gd name="connsiteX232" fmla="*/ 662409 w 1143000"/>
                <a:gd name="connsiteY232" fmla="*/ 234057 h 1092840"/>
                <a:gd name="connsiteX233" fmla="*/ 672219 w 1143000"/>
                <a:gd name="connsiteY233" fmla="*/ 220791 h 1092840"/>
                <a:gd name="connsiteX234" fmla="*/ 682390 w 1143000"/>
                <a:gd name="connsiteY234" fmla="*/ 207852 h 1092840"/>
                <a:gd name="connsiteX235" fmla="*/ 692933 w 1143000"/>
                <a:gd name="connsiteY235" fmla="*/ 195243 h 1092840"/>
                <a:gd name="connsiteX236" fmla="*/ 703847 w 1143000"/>
                <a:gd name="connsiteY236" fmla="*/ 182976 h 1092840"/>
                <a:gd name="connsiteX237" fmla="*/ 715129 w 1143000"/>
                <a:gd name="connsiteY237" fmla="*/ 171066 h 1092840"/>
                <a:gd name="connsiteX238" fmla="*/ 726781 w 1143000"/>
                <a:gd name="connsiteY238" fmla="*/ 159514 h 1092840"/>
                <a:gd name="connsiteX239" fmla="*/ 738810 w 1143000"/>
                <a:gd name="connsiteY239" fmla="*/ 148333 h 1092840"/>
                <a:gd name="connsiteX240" fmla="*/ 751210 w 1143000"/>
                <a:gd name="connsiteY240" fmla="*/ 137533 h 1092840"/>
                <a:gd name="connsiteX241" fmla="*/ 763986 w 1143000"/>
                <a:gd name="connsiteY241" fmla="*/ 127123 h 1092840"/>
                <a:gd name="connsiteX242" fmla="*/ 777133 w 1143000"/>
                <a:gd name="connsiteY242" fmla="*/ 117114 h 1092840"/>
                <a:gd name="connsiteX243" fmla="*/ 790667 w 1143000"/>
                <a:gd name="connsiteY243" fmla="*/ 107509 h 1092840"/>
                <a:gd name="connsiteX244" fmla="*/ 804572 w 1143000"/>
                <a:gd name="connsiteY244" fmla="*/ 98328 h 1092840"/>
                <a:gd name="connsiteX245" fmla="*/ 818863 w 1143000"/>
                <a:gd name="connsiteY245" fmla="*/ 89570 h 1092840"/>
                <a:gd name="connsiteX246" fmla="*/ 833534 w 1143000"/>
                <a:gd name="connsiteY246" fmla="*/ 81256 h 1092840"/>
                <a:gd name="connsiteX247" fmla="*/ 848587 w 1143000"/>
                <a:gd name="connsiteY247" fmla="*/ 73385 h 1092840"/>
                <a:gd name="connsiteX248" fmla="*/ 861587 w 1143000"/>
                <a:gd name="connsiteY248" fmla="*/ 67061 h 1092840"/>
                <a:gd name="connsiteX249" fmla="*/ 874863 w 1143000"/>
                <a:gd name="connsiteY249" fmla="*/ 60985 h 1092840"/>
                <a:gd name="connsiteX250" fmla="*/ 888406 w 1143000"/>
                <a:gd name="connsiteY250" fmla="*/ 55161 h 1092840"/>
                <a:gd name="connsiteX251" fmla="*/ 902211 w 1143000"/>
                <a:gd name="connsiteY251" fmla="*/ 49584 h 1092840"/>
                <a:gd name="connsiteX252" fmla="*/ 916268 w 1143000"/>
                <a:gd name="connsiteY252" fmla="*/ 44275 h 1092840"/>
                <a:gd name="connsiteX253" fmla="*/ 930568 w 1143000"/>
                <a:gd name="connsiteY253" fmla="*/ 39227 h 1092840"/>
                <a:gd name="connsiteX254" fmla="*/ 945102 w 1143000"/>
                <a:gd name="connsiteY254" fmla="*/ 34451 h 1092840"/>
                <a:gd name="connsiteX255" fmla="*/ 959859 w 1143000"/>
                <a:gd name="connsiteY255" fmla="*/ 29956 h 1092840"/>
                <a:gd name="connsiteX256" fmla="*/ 974826 w 1143000"/>
                <a:gd name="connsiteY256" fmla="*/ 25736 h 1092840"/>
                <a:gd name="connsiteX257" fmla="*/ 990002 w 1143000"/>
                <a:gd name="connsiteY257" fmla="*/ 21813 h 1092840"/>
                <a:gd name="connsiteX258" fmla="*/ 1005374 w 1143000"/>
                <a:gd name="connsiteY258" fmla="*/ 18179 h 1092840"/>
                <a:gd name="connsiteX259" fmla="*/ 1020930 w 1143000"/>
                <a:gd name="connsiteY259" fmla="*/ 14846 h 1092840"/>
                <a:gd name="connsiteX260" fmla="*/ 1036669 w 1143000"/>
                <a:gd name="connsiteY260" fmla="*/ 11817 h 1092840"/>
                <a:gd name="connsiteX261" fmla="*/ 1052569 w 1143000"/>
                <a:gd name="connsiteY261" fmla="*/ 9103 h 1092840"/>
                <a:gd name="connsiteX262" fmla="*/ 1068636 w 1143000"/>
                <a:gd name="connsiteY262" fmla="*/ 6703 h 1092840"/>
                <a:gd name="connsiteX263" fmla="*/ 1084850 w 1143000"/>
                <a:gd name="connsiteY263" fmla="*/ 4627 h 1092840"/>
                <a:gd name="connsiteX264" fmla="*/ 1101202 w 1143000"/>
                <a:gd name="connsiteY264" fmla="*/ 2875 h 1092840"/>
                <a:gd name="connsiteX265" fmla="*/ 1117688 w 1143000"/>
                <a:gd name="connsiteY265" fmla="*/ 1460 h 1092840"/>
                <a:gd name="connsiteX266" fmla="*/ 1134298 w 1143000"/>
                <a:gd name="connsiteY266" fmla="*/ 379 h 1092840"/>
                <a:gd name="connsiteX267" fmla="*/ 1143000 w 1143000"/>
                <a:gd name="connsiteY267" fmla="*/ 0 h 109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43000" h="1092840">
                  <a:moveTo>
                    <a:pt x="1143000" y="0"/>
                  </a:moveTo>
                  <a:lnTo>
                    <a:pt x="1143000" y="99531"/>
                  </a:lnTo>
                  <a:lnTo>
                    <a:pt x="1131798" y="100952"/>
                  </a:lnTo>
                  <a:lnTo>
                    <a:pt x="1110140" y="104580"/>
                  </a:lnTo>
                  <a:lnTo>
                    <a:pt x="1089117" y="108980"/>
                  </a:lnTo>
                  <a:lnTo>
                    <a:pt x="1068712" y="114128"/>
                  </a:lnTo>
                  <a:lnTo>
                    <a:pt x="1048926" y="119990"/>
                  </a:lnTo>
                  <a:lnTo>
                    <a:pt x="1029745" y="126533"/>
                  </a:lnTo>
                  <a:lnTo>
                    <a:pt x="1011168" y="133733"/>
                  </a:lnTo>
                  <a:lnTo>
                    <a:pt x="993178" y="141561"/>
                  </a:lnTo>
                  <a:lnTo>
                    <a:pt x="975768" y="149980"/>
                  </a:lnTo>
                  <a:lnTo>
                    <a:pt x="958935" y="158966"/>
                  </a:lnTo>
                  <a:lnTo>
                    <a:pt x="942668" y="168485"/>
                  </a:lnTo>
                  <a:lnTo>
                    <a:pt x="926959" y="178514"/>
                  </a:lnTo>
                  <a:lnTo>
                    <a:pt x="911801" y="189019"/>
                  </a:lnTo>
                  <a:lnTo>
                    <a:pt x="897182" y="199971"/>
                  </a:lnTo>
                  <a:lnTo>
                    <a:pt x="883096" y="211338"/>
                  </a:lnTo>
                  <a:lnTo>
                    <a:pt x="869539" y="223095"/>
                  </a:lnTo>
                  <a:lnTo>
                    <a:pt x="856496" y="235205"/>
                  </a:lnTo>
                  <a:lnTo>
                    <a:pt x="843963" y="247648"/>
                  </a:lnTo>
                  <a:lnTo>
                    <a:pt x="831929" y="260386"/>
                  </a:lnTo>
                  <a:lnTo>
                    <a:pt x="820391" y="273391"/>
                  </a:lnTo>
                  <a:lnTo>
                    <a:pt x="809334" y="286639"/>
                  </a:lnTo>
                  <a:lnTo>
                    <a:pt x="798758" y="300091"/>
                  </a:lnTo>
                  <a:lnTo>
                    <a:pt x="788643" y="313725"/>
                  </a:lnTo>
                  <a:lnTo>
                    <a:pt x="778991" y="327511"/>
                  </a:lnTo>
                  <a:lnTo>
                    <a:pt x="769791" y="341415"/>
                  </a:lnTo>
                  <a:lnTo>
                    <a:pt x="761038" y="355406"/>
                  </a:lnTo>
                  <a:lnTo>
                    <a:pt x="752714" y="369458"/>
                  </a:lnTo>
                  <a:lnTo>
                    <a:pt x="744819" y="383544"/>
                  </a:lnTo>
                  <a:lnTo>
                    <a:pt x="737343" y="397630"/>
                  </a:lnTo>
                  <a:lnTo>
                    <a:pt x="730281" y="411688"/>
                  </a:lnTo>
                  <a:lnTo>
                    <a:pt x="723619" y="425683"/>
                  </a:lnTo>
                  <a:lnTo>
                    <a:pt x="717352" y="439592"/>
                  </a:lnTo>
                  <a:lnTo>
                    <a:pt x="711466" y="453388"/>
                  </a:lnTo>
                  <a:lnTo>
                    <a:pt x="705967" y="467031"/>
                  </a:lnTo>
                  <a:lnTo>
                    <a:pt x="700833" y="480498"/>
                  </a:lnTo>
                  <a:lnTo>
                    <a:pt x="691642" y="506779"/>
                  </a:lnTo>
                  <a:lnTo>
                    <a:pt x="683828" y="531998"/>
                  </a:lnTo>
                  <a:lnTo>
                    <a:pt x="677338" y="555908"/>
                  </a:lnTo>
                  <a:lnTo>
                    <a:pt x="672090" y="578279"/>
                  </a:lnTo>
                  <a:lnTo>
                    <a:pt x="668033" y="598870"/>
                  </a:lnTo>
                  <a:lnTo>
                    <a:pt x="665090" y="617446"/>
                  </a:lnTo>
                  <a:lnTo>
                    <a:pt x="662823" y="635299"/>
                  </a:lnTo>
                  <a:lnTo>
                    <a:pt x="660885" y="653561"/>
                  </a:lnTo>
                  <a:lnTo>
                    <a:pt x="659290" y="672180"/>
                  </a:lnTo>
                  <a:lnTo>
                    <a:pt x="658033" y="691113"/>
                  </a:lnTo>
                  <a:lnTo>
                    <a:pt x="657114" y="710313"/>
                  </a:lnTo>
                  <a:lnTo>
                    <a:pt x="656547" y="729728"/>
                  </a:lnTo>
                  <a:lnTo>
                    <a:pt x="656323" y="749314"/>
                  </a:lnTo>
                  <a:lnTo>
                    <a:pt x="656452" y="769024"/>
                  </a:lnTo>
                  <a:lnTo>
                    <a:pt x="656933" y="788809"/>
                  </a:lnTo>
                  <a:lnTo>
                    <a:pt x="657771" y="808624"/>
                  </a:lnTo>
                  <a:lnTo>
                    <a:pt x="658966" y="828419"/>
                  </a:lnTo>
                  <a:lnTo>
                    <a:pt x="660528" y="848153"/>
                  </a:lnTo>
                  <a:lnTo>
                    <a:pt x="662452" y="867767"/>
                  </a:lnTo>
                  <a:lnTo>
                    <a:pt x="664742" y="887225"/>
                  </a:lnTo>
                  <a:lnTo>
                    <a:pt x="667404" y="906473"/>
                  </a:lnTo>
                  <a:lnTo>
                    <a:pt x="670438" y="925463"/>
                  </a:lnTo>
                  <a:lnTo>
                    <a:pt x="673847" y="944154"/>
                  </a:lnTo>
                  <a:lnTo>
                    <a:pt x="677638" y="962497"/>
                  </a:lnTo>
                  <a:lnTo>
                    <a:pt x="681809" y="980440"/>
                  </a:lnTo>
                  <a:lnTo>
                    <a:pt x="686366" y="997940"/>
                  </a:lnTo>
                  <a:lnTo>
                    <a:pt x="691309" y="1014950"/>
                  </a:lnTo>
                  <a:lnTo>
                    <a:pt x="696638" y="1031421"/>
                  </a:lnTo>
                  <a:lnTo>
                    <a:pt x="702367" y="1047302"/>
                  </a:lnTo>
                  <a:lnTo>
                    <a:pt x="708486" y="1062554"/>
                  </a:lnTo>
                  <a:lnTo>
                    <a:pt x="715005" y="1077126"/>
                  </a:lnTo>
                  <a:lnTo>
                    <a:pt x="721924" y="1090969"/>
                  </a:lnTo>
                  <a:lnTo>
                    <a:pt x="706938" y="1092007"/>
                  </a:lnTo>
                  <a:lnTo>
                    <a:pt x="692000" y="1092636"/>
                  </a:lnTo>
                  <a:lnTo>
                    <a:pt x="677123" y="1092840"/>
                  </a:lnTo>
                  <a:lnTo>
                    <a:pt x="662328" y="1092621"/>
                  </a:lnTo>
                  <a:lnTo>
                    <a:pt x="647623" y="1091965"/>
                  </a:lnTo>
                  <a:lnTo>
                    <a:pt x="633023" y="1090860"/>
                  </a:lnTo>
                  <a:lnTo>
                    <a:pt x="618542" y="1089302"/>
                  </a:lnTo>
                  <a:lnTo>
                    <a:pt x="604195" y="1087284"/>
                  </a:lnTo>
                  <a:lnTo>
                    <a:pt x="589989" y="1084793"/>
                  </a:lnTo>
                  <a:lnTo>
                    <a:pt x="575951" y="1081826"/>
                  </a:lnTo>
                  <a:lnTo>
                    <a:pt x="548403" y="1074417"/>
                  </a:lnTo>
                  <a:lnTo>
                    <a:pt x="521665" y="1064988"/>
                  </a:lnTo>
                  <a:lnTo>
                    <a:pt x="495846" y="1053474"/>
                  </a:lnTo>
                  <a:lnTo>
                    <a:pt x="471055" y="1039812"/>
                  </a:lnTo>
                  <a:lnTo>
                    <a:pt x="447408" y="1023926"/>
                  </a:lnTo>
                  <a:lnTo>
                    <a:pt x="436041" y="1015130"/>
                  </a:lnTo>
                  <a:lnTo>
                    <a:pt x="425003" y="1005754"/>
                  </a:lnTo>
                  <a:lnTo>
                    <a:pt x="414307" y="995788"/>
                  </a:lnTo>
                  <a:lnTo>
                    <a:pt x="403964" y="985225"/>
                  </a:lnTo>
                  <a:lnTo>
                    <a:pt x="393988" y="974059"/>
                  </a:lnTo>
                  <a:lnTo>
                    <a:pt x="384398" y="962278"/>
                  </a:lnTo>
                  <a:lnTo>
                    <a:pt x="375198" y="949873"/>
                  </a:lnTo>
                  <a:lnTo>
                    <a:pt x="366407" y="936839"/>
                  </a:lnTo>
                  <a:lnTo>
                    <a:pt x="358045" y="923163"/>
                  </a:lnTo>
                  <a:lnTo>
                    <a:pt x="350112" y="908839"/>
                  </a:lnTo>
                  <a:lnTo>
                    <a:pt x="342636" y="893863"/>
                  </a:lnTo>
                  <a:lnTo>
                    <a:pt x="335621" y="878220"/>
                  </a:lnTo>
                  <a:lnTo>
                    <a:pt x="329088" y="861905"/>
                  </a:lnTo>
                  <a:lnTo>
                    <a:pt x="323045" y="844910"/>
                  </a:lnTo>
                  <a:lnTo>
                    <a:pt x="317507" y="827224"/>
                  </a:lnTo>
                  <a:lnTo>
                    <a:pt x="312493" y="808838"/>
                  </a:lnTo>
                  <a:lnTo>
                    <a:pt x="308007" y="789748"/>
                  </a:lnTo>
                  <a:lnTo>
                    <a:pt x="304073" y="769938"/>
                  </a:lnTo>
                  <a:lnTo>
                    <a:pt x="300697" y="749409"/>
                  </a:lnTo>
                  <a:lnTo>
                    <a:pt x="297902" y="728147"/>
                  </a:lnTo>
                  <a:lnTo>
                    <a:pt x="295687" y="706147"/>
                  </a:lnTo>
                  <a:lnTo>
                    <a:pt x="294083" y="683394"/>
                  </a:lnTo>
                  <a:lnTo>
                    <a:pt x="293092" y="659884"/>
                  </a:lnTo>
                  <a:lnTo>
                    <a:pt x="292731" y="635613"/>
                  </a:lnTo>
                  <a:lnTo>
                    <a:pt x="293016" y="610565"/>
                  </a:lnTo>
                  <a:lnTo>
                    <a:pt x="271916" y="609608"/>
                  </a:lnTo>
                  <a:lnTo>
                    <a:pt x="251459" y="607641"/>
                  </a:lnTo>
                  <a:lnTo>
                    <a:pt x="231649" y="604694"/>
                  </a:lnTo>
                  <a:lnTo>
                    <a:pt x="212506" y="600779"/>
                  </a:lnTo>
                  <a:lnTo>
                    <a:pt x="194020" y="595917"/>
                  </a:lnTo>
                  <a:lnTo>
                    <a:pt x="176210" y="590132"/>
                  </a:lnTo>
                  <a:lnTo>
                    <a:pt x="159082" y="583437"/>
                  </a:lnTo>
                  <a:lnTo>
                    <a:pt x="142634" y="575860"/>
                  </a:lnTo>
                  <a:lnTo>
                    <a:pt x="126877" y="567417"/>
                  </a:lnTo>
                  <a:lnTo>
                    <a:pt x="111820" y="558127"/>
                  </a:lnTo>
                  <a:lnTo>
                    <a:pt x="97462" y="548012"/>
                  </a:lnTo>
                  <a:lnTo>
                    <a:pt x="83820" y="537093"/>
                  </a:lnTo>
                  <a:lnTo>
                    <a:pt x="70896" y="525393"/>
                  </a:lnTo>
                  <a:lnTo>
                    <a:pt x="58696" y="512922"/>
                  </a:lnTo>
                  <a:lnTo>
                    <a:pt x="47224" y="499707"/>
                  </a:lnTo>
                  <a:lnTo>
                    <a:pt x="36491" y="485769"/>
                  </a:lnTo>
                  <a:lnTo>
                    <a:pt x="26500" y="471131"/>
                  </a:lnTo>
                  <a:lnTo>
                    <a:pt x="17262" y="455802"/>
                  </a:lnTo>
                  <a:lnTo>
                    <a:pt x="8781" y="439811"/>
                  </a:lnTo>
                  <a:lnTo>
                    <a:pt x="0" y="419692"/>
                  </a:lnTo>
                  <a:lnTo>
                    <a:pt x="500" y="417887"/>
                  </a:lnTo>
                  <a:lnTo>
                    <a:pt x="11771" y="429583"/>
                  </a:lnTo>
                  <a:lnTo>
                    <a:pt x="23705" y="440735"/>
                  </a:lnTo>
                  <a:lnTo>
                    <a:pt x="36276" y="451340"/>
                  </a:lnTo>
                  <a:lnTo>
                    <a:pt x="49453" y="461373"/>
                  </a:lnTo>
                  <a:lnTo>
                    <a:pt x="63215" y="470831"/>
                  </a:lnTo>
                  <a:lnTo>
                    <a:pt x="77524" y="479693"/>
                  </a:lnTo>
                  <a:lnTo>
                    <a:pt x="92367" y="487945"/>
                  </a:lnTo>
                  <a:lnTo>
                    <a:pt x="107705" y="495579"/>
                  </a:lnTo>
                  <a:lnTo>
                    <a:pt x="123515" y="502579"/>
                  </a:lnTo>
                  <a:lnTo>
                    <a:pt x="139767" y="508931"/>
                  </a:lnTo>
                  <a:lnTo>
                    <a:pt x="156439" y="514622"/>
                  </a:lnTo>
                  <a:lnTo>
                    <a:pt x="173496" y="519636"/>
                  </a:lnTo>
                  <a:lnTo>
                    <a:pt x="190915" y="523964"/>
                  </a:lnTo>
                  <a:lnTo>
                    <a:pt x="208673" y="527593"/>
                  </a:lnTo>
                  <a:lnTo>
                    <a:pt x="226730" y="530502"/>
                  </a:lnTo>
                  <a:lnTo>
                    <a:pt x="245073" y="532688"/>
                  </a:lnTo>
                  <a:lnTo>
                    <a:pt x="263664" y="534131"/>
                  </a:lnTo>
                  <a:lnTo>
                    <a:pt x="282478" y="534817"/>
                  </a:lnTo>
                  <a:lnTo>
                    <a:pt x="301488" y="534736"/>
                  </a:lnTo>
                  <a:lnTo>
                    <a:pt x="320669" y="533869"/>
                  </a:lnTo>
                  <a:lnTo>
                    <a:pt x="339993" y="532212"/>
                  </a:lnTo>
                  <a:lnTo>
                    <a:pt x="359431" y="529741"/>
                  </a:lnTo>
                  <a:lnTo>
                    <a:pt x="378955" y="526450"/>
                  </a:lnTo>
                  <a:lnTo>
                    <a:pt x="409093" y="519712"/>
                  </a:lnTo>
                  <a:lnTo>
                    <a:pt x="429822" y="513912"/>
                  </a:lnTo>
                  <a:lnTo>
                    <a:pt x="439988" y="510722"/>
                  </a:lnTo>
                  <a:lnTo>
                    <a:pt x="433941" y="526388"/>
                  </a:lnTo>
                  <a:lnTo>
                    <a:pt x="428622" y="542650"/>
                  </a:lnTo>
                  <a:lnTo>
                    <a:pt x="424026" y="559446"/>
                  </a:lnTo>
                  <a:lnTo>
                    <a:pt x="420136" y="576722"/>
                  </a:lnTo>
                  <a:lnTo>
                    <a:pt x="416955" y="594408"/>
                  </a:lnTo>
                  <a:lnTo>
                    <a:pt x="414469" y="612451"/>
                  </a:lnTo>
                  <a:lnTo>
                    <a:pt x="412669" y="630785"/>
                  </a:lnTo>
                  <a:lnTo>
                    <a:pt x="411545" y="649351"/>
                  </a:lnTo>
                  <a:lnTo>
                    <a:pt x="411098" y="668089"/>
                  </a:lnTo>
                  <a:lnTo>
                    <a:pt x="411307" y="686942"/>
                  </a:lnTo>
                  <a:lnTo>
                    <a:pt x="412174" y="705842"/>
                  </a:lnTo>
                  <a:lnTo>
                    <a:pt x="413688" y="724733"/>
                  </a:lnTo>
                  <a:lnTo>
                    <a:pt x="415836" y="743557"/>
                  </a:lnTo>
                  <a:lnTo>
                    <a:pt x="418617" y="762243"/>
                  </a:lnTo>
                  <a:lnTo>
                    <a:pt x="422017" y="780743"/>
                  </a:lnTo>
                  <a:lnTo>
                    <a:pt x="426026" y="798986"/>
                  </a:lnTo>
                  <a:lnTo>
                    <a:pt x="430646" y="816919"/>
                  </a:lnTo>
                  <a:lnTo>
                    <a:pt x="435860" y="834481"/>
                  </a:lnTo>
                  <a:lnTo>
                    <a:pt x="441660" y="851605"/>
                  </a:lnTo>
                  <a:lnTo>
                    <a:pt x="448041" y="868234"/>
                  </a:lnTo>
                  <a:lnTo>
                    <a:pt x="454993" y="884310"/>
                  </a:lnTo>
                  <a:lnTo>
                    <a:pt x="462508" y="899768"/>
                  </a:lnTo>
                  <a:lnTo>
                    <a:pt x="470579" y="914549"/>
                  </a:lnTo>
                  <a:lnTo>
                    <a:pt x="479194" y="928597"/>
                  </a:lnTo>
                  <a:lnTo>
                    <a:pt x="488351" y="941839"/>
                  </a:lnTo>
                  <a:lnTo>
                    <a:pt x="498036" y="954230"/>
                  </a:lnTo>
                  <a:lnTo>
                    <a:pt x="508242" y="965697"/>
                  </a:lnTo>
                  <a:lnTo>
                    <a:pt x="518965" y="976187"/>
                  </a:lnTo>
                  <a:lnTo>
                    <a:pt x="530189" y="985640"/>
                  </a:lnTo>
                  <a:lnTo>
                    <a:pt x="541913" y="993987"/>
                  </a:lnTo>
                  <a:lnTo>
                    <a:pt x="566818" y="1007135"/>
                  </a:lnTo>
                  <a:lnTo>
                    <a:pt x="579980" y="1011821"/>
                  </a:lnTo>
                  <a:lnTo>
                    <a:pt x="574594" y="993825"/>
                  </a:lnTo>
                  <a:lnTo>
                    <a:pt x="569523" y="975726"/>
                  </a:lnTo>
                  <a:lnTo>
                    <a:pt x="564756" y="957535"/>
                  </a:lnTo>
                  <a:lnTo>
                    <a:pt x="560308" y="939254"/>
                  </a:lnTo>
                  <a:lnTo>
                    <a:pt x="556170" y="920901"/>
                  </a:lnTo>
                  <a:lnTo>
                    <a:pt x="552351" y="902482"/>
                  </a:lnTo>
                  <a:lnTo>
                    <a:pt x="548842" y="884010"/>
                  </a:lnTo>
                  <a:lnTo>
                    <a:pt x="545656" y="865486"/>
                  </a:lnTo>
                  <a:lnTo>
                    <a:pt x="542784" y="846929"/>
                  </a:lnTo>
                  <a:lnTo>
                    <a:pt x="540237" y="828338"/>
                  </a:lnTo>
                  <a:lnTo>
                    <a:pt x="538008" y="809734"/>
                  </a:lnTo>
                  <a:lnTo>
                    <a:pt x="536103" y="791119"/>
                  </a:lnTo>
                  <a:lnTo>
                    <a:pt x="534523" y="772504"/>
                  </a:lnTo>
                  <a:lnTo>
                    <a:pt x="533265" y="753904"/>
                  </a:lnTo>
                  <a:lnTo>
                    <a:pt x="532337" y="735319"/>
                  </a:lnTo>
                  <a:lnTo>
                    <a:pt x="531737" y="716766"/>
                  </a:lnTo>
                  <a:lnTo>
                    <a:pt x="531461" y="698252"/>
                  </a:lnTo>
                  <a:lnTo>
                    <a:pt x="531518" y="679780"/>
                  </a:lnTo>
                  <a:lnTo>
                    <a:pt x="531908" y="661370"/>
                  </a:lnTo>
                  <a:lnTo>
                    <a:pt x="532627" y="643027"/>
                  </a:lnTo>
                  <a:lnTo>
                    <a:pt x="533680" y="624760"/>
                  </a:lnTo>
                  <a:lnTo>
                    <a:pt x="535070" y="606584"/>
                  </a:lnTo>
                  <a:lnTo>
                    <a:pt x="536799" y="588498"/>
                  </a:lnTo>
                  <a:lnTo>
                    <a:pt x="538861" y="570517"/>
                  </a:lnTo>
                  <a:lnTo>
                    <a:pt x="541260" y="552655"/>
                  </a:lnTo>
                  <a:lnTo>
                    <a:pt x="544004" y="534912"/>
                  </a:lnTo>
                  <a:lnTo>
                    <a:pt x="547089" y="517307"/>
                  </a:lnTo>
                  <a:lnTo>
                    <a:pt x="550518" y="499845"/>
                  </a:lnTo>
                  <a:lnTo>
                    <a:pt x="554285" y="482531"/>
                  </a:lnTo>
                  <a:lnTo>
                    <a:pt x="558404" y="465383"/>
                  </a:lnTo>
                  <a:lnTo>
                    <a:pt x="562865" y="448407"/>
                  </a:lnTo>
                  <a:lnTo>
                    <a:pt x="567675" y="431607"/>
                  </a:lnTo>
                  <a:lnTo>
                    <a:pt x="572832" y="415002"/>
                  </a:lnTo>
                  <a:lnTo>
                    <a:pt x="578342" y="398597"/>
                  </a:lnTo>
                  <a:lnTo>
                    <a:pt x="584204" y="382402"/>
                  </a:lnTo>
                  <a:lnTo>
                    <a:pt x="590413" y="366425"/>
                  </a:lnTo>
                  <a:lnTo>
                    <a:pt x="596980" y="350677"/>
                  </a:lnTo>
                  <a:lnTo>
                    <a:pt x="603904" y="335163"/>
                  </a:lnTo>
                  <a:lnTo>
                    <a:pt x="611180" y="319901"/>
                  </a:lnTo>
                  <a:lnTo>
                    <a:pt x="618818" y="304896"/>
                  </a:lnTo>
                  <a:lnTo>
                    <a:pt x="626814" y="290158"/>
                  </a:lnTo>
                  <a:lnTo>
                    <a:pt x="635171" y="275696"/>
                  </a:lnTo>
                  <a:lnTo>
                    <a:pt x="643885" y="261515"/>
                  </a:lnTo>
                  <a:lnTo>
                    <a:pt x="652966" y="247634"/>
                  </a:lnTo>
                  <a:lnTo>
                    <a:pt x="662409" y="234057"/>
                  </a:lnTo>
                  <a:lnTo>
                    <a:pt x="672219" y="220791"/>
                  </a:lnTo>
                  <a:lnTo>
                    <a:pt x="682390" y="207852"/>
                  </a:lnTo>
                  <a:lnTo>
                    <a:pt x="692933" y="195243"/>
                  </a:lnTo>
                  <a:lnTo>
                    <a:pt x="703847" y="182976"/>
                  </a:lnTo>
                  <a:lnTo>
                    <a:pt x="715129" y="171066"/>
                  </a:lnTo>
                  <a:lnTo>
                    <a:pt x="726781" y="159514"/>
                  </a:lnTo>
                  <a:lnTo>
                    <a:pt x="738810" y="148333"/>
                  </a:lnTo>
                  <a:lnTo>
                    <a:pt x="751210" y="137533"/>
                  </a:lnTo>
                  <a:lnTo>
                    <a:pt x="763986" y="127123"/>
                  </a:lnTo>
                  <a:lnTo>
                    <a:pt x="777133" y="117114"/>
                  </a:lnTo>
                  <a:lnTo>
                    <a:pt x="790667" y="107509"/>
                  </a:lnTo>
                  <a:lnTo>
                    <a:pt x="804572" y="98328"/>
                  </a:lnTo>
                  <a:lnTo>
                    <a:pt x="818863" y="89570"/>
                  </a:lnTo>
                  <a:lnTo>
                    <a:pt x="833534" y="81256"/>
                  </a:lnTo>
                  <a:lnTo>
                    <a:pt x="848587" y="73385"/>
                  </a:lnTo>
                  <a:lnTo>
                    <a:pt x="861587" y="67061"/>
                  </a:lnTo>
                  <a:lnTo>
                    <a:pt x="874863" y="60985"/>
                  </a:lnTo>
                  <a:lnTo>
                    <a:pt x="888406" y="55161"/>
                  </a:lnTo>
                  <a:lnTo>
                    <a:pt x="902211" y="49584"/>
                  </a:lnTo>
                  <a:lnTo>
                    <a:pt x="916268" y="44275"/>
                  </a:lnTo>
                  <a:lnTo>
                    <a:pt x="930568" y="39227"/>
                  </a:lnTo>
                  <a:lnTo>
                    <a:pt x="945102" y="34451"/>
                  </a:lnTo>
                  <a:lnTo>
                    <a:pt x="959859" y="29956"/>
                  </a:lnTo>
                  <a:lnTo>
                    <a:pt x="974826" y="25736"/>
                  </a:lnTo>
                  <a:lnTo>
                    <a:pt x="990002" y="21813"/>
                  </a:lnTo>
                  <a:lnTo>
                    <a:pt x="1005374" y="18179"/>
                  </a:lnTo>
                  <a:lnTo>
                    <a:pt x="1020930" y="14846"/>
                  </a:lnTo>
                  <a:lnTo>
                    <a:pt x="1036669" y="11817"/>
                  </a:lnTo>
                  <a:lnTo>
                    <a:pt x="1052569" y="9103"/>
                  </a:lnTo>
                  <a:lnTo>
                    <a:pt x="1068636" y="6703"/>
                  </a:lnTo>
                  <a:lnTo>
                    <a:pt x="1084850" y="4627"/>
                  </a:lnTo>
                  <a:lnTo>
                    <a:pt x="1101202" y="2875"/>
                  </a:lnTo>
                  <a:lnTo>
                    <a:pt x="1117688" y="1460"/>
                  </a:lnTo>
                  <a:lnTo>
                    <a:pt x="1134298" y="379"/>
                  </a:lnTo>
                  <a:lnTo>
                    <a:pt x="114300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B4D50FC-C6C4-9CD9-678B-41A63211EE8F}"/>
                </a:ext>
              </a:extLst>
            </p:cNvPr>
            <p:cNvSpPr/>
            <p:nvPr userDrawn="1"/>
          </p:nvSpPr>
          <p:spPr>
            <a:xfrm>
              <a:off x="11900272" y="5542060"/>
              <a:ext cx="291728" cy="787651"/>
            </a:xfrm>
            <a:custGeom>
              <a:avLst/>
              <a:gdLst>
                <a:gd name="connsiteX0" fmla="*/ 291728 w 291728"/>
                <a:gd name="connsiteY0" fmla="*/ 0 h 787651"/>
                <a:gd name="connsiteX1" fmla="*/ 291728 w 291728"/>
                <a:gd name="connsiteY1" fmla="*/ 79686 h 787651"/>
                <a:gd name="connsiteX2" fmla="*/ 280245 w 291728"/>
                <a:gd name="connsiteY2" fmla="*/ 87145 h 787651"/>
                <a:gd name="connsiteX3" fmla="*/ 267707 w 291728"/>
                <a:gd name="connsiteY3" fmla="*/ 96031 h 787651"/>
                <a:gd name="connsiteX4" fmla="*/ 255540 w 291728"/>
                <a:gd name="connsiteY4" fmla="*/ 105422 h 787651"/>
                <a:gd name="connsiteX5" fmla="*/ 243754 w 291728"/>
                <a:gd name="connsiteY5" fmla="*/ 115322 h 787651"/>
                <a:gd name="connsiteX6" fmla="*/ 232388 w 291728"/>
                <a:gd name="connsiteY6" fmla="*/ 125712 h 787651"/>
                <a:gd name="connsiteX7" fmla="*/ 221450 w 291728"/>
                <a:gd name="connsiteY7" fmla="*/ 136598 h 787651"/>
                <a:gd name="connsiteX8" fmla="*/ 210968 w 291728"/>
                <a:gd name="connsiteY8" fmla="*/ 147970 h 787651"/>
                <a:gd name="connsiteX9" fmla="*/ 200968 w 291728"/>
                <a:gd name="connsiteY9" fmla="*/ 159822 h 787651"/>
                <a:gd name="connsiteX10" fmla="*/ 191468 w 291728"/>
                <a:gd name="connsiteY10" fmla="*/ 172151 h 787651"/>
                <a:gd name="connsiteX11" fmla="*/ 182497 w 291728"/>
                <a:gd name="connsiteY11" fmla="*/ 184946 h 787651"/>
                <a:gd name="connsiteX12" fmla="*/ 174068 w 291728"/>
                <a:gd name="connsiteY12" fmla="*/ 198208 h 787651"/>
                <a:gd name="connsiteX13" fmla="*/ 166206 w 291728"/>
                <a:gd name="connsiteY13" fmla="*/ 211928 h 787651"/>
                <a:gd name="connsiteX14" fmla="*/ 158940 w 291728"/>
                <a:gd name="connsiteY14" fmla="*/ 226099 h 787651"/>
                <a:gd name="connsiteX15" fmla="*/ 152282 w 291728"/>
                <a:gd name="connsiteY15" fmla="*/ 240713 h 787651"/>
                <a:gd name="connsiteX16" fmla="*/ 146268 w 291728"/>
                <a:gd name="connsiteY16" fmla="*/ 255775 h 787651"/>
                <a:gd name="connsiteX17" fmla="*/ 140906 w 291728"/>
                <a:gd name="connsiteY17" fmla="*/ 271271 h 787651"/>
                <a:gd name="connsiteX18" fmla="*/ 136230 w 291728"/>
                <a:gd name="connsiteY18" fmla="*/ 287195 h 787651"/>
                <a:gd name="connsiteX19" fmla="*/ 132258 w 291728"/>
                <a:gd name="connsiteY19" fmla="*/ 303547 h 787651"/>
                <a:gd name="connsiteX20" fmla="*/ 129011 w 291728"/>
                <a:gd name="connsiteY20" fmla="*/ 320314 h 787651"/>
                <a:gd name="connsiteX21" fmla="*/ 126515 w 291728"/>
                <a:gd name="connsiteY21" fmla="*/ 337495 h 787651"/>
                <a:gd name="connsiteX22" fmla="*/ 124787 w 291728"/>
                <a:gd name="connsiteY22" fmla="*/ 355086 h 787651"/>
                <a:gd name="connsiteX23" fmla="*/ 123853 w 291728"/>
                <a:gd name="connsiteY23" fmla="*/ 373081 h 787651"/>
                <a:gd name="connsiteX24" fmla="*/ 123739 w 291728"/>
                <a:gd name="connsiteY24" fmla="*/ 391467 h 787651"/>
                <a:gd name="connsiteX25" fmla="*/ 124463 w 291728"/>
                <a:gd name="connsiteY25" fmla="*/ 410248 h 787651"/>
                <a:gd name="connsiteX26" fmla="*/ 126049 w 291728"/>
                <a:gd name="connsiteY26" fmla="*/ 429415 h 787651"/>
                <a:gd name="connsiteX27" fmla="*/ 128515 w 291728"/>
                <a:gd name="connsiteY27" fmla="*/ 448963 h 787651"/>
                <a:gd name="connsiteX28" fmla="*/ 131892 w 291728"/>
                <a:gd name="connsiteY28" fmla="*/ 468882 h 787651"/>
                <a:gd name="connsiteX29" fmla="*/ 153078 w 291728"/>
                <a:gd name="connsiteY29" fmla="*/ 570835 h 787651"/>
                <a:gd name="connsiteX30" fmla="*/ 178054 w 291728"/>
                <a:gd name="connsiteY30" fmla="*/ 634326 h 787651"/>
                <a:gd name="connsiteX31" fmla="*/ 222940 w 291728"/>
                <a:gd name="connsiteY31" fmla="*/ 685903 h 787651"/>
                <a:gd name="connsiteX32" fmla="*/ 291728 w 291728"/>
                <a:gd name="connsiteY32" fmla="*/ 751682 h 787651"/>
                <a:gd name="connsiteX33" fmla="*/ 291728 w 291728"/>
                <a:gd name="connsiteY33" fmla="*/ 758691 h 787651"/>
                <a:gd name="connsiteX34" fmla="*/ 277964 w 291728"/>
                <a:gd name="connsiteY34" fmla="*/ 765694 h 787651"/>
                <a:gd name="connsiteX35" fmla="*/ 253416 w 291728"/>
                <a:gd name="connsiteY35" fmla="*/ 775994 h 787651"/>
                <a:gd name="connsiteX36" fmla="*/ 228083 w 291728"/>
                <a:gd name="connsiteY36" fmla="*/ 782704 h 787651"/>
                <a:gd name="connsiteX37" fmla="*/ 202111 w 291728"/>
                <a:gd name="connsiteY37" fmla="*/ 786389 h 787651"/>
                <a:gd name="connsiteX38" fmla="*/ 186368 w 291728"/>
                <a:gd name="connsiteY38" fmla="*/ 787651 h 787651"/>
                <a:gd name="connsiteX39" fmla="*/ 174487 w 291728"/>
                <a:gd name="connsiteY39" fmla="*/ 786518 h 787651"/>
                <a:gd name="connsiteX40" fmla="*/ 160082 w 291728"/>
                <a:gd name="connsiteY40" fmla="*/ 783013 h 787651"/>
                <a:gd name="connsiteX41" fmla="*/ 149001 w 291728"/>
                <a:gd name="connsiteY41" fmla="*/ 771023 h 787651"/>
                <a:gd name="connsiteX42" fmla="*/ 131082 w 291728"/>
                <a:gd name="connsiteY42" fmla="*/ 750798 h 787651"/>
                <a:gd name="connsiteX43" fmla="*/ 119772 w 291728"/>
                <a:gd name="connsiteY43" fmla="*/ 736813 h 787651"/>
                <a:gd name="connsiteX44" fmla="*/ 108930 w 291728"/>
                <a:gd name="connsiteY44" fmla="*/ 722574 h 787651"/>
                <a:gd name="connsiteX45" fmla="*/ 98553 w 291728"/>
                <a:gd name="connsiteY45" fmla="*/ 708098 h 787651"/>
                <a:gd name="connsiteX46" fmla="*/ 88653 w 291728"/>
                <a:gd name="connsiteY46" fmla="*/ 693393 h 787651"/>
                <a:gd name="connsiteX47" fmla="*/ 79234 w 291728"/>
                <a:gd name="connsiteY47" fmla="*/ 678474 h 787651"/>
                <a:gd name="connsiteX48" fmla="*/ 70306 w 291728"/>
                <a:gd name="connsiteY48" fmla="*/ 663350 h 787651"/>
                <a:gd name="connsiteX49" fmla="*/ 61877 w 291728"/>
                <a:gd name="connsiteY49" fmla="*/ 648045 h 787651"/>
                <a:gd name="connsiteX50" fmla="*/ 53953 w 291728"/>
                <a:gd name="connsiteY50" fmla="*/ 632564 h 787651"/>
                <a:gd name="connsiteX51" fmla="*/ 46539 w 291728"/>
                <a:gd name="connsiteY51" fmla="*/ 616926 h 787651"/>
                <a:gd name="connsiteX52" fmla="*/ 39643 w 291728"/>
                <a:gd name="connsiteY52" fmla="*/ 601140 h 787651"/>
                <a:gd name="connsiteX53" fmla="*/ 33272 w 291728"/>
                <a:gd name="connsiteY53" fmla="*/ 585221 h 787651"/>
                <a:gd name="connsiteX54" fmla="*/ 27438 w 291728"/>
                <a:gd name="connsiteY54" fmla="*/ 569183 h 787651"/>
                <a:gd name="connsiteX55" fmla="*/ 22143 w 291728"/>
                <a:gd name="connsiteY55" fmla="*/ 553040 h 787651"/>
                <a:gd name="connsiteX56" fmla="*/ 17396 w 291728"/>
                <a:gd name="connsiteY56" fmla="*/ 536806 h 787651"/>
                <a:gd name="connsiteX57" fmla="*/ 13205 w 291728"/>
                <a:gd name="connsiteY57" fmla="*/ 520497 h 787651"/>
                <a:gd name="connsiteX58" fmla="*/ 9572 w 291728"/>
                <a:gd name="connsiteY58" fmla="*/ 504120 h 787651"/>
                <a:gd name="connsiteX59" fmla="*/ 6514 w 291728"/>
                <a:gd name="connsiteY59" fmla="*/ 487692 h 787651"/>
                <a:gd name="connsiteX60" fmla="*/ 4029 w 291728"/>
                <a:gd name="connsiteY60" fmla="*/ 471225 h 787651"/>
                <a:gd name="connsiteX61" fmla="*/ 2129 w 291728"/>
                <a:gd name="connsiteY61" fmla="*/ 454734 h 787651"/>
                <a:gd name="connsiteX62" fmla="*/ 819 w 291728"/>
                <a:gd name="connsiteY62" fmla="*/ 438234 h 787651"/>
                <a:gd name="connsiteX63" fmla="*/ 105 w 291728"/>
                <a:gd name="connsiteY63" fmla="*/ 421739 h 787651"/>
                <a:gd name="connsiteX64" fmla="*/ 0 w 291728"/>
                <a:gd name="connsiteY64" fmla="*/ 405258 h 787651"/>
                <a:gd name="connsiteX65" fmla="*/ 505 w 291728"/>
                <a:gd name="connsiteY65" fmla="*/ 388810 h 787651"/>
                <a:gd name="connsiteX66" fmla="*/ 1634 w 291728"/>
                <a:gd name="connsiteY66" fmla="*/ 372405 h 787651"/>
                <a:gd name="connsiteX67" fmla="*/ 3386 w 291728"/>
                <a:gd name="connsiteY67" fmla="*/ 356057 h 787651"/>
                <a:gd name="connsiteX68" fmla="*/ 5772 w 291728"/>
                <a:gd name="connsiteY68" fmla="*/ 339781 h 787651"/>
                <a:gd name="connsiteX69" fmla="*/ 8800 w 291728"/>
                <a:gd name="connsiteY69" fmla="*/ 323585 h 787651"/>
                <a:gd name="connsiteX70" fmla="*/ 12477 w 291728"/>
                <a:gd name="connsiteY70" fmla="*/ 307495 h 787651"/>
                <a:gd name="connsiteX71" fmla="*/ 16810 w 291728"/>
                <a:gd name="connsiteY71" fmla="*/ 291514 h 787651"/>
                <a:gd name="connsiteX72" fmla="*/ 21805 w 291728"/>
                <a:gd name="connsiteY72" fmla="*/ 275657 h 787651"/>
                <a:gd name="connsiteX73" fmla="*/ 27467 w 291728"/>
                <a:gd name="connsiteY73" fmla="*/ 259937 h 787651"/>
                <a:gd name="connsiteX74" fmla="*/ 33810 w 291728"/>
                <a:gd name="connsiteY74" fmla="*/ 244371 h 787651"/>
                <a:gd name="connsiteX75" fmla="*/ 40839 w 291728"/>
                <a:gd name="connsiteY75" fmla="*/ 228975 h 787651"/>
                <a:gd name="connsiteX76" fmla="*/ 48558 w 291728"/>
                <a:gd name="connsiteY76" fmla="*/ 213751 h 787651"/>
                <a:gd name="connsiteX77" fmla="*/ 56972 w 291728"/>
                <a:gd name="connsiteY77" fmla="*/ 198727 h 787651"/>
                <a:gd name="connsiteX78" fmla="*/ 66096 w 291728"/>
                <a:gd name="connsiteY78" fmla="*/ 183908 h 787651"/>
                <a:gd name="connsiteX79" fmla="*/ 75934 w 291728"/>
                <a:gd name="connsiteY79" fmla="*/ 169308 h 787651"/>
                <a:gd name="connsiteX80" fmla="*/ 86491 w 291728"/>
                <a:gd name="connsiteY80" fmla="*/ 154941 h 787651"/>
                <a:gd name="connsiteX81" fmla="*/ 97772 w 291728"/>
                <a:gd name="connsiteY81" fmla="*/ 140827 h 787651"/>
                <a:gd name="connsiteX82" fmla="*/ 109792 w 291728"/>
                <a:gd name="connsiteY82" fmla="*/ 126970 h 787651"/>
                <a:gd name="connsiteX83" fmla="*/ 122554 w 291728"/>
                <a:gd name="connsiteY83" fmla="*/ 113388 h 787651"/>
                <a:gd name="connsiteX84" fmla="*/ 136063 w 291728"/>
                <a:gd name="connsiteY84" fmla="*/ 100093 h 787651"/>
                <a:gd name="connsiteX85" fmla="*/ 150330 w 291728"/>
                <a:gd name="connsiteY85" fmla="*/ 87102 h 787651"/>
                <a:gd name="connsiteX86" fmla="*/ 165363 w 291728"/>
                <a:gd name="connsiteY86" fmla="*/ 74426 h 787651"/>
                <a:gd name="connsiteX87" fmla="*/ 176763 w 291728"/>
                <a:gd name="connsiteY87" fmla="*/ 65460 h 787651"/>
                <a:gd name="connsiteX88" fmla="*/ 188754 w 291728"/>
                <a:gd name="connsiteY88" fmla="*/ 56621 h 787651"/>
                <a:gd name="connsiteX89" fmla="*/ 201321 w 291728"/>
                <a:gd name="connsiteY89" fmla="*/ 47950 h 787651"/>
                <a:gd name="connsiteX90" fmla="*/ 214450 w 291728"/>
                <a:gd name="connsiteY90" fmla="*/ 39478 h 787651"/>
                <a:gd name="connsiteX91" fmla="*/ 228135 w 291728"/>
                <a:gd name="connsiteY91" fmla="*/ 31245 h 787651"/>
                <a:gd name="connsiteX92" fmla="*/ 242354 w 291728"/>
                <a:gd name="connsiteY92" fmla="*/ 23288 h 787651"/>
                <a:gd name="connsiteX93" fmla="*/ 257097 w 291728"/>
                <a:gd name="connsiteY93" fmla="*/ 15645 h 787651"/>
                <a:gd name="connsiteX94" fmla="*/ 272350 w 291728"/>
                <a:gd name="connsiteY94" fmla="*/ 8350 h 787651"/>
                <a:gd name="connsiteX95" fmla="*/ 288107 w 291728"/>
                <a:gd name="connsiteY95" fmla="*/ 1445 h 787651"/>
                <a:gd name="connsiteX96" fmla="*/ 291728 w 291728"/>
                <a:gd name="connsiteY96" fmla="*/ 0 h 78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291728" h="787651">
                  <a:moveTo>
                    <a:pt x="291728" y="0"/>
                  </a:moveTo>
                  <a:lnTo>
                    <a:pt x="291728" y="79686"/>
                  </a:lnTo>
                  <a:lnTo>
                    <a:pt x="280245" y="87145"/>
                  </a:lnTo>
                  <a:lnTo>
                    <a:pt x="267707" y="96031"/>
                  </a:lnTo>
                  <a:lnTo>
                    <a:pt x="255540" y="105422"/>
                  </a:lnTo>
                  <a:lnTo>
                    <a:pt x="243754" y="115322"/>
                  </a:lnTo>
                  <a:lnTo>
                    <a:pt x="232388" y="125712"/>
                  </a:lnTo>
                  <a:lnTo>
                    <a:pt x="221450" y="136598"/>
                  </a:lnTo>
                  <a:lnTo>
                    <a:pt x="210968" y="147970"/>
                  </a:lnTo>
                  <a:lnTo>
                    <a:pt x="200968" y="159822"/>
                  </a:lnTo>
                  <a:lnTo>
                    <a:pt x="191468" y="172151"/>
                  </a:lnTo>
                  <a:lnTo>
                    <a:pt x="182497" y="184946"/>
                  </a:lnTo>
                  <a:lnTo>
                    <a:pt x="174068" y="198208"/>
                  </a:lnTo>
                  <a:lnTo>
                    <a:pt x="166206" y="211928"/>
                  </a:lnTo>
                  <a:lnTo>
                    <a:pt x="158940" y="226099"/>
                  </a:lnTo>
                  <a:lnTo>
                    <a:pt x="152282" y="240713"/>
                  </a:lnTo>
                  <a:lnTo>
                    <a:pt x="146268" y="255775"/>
                  </a:lnTo>
                  <a:lnTo>
                    <a:pt x="140906" y="271271"/>
                  </a:lnTo>
                  <a:lnTo>
                    <a:pt x="136230" y="287195"/>
                  </a:lnTo>
                  <a:lnTo>
                    <a:pt x="132258" y="303547"/>
                  </a:lnTo>
                  <a:lnTo>
                    <a:pt x="129011" y="320314"/>
                  </a:lnTo>
                  <a:lnTo>
                    <a:pt x="126515" y="337495"/>
                  </a:lnTo>
                  <a:lnTo>
                    <a:pt x="124787" y="355086"/>
                  </a:lnTo>
                  <a:lnTo>
                    <a:pt x="123853" y="373081"/>
                  </a:lnTo>
                  <a:lnTo>
                    <a:pt x="123739" y="391467"/>
                  </a:lnTo>
                  <a:lnTo>
                    <a:pt x="124463" y="410248"/>
                  </a:lnTo>
                  <a:lnTo>
                    <a:pt x="126049" y="429415"/>
                  </a:lnTo>
                  <a:lnTo>
                    <a:pt x="128515" y="448963"/>
                  </a:lnTo>
                  <a:lnTo>
                    <a:pt x="131892" y="468882"/>
                  </a:lnTo>
                  <a:lnTo>
                    <a:pt x="153078" y="570835"/>
                  </a:lnTo>
                  <a:lnTo>
                    <a:pt x="178054" y="634326"/>
                  </a:lnTo>
                  <a:lnTo>
                    <a:pt x="222940" y="685903"/>
                  </a:lnTo>
                  <a:lnTo>
                    <a:pt x="291728" y="751682"/>
                  </a:lnTo>
                  <a:lnTo>
                    <a:pt x="291728" y="758691"/>
                  </a:lnTo>
                  <a:lnTo>
                    <a:pt x="277964" y="765694"/>
                  </a:lnTo>
                  <a:lnTo>
                    <a:pt x="253416" y="775994"/>
                  </a:lnTo>
                  <a:lnTo>
                    <a:pt x="228083" y="782704"/>
                  </a:lnTo>
                  <a:lnTo>
                    <a:pt x="202111" y="786389"/>
                  </a:lnTo>
                  <a:lnTo>
                    <a:pt x="186368" y="787651"/>
                  </a:lnTo>
                  <a:lnTo>
                    <a:pt x="174487" y="786518"/>
                  </a:lnTo>
                  <a:lnTo>
                    <a:pt x="160082" y="783013"/>
                  </a:lnTo>
                  <a:lnTo>
                    <a:pt x="149001" y="771023"/>
                  </a:lnTo>
                  <a:lnTo>
                    <a:pt x="131082" y="750798"/>
                  </a:lnTo>
                  <a:lnTo>
                    <a:pt x="119772" y="736813"/>
                  </a:lnTo>
                  <a:lnTo>
                    <a:pt x="108930" y="722574"/>
                  </a:lnTo>
                  <a:lnTo>
                    <a:pt x="98553" y="708098"/>
                  </a:lnTo>
                  <a:lnTo>
                    <a:pt x="88653" y="693393"/>
                  </a:lnTo>
                  <a:lnTo>
                    <a:pt x="79234" y="678474"/>
                  </a:lnTo>
                  <a:lnTo>
                    <a:pt x="70306" y="663350"/>
                  </a:lnTo>
                  <a:lnTo>
                    <a:pt x="61877" y="648045"/>
                  </a:lnTo>
                  <a:lnTo>
                    <a:pt x="53953" y="632564"/>
                  </a:lnTo>
                  <a:lnTo>
                    <a:pt x="46539" y="616926"/>
                  </a:lnTo>
                  <a:lnTo>
                    <a:pt x="39643" y="601140"/>
                  </a:lnTo>
                  <a:lnTo>
                    <a:pt x="33272" y="585221"/>
                  </a:lnTo>
                  <a:lnTo>
                    <a:pt x="27438" y="569183"/>
                  </a:lnTo>
                  <a:lnTo>
                    <a:pt x="22143" y="553040"/>
                  </a:lnTo>
                  <a:lnTo>
                    <a:pt x="17396" y="536806"/>
                  </a:lnTo>
                  <a:lnTo>
                    <a:pt x="13205" y="520497"/>
                  </a:lnTo>
                  <a:lnTo>
                    <a:pt x="9572" y="504120"/>
                  </a:lnTo>
                  <a:lnTo>
                    <a:pt x="6514" y="487692"/>
                  </a:lnTo>
                  <a:lnTo>
                    <a:pt x="4029" y="471225"/>
                  </a:lnTo>
                  <a:lnTo>
                    <a:pt x="2129" y="454734"/>
                  </a:lnTo>
                  <a:lnTo>
                    <a:pt x="819" y="438234"/>
                  </a:lnTo>
                  <a:lnTo>
                    <a:pt x="105" y="421739"/>
                  </a:lnTo>
                  <a:lnTo>
                    <a:pt x="0" y="405258"/>
                  </a:lnTo>
                  <a:lnTo>
                    <a:pt x="505" y="388810"/>
                  </a:lnTo>
                  <a:lnTo>
                    <a:pt x="1634" y="372405"/>
                  </a:lnTo>
                  <a:lnTo>
                    <a:pt x="3386" y="356057"/>
                  </a:lnTo>
                  <a:lnTo>
                    <a:pt x="5772" y="339781"/>
                  </a:lnTo>
                  <a:lnTo>
                    <a:pt x="8800" y="323585"/>
                  </a:lnTo>
                  <a:lnTo>
                    <a:pt x="12477" y="307495"/>
                  </a:lnTo>
                  <a:lnTo>
                    <a:pt x="16810" y="291514"/>
                  </a:lnTo>
                  <a:lnTo>
                    <a:pt x="21805" y="275657"/>
                  </a:lnTo>
                  <a:lnTo>
                    <a:pt x="27467" y="259937"/>
                  </a:lnTo>
                  <a:lnTo>
                    <a:pt x="33810" y="244371"/>
                  </a:lnTo>
                  <a:lnTo>
                    <a:pt x="40839" y="228975"/>
                  </a:lnTo>
                  <a:lnTo>
                    <a:pt x="48558" y="213751"/>
                  </a:lnTo>
                  <a:lnTo>
                    <a:pt x="56972" y="198727"/>
                  </a:lnTo>
                  <a:lnTo>
                    <a:pt x="66096" y="183908"/>
                  </a:lnTo>
                  <a:lnTo>
                    <a:pt x="75934" y="169308"/>
                  </a:lnTo>
                  <a:lnTo>
                    <a:pt x="86491" y="154941"/>
                  </a:lnTo>
                  <a:lnTo>
                    <a:pt x="97772" y="140827"/>
                  </a:lnTo>
                  <a:lnTo>
                    <a:pt x="109792" y="126970"/>
                  </a:lnTo>
                  <a:lnTo>
                    <a:pt x="122554" y="113388"/>
                  </a:lnTo>
                  <a:lnTo>
                    <a:pt x="136063" y="100093"/>
                  </a:lnTo>
                  <a:lnTo>
                    <a:pt x="150330" y="87102"/>
                  </a:lnTo>
                  <a:lnTo>
                    <a:pt x="165363" y="74426"/>
                  </a:lnTo>
                  <a:lnTo>
                    <a:pt x="176763" y="65460"/>
                  </a:lnTo>
                  <a:lnTo>
                    <a:pt x="188754" y="56621"/>
                  </a:lnTo>
                  <a:lnTo>
                    <a:pt x="201321" y="47950"/>
                  </a:lnTo>
                  <a:lnTo>
                    <a:pt x="214450" y="39478"/>
                  </a:lnTo>
                  <a:lnTo>
                    <a:pt x="228135" y="31245"/>
                  </a:lnTo>
                  <a:lnTo>
                    <a:pt x="242354" y="23288"/>
                  </a:lnTo>
                  <a:lnTo>
                    <a:pt x="257097" y="15645"/>
                  </a:lnTo>
                  <a:lnTo>
                    <a:pt x="272350" y="8350"/>
                  </a:lnTo>
                  <a:lnTo>
                    <a:pt x="288107" y="1445"/>
                  </a:lnTo>
                  <a:lnTo>
                    <a:pt x="291728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7454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8" userDrawn="1">
          <p15:clr>
            <a:srgbClr val="FBAE40"/>
          </p15:clr>
        </p15:guide>
        <p15:guide id="2" pos="6912" userDrawn="1">
          <p15:clr>
            <a:srgbClr val="FBAE40"/>
          </p15:clr>
        </p15:guide>
        <p15:guide id="3" orient="horz" pos="1104" userDrawn="1">
          <p15:clr>
            <a:srgbClr val="FBAE40"/>
          </p15:clr>
        </p15:guide>
        <p15:guide id="4" orient="horz" pos="336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E4E4012-3096-AC2A-738C-D7D0FB6A6684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156B518-A9D5-69A4-777F-5E0C9D02EA14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custGeom>
            <a:avLst/>
            <a:gdLst>
              <a:gd name="connsiteX0" fmla="*/ 0 w 12192000"/>
              <a:gd name="connsiteY0" fmla="*/ 0 h 5087332"/>
              <a:gd name="connsiteX1" fmla="*/ 12192000 w 12192000"/>
              <a:gd name="connsiteY1" fmla="*/ 0 h 5087332"/>
              <a:gd name="connsiteX2" fmla="*/ 12192000 w 12192000"/>
              <a:gd name="connsiteY2" fmla="*/ 5087332 h 5087332"/>
              <a:gd name="connsiteX3" fmla="*/ 0 w 12192000"/>
              <a:gd name="connsiteY3" fmla="*/ 5087332 h 5087332"/>
              <a:gd name="connsiteX4" fmla="*/ 0 w 12192000"/>
              <a:gd name="connsiteY4" fmla="*/ 0 h 5087332"/>
              <a:gd name="connsiteX5" fmla="*/ 215901 w 12192000"/>
              <a:gd name="connsiteY5" fmla="*/ 53371 h 5087332"/>
              <a:gd name="connsiteX6" fmla="*/ 215901 w 12192000"/>
              <a:gd name="connsiteY6" fmla="*/ 5003196 h 5087332"/>
              <a:gd name="connsiteX7" fmla="*/ 11974514 w 12192000"/>
              <a:gd name="connsiteY7" fmla="*/ 5003196 h 5087332"/>
              <a:gd name="connsiteX8" fmla="*/ 11974514 w 12192000"/>
              <a:gd name="connsiteY8" fmla="*/ 53371 h 5087332"/>
              <a:gd name="connsiteX9" fmla="*/ 215901 w 12192000"/>
              <a:gd name="connsiteY9" fmla="*/ 53371 h 5087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5087332">
                <a:moveTo>
                  <a:pt x="0" y="0"/>
                </a:moveTo>
                <a:lnTo>
                  <a:pt x="12192000" y="0"/>
                </a:lnTo>
                <a:lnTo>
                  <a:pt x="12192000" y="5087332"/>
                </a:lnTo>
                <a:lnTo>
                  <a:pt x="0" y="5087332"/>
                </a:lnTo>
                <a:lnTo>
                  <a:pt x="0" y="0"/>
                </a:lnTo>
                <a:close/>
                <a:moveTo>
                  <a:pt x="215901" y="53371"/>
                </a:moveTo>
                <a:lnTo>
                  <a:pt x="215901" y="5003196"/>
                </a:lnTo>
                <a:lnTo>
                  <a:pt x="11974514" y="5003196"/>
                </a:lnTo>
                <a:lnTo>
                  <a:pt x="11974514" y="53371"/>
                </a:lnTo>
                <a:lnTo>
                  <a:pt x="215901" y="53371"/>
                </a:lnTo>
                <a:close/>
              </a:path>
            </a:pathLst>
          </a:cu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9AFC005-EABD-9AA8-A49E-D710730E2346}"/>
              </a:ext>
            </a:extLst>
          </p:cNvPr>
          <p:cNvSpPr/>
          <p:nvPr userDrawn="1"/>
        </p:nvSpPr>
        <p:spPr>
          <a:xfrm>
            <a:off x="215902" y="1366840"/>
            <a:ext cx="11758613" cy="4949825"/>
          </a:xfrm>
          <a:custGeom>
            <a:avLst/>
            <a:gdLst>
              <a:gd name="connsiteX0" fmla="*/ 0 w 11758613"/>
              <a:gd name="connsiteY0" fmla="*/ 0 h 4949825"/>
              <a:gd name="connsiteX1" fmla="*/ 11758613 w 11758613"/>
              <a:gd name="connsiteY1" fmla="*/ 0 h 4949825"/>
              <a:gd name="connsiteX2" fmla="*/ 11758613 w 11758613"/>
              <a:gd name="connsiteY2" fmla="*/ 4949825 h 4949825"/>
              <a:gd name="connsiteX3" fmla="*/ 0 w 11758613"/>
              <a:gd name="connsiteY3" fmla="*/ 4949825 h 4949825"/>
              <a:gd name="connsiteX4" fmla="*/ 0 w 11758613"/>
              <a:gd name="connsiteY4" fmla="*/ 0 h 4949825"/>
              <a:gd name="connsiteX5" fmla="*/ 1003300 w 11758613"/>
              <a:gd name="connsiteY5" fmla="*/ 381000 h 4949825"/>
              <a:gd name="connsiteX6" fmla="*/ 1003300 w 11758613"/>
              <a:gd name="connsiteY6" fmla="*/ 3967162 h 4949825"/>
              <a:gd name="connsiteX7" fmla="*/ 10756900 w 11758613"/>
              <a:gd name="connsiteY7" fmla="*/ 3967162 h 4949825"/>
              <a:gd name="connsiteX8" fmla="*/ 10756900 w 11758613"/>
              <a:gd name="connsiteY8" fmla="*/ 381000 h 4949825"/>
              <a:gd name="connsiteX9" fmla="*/ 1003300 w 11758613"/>
              <a:gd name="connsiteY9" fmla="*/ 38100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58613" h="4949825">
                <a:moveTo>
                  <a:pt x="0" y="0"/>
                </a:moveTo>
                <a:lnTo>
                  <a:pt x="11758613" y="0"/>
                </a:lnTo>
                <a:lnTo>
                  <a:pt x="11758613" y="4949825"/>
                </a:lnTo>
                <a:lnTo>
                  <a:pt x="0" y="4949825"/>
                </a:lnTo>
                <a:lnTo>
                  <a:pt x="0" y="0"/>
                </a:lnTo>
                <a:close/>
                <a:moveTo>
                  <a:pt x="1003300" y="381000"/>
                </a:moveTo>
                <a:lnTo>
                  <a:pt x="1003300" y="3967162"/>
                </a:lnTo>
                <a:lnTo>
                  <a:pt x="10756900" y="3967162"/>
                </a:lnTo>
                <a:lnTo>
                  <a:pt x="10756900" y="381000"/>
                </a:lnTo>
                <a:lnTo>
                  <a:pt x="1003300" y="381000"/>
                </a:lnTo>
                <a:close/>
              </a:path>
            </a:pathLst>
          </a:cu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4BD564B-7BAE-9A9A-338C-65D425E5D84E}"/>
              </a:ext>
            </a:extLst>
          </p:cNvPr>
          <p:cNvGrpSpPr/>
          <p:nvPr userDrawn="1"/>
        </p:nvGrpSpPr>
        <p:grpSpPr>
          <a:xfrm>
            <a:off x="11049000" y="4951958"/>
            <a:ext cx="1147784" cy="1400163"/>
            <a:chOff x="11049000" y="4929548"/>
            <a:chExt cx="1147784" cy="1400163"/>
          </a:xfrm>
          <a:solidFill>
            <a:schemeClr val="accent5"/>
          </a:solidFill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224410F-7A6B-86B7-BFAB-3D19DEAD1250}"/>
                </a:ext>
              </a:extLst>
            </p:cNvPr>
            <p:cNvSpPr/>
            <p:nvPr userDrawn="1"/>
          </p:nvSpPr>
          <p:spPr>
            <a:xfrm>
              <a:off x="12192000" y="6293742"/>
              <a:ext cx="4784" cy="7009"/>
            </a:xfrm>
            <a:custGeom>
              <a:avLst/>
              <a:gdLst>
                <a:gd name="connsiteX0" fmla="*/ 0 w 4784"/>
                <a:gd name="connsiteY0" fmla="*/ 0 h 7009"/>
                <a:gd name="connsiteX1" fmla="*/ 4784 w 4784"/>
                <a:gd name="connsiteY1" fmla="*/ 4574 h 7009"/>
                <a:gd name="connsiteX2" fmla="*/ 0 w 4784"/>
                <a:gd name="connsiteY2" fmla="*/ 7009 h 7009"/>
                <a:gd name="connsiteX3" fmla="*/ 0 w 4784"/>
                <a:gd name="connsiteY3" fmla="*/ 0 h 7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4" h="7009">
                  <a:moveTo>
                    <a:pt x="0" y="0"/>
                  </a:moveTo>
                  <a:lnTo>
                    <a:pt x="4784" y="4574"/>
                  </a:lnTo>
                  <a:lnTo>
                    <a:pt x="0" y="70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375BB53-25CE-1329-60CB-D8D2F0241029}"/>
                </a:ext>
              </a:extLst>
            </p:cNvPr>
            <p:cNvSpPr/>
            <p:nvPr userDrawn="1"/>
          </p:nvSpPr>
          <p:spPr>
            <a:xfrm>
              <a:off x="11049000" y="4929548"/>
              <a:ext cx="1143000" cy="1092840"/>
            </a:xfrm>
            <a:custGeom>
              <a:avLst/>
              <a:gdLst>
                <a:gd name="connsiteX0" fmla="*/ 1143000 w 1143000"/>
                <a:gd name="connsiteY0" fmla="*/ 0 h 1092840"/>
                <a:gd name="connsiteX1" fmla="*/ 1143000 w 1143000"/>
                <a:gd name="connsiteY1" fmla="*/ 99531 h 1092840"/>
                <a:gd name="connsiteX2" fmla="*/ 1131798 w 1143000"/>
                <a:gd name="connsiteY2" fmla="*/ 100952 h 1092840"/>
                <a:gd name="connsiteX3" fmla="*/ 1110140 w 1143000"/>
                <a:gd name="connsiteY3" fmla="*/ 104580 h 1092840"/>
                <a:gd name="connsiteX4" fmla="*/ 1089117 w 1143000"/>
                <a:gd name="connsiteY4" fmla="*/ 108980 h 1092840"/>
                <a:gd name="connsiteX5" fmla="*/ 1068712 w 1143000"/>
                <a:gd name="connsiteY5" fmla="*/ 114128 h 1092840"/>
                <a:gd name="connsiteX6" fmla="*/ 1048926 w 1143000"/>
                <a:gd name="connsiteY6" fmla="*/ 119990 h 1092840"/>
                <a:gd name="connsiteX7" fmla="*/ 1029745 w 1143000"/>
                <a:gd name="connsiteY7" fmla="*/ 126533 h 1092840"/>
                <a:gd name="connsiteX8" fmla="*/ 1011168 w 1143000"/>
                <a:gd name="connsiteY8" fmla="*/ 133733 h 1092840"/>
                <a:gd name="connsiteX9" fmla="*/ 993178 w 1143000"/>
                <a:gd name="connsiteY9" fmla="*/ 141561 h 1092840"/>
                <a:gd name="connsiteX10" fmla="*/ 975768 w 1143000"/>
                <a:gd name="connsiteY10" fmla="*/ 149980 h 1092840"/>
                <a:gd name="connsiteX11" fmla="*/ 958935 w 1143000"/>
                <a:gd name="connsiteY11" fmla="*/ 158966 h 1092840"/>
                <a:gd name="connsiteX12" fmla="*/ 942668 w 1143000"/>
                <a:gd name="connsiteY12" fmla="*/ 168485 h 1092840"/>
                <a:gd name="connsiteX13" fmla="*/ 926959 w 1143000"/>
                <a:gd name="connsiteY13" fmla="*/ 178514 h 1092840"/>
                <a:gd name="connsiteX14" fmla="*/ 911801 w 1143000"/>
                <a:gd name="connsiteY14" fmla="*/ 189019 h 1092840"/>
                <a:gd name="connsiteX15" fmla="*/ 897182 w 1143000"/>
                <a:gd name="connsiteY15" fmla="*/ 199971 h 1092840"/>
                <a:gd name="connsiteX16" fmla="*/ 883096 w 1143000"/>
                <a:gd name="connsiteY16" fmla="*/ 211338 h 1092840"/>
                <a:gd name="connsiteX17" fmla="*/ 869539 w 1143000"/>
                <a:gd name="connsiteY17" fmla="*/ 223095 h 1092840"/>
                <a:gd name="connsiteX18" fmla="*/ 856496 w 1143000"/>
                <a:gd name="connsiteY18" fmla="*/ 235205 h 1092840"/>
                <a:gd name="connsiteX19" fmla="*/ 843963 w 1143000"/>
                <a:gd name="connsiteY19" fmla="*/ 247648 h 1092840"/>
                <a:gd name="connsiteX20" fmla="*/ 831929 w 1143000"/>
                <a:gd name="connsiteY20" fmla="*/ 260386 h 1092840"/>
                <a:gd name="connsiteX21" fmla="*/ 820391 w 1143000"/>
                <a:gd name="connsiteY21" fmla="*/ 273391 h 1092840"/>
                <a:gd name="connsiteX22" fmla="*/ 809334 w 1143000"/>
                <a:gd name="connsiteY22" fmla="*/ 286639 h 1092840"/>
                <a:gd name="connsiteX23" fmla="*/ 798758 w 1143000"/>
                <a:gd name="connsiteY23" fmla="*/ 300091 h 1092840"/>
                <a:gd name="connsiteX24" fmla="*/ 788643 w 1143000"/>
                <a:gd name="connsiteY24" fmla="*/ 313725 h 1092840"/>
                <a:gd name="connsiteX25" fmla="*/ 778991 w 1143000"/>
                <a:gd name="connsiteY25" fmla="*/ 327511 h 1092840"/>
                <a:gd name="connsiteX26" fmla="*/ 769791 w 1143000"/>
                <a:gd name="connsiteY26" fmla="*/ 341415 h 1092840"/>
                <a:gd name="connsiteX27" fmla="*/ 761038 w 1143000"/>
                <a:gd name="connsiteY27" fmla="*/ 355406 h 1092840"/>
                <a:gd name="connsiteX28" fmla="*/ 752714 w 1143000"/>
                <a:gd name="connsiteY28" fmla="*/ 369458 h 1092840"/>
                <a:gd name="connsiteX29" fmla="*/ 744819 w 1143000"/>
                <a:gd name="connsiteY29" fmla="*/ 383544 h 1092840"/>
                <a:gd name="connsiteX30" fmla="*/ 737343 w 1143000"/>
                <a:gd name="connsiteY30" fmla="*/ 397630 h 1092840"/>
                <a:gd name="connsiteX31" fmla="*/ 730281 w 1143000"/>
                <a:gd name="connsiteY31" fmla="*/ 411688 h 1092840"/>
                <a:gd name="connsiteX32" fmla="*/ 723619 w 1143000"/>
                <a:gd name="connsiteY32" fmla="*/ 425683 h 1092840"/>
                <a:gd name="connsiteX33" fmla="*/ 717352 w 1143000"/>
                <a:gd name="connsiteY33" fmla="*/ 439592 h 1092840"/>
                <a:gd name="connsiteX34" fmla="*/ 711466 w 1143000"/>
                <a:gd name="connsiteY34" fmla="*/ 453388 h 1092840"/>
                <a:gd name="connsiteX35" fmla="*/ 705967 w 1143000"/>
                <a:gd name="connsiteY35" fmla="*/ 467031 h 1092840"/>
                <a:gd name="connsiteX36" fmla="*/ 700833 w 1143000"/>
                <a:gd name="connsiteY36" fmla="*/ 480498 h 1092840"/>
                <a:gd name="connsiteX37" fmla="*/ 691642 w 1143000"/>
                <a:gd name="connsiteY37" fmla="*/ 506779 h 1092840"/>
                <a:gd name="connsiteX38" fmla="*/ 683828 w 1143000"/>
                <a:gd name="connsiteY38" fmla="*/ 531998 h 1092840"/>
                <a:gd name="connsiteX39" fmla="*/ 677338 w 1143000"/>
                <a:gd name="connsiteY39" fmla="*/ 555908 h 1092840"/>
                <a:gd name="connsiteX40" fmla="*/ 672090 w 1143000"/>
                <a:gd name="connsiteY40" fmla="*/ 578279 h 1092840"/>
                <a:gd name="connsiteX41" fmla="*/ 668033 w 1143000"/>
                <a:gd name="connsiteY41" fmla="*/ 598870 h 1092840"/>
                <a:gd name="connsiteX42" fmla="*/ 665090 w 1143000"/>
                <a:gd name="connsiteY42" fmla="*/ 617446 h 1092840"/>
                <a:gd name="connsiteX43" fmla="*/ 662823 w 1143000"/>
                <a:gd name="connsiteY43" fmla="*/ 635299 h 1092840"/>
                <a:gd name="connsiteX44" fmla="*/ 660885 w 1143000"/>
                <a:gd name="connsiteY44" fmla="*/ 653561 h 1092840"/>
                <a:gd name="connsiteX45" fmla="*/ 659290 w 1143000"/>
                <a:gd name="connsiteY45" fmla="*/ 672180 h 1092840"/>
                <a:gd name="connsiteX46" fmla="*/ 658033 w 1143000"/>
                <a:gd name="connsiteY46" fmla="*/ 691113 h 1092840"/>
                <a:gd name="connsiteX47" fmla="*/ 657114 w 1143000"/>
                <a:gd name="connsiteY47" fmla="*/ 710313 h 1092840"/>
                <a:gd name="connsiteX48" fmla="*/ 656547 w 1143000"/>
                <a:gd name="connsiteY48" fmla="*/ 729728 h 1092840"/>
                <a:gd name="connsiteX49" fmla="*/ 656323 w 1143000"/>
                <a:gd name="connsiteY49" fmla="*/ 749314 h 1092840"/>
                <a:gd name="connsiteX50" fmla="*/ 656452 w 1143000"/>
                <a:gd name="connsiteY50" fmla="*/ 769024 h 1092840"/>
                <a:gd name="connsiteX51" fmla="*/ 656933 w 1143000"/>
                <a:gd name="connsiteY51" fmla="*/ 788809 h 1092840"/>
                <a:gd name="connsiteX52" fmla="*/ 657771 w 1143000"/>
                <a:gd name="connsiteY52" fmla="*/ 808624 h 1092840"/>
                <a:gd name="connsiteX53" fmla="*/ 658966 w 1143000"/>
                <a:gd name="connsiteY53" fmla="*/ 828419 h 1092840"/>
                <a:gd name="connsiteX54" fmla="*/ 660528 w 1143000"/>
                <a:gd name="connsiteY54" fmla="*/ 848153 h 1092840"/>
                <a:gd name="connsiteX55" fmla="*/ 662452 w 1143000"/>
                <a:gd name="connsiteY55" fmla="*/ 867767 h 1092840"/>
                <a:gd name="connsiteX56" fmla="*/ 664742 w 1143000"/>
                <a:gd name="connsiteY56" fmla="*/ 887225 h 1092840"/>
                <a:gd name="connsiteX57" fmla="*/ 667404 w 1143000"/>
                <a:gd name="connsiteY57" fmla="*/ 906473 h 1092840"/>
                <a:gd name="connsiteX58" fmla="*/ 670438 w 1143000"/>
                <a:gd name="connsiteY58" fmla="*/ 925463 h 1092840"/>
                <a:gd name="connsiteX59" fmla="*/ 673847 w 1143000"/>
                <a:gd name="connsiteY59" fmla="*/ 944154 h 1092840"/>
                <a:gd name="connsiteX60" fmla="*/ 677638 w 1143000"/>
                <a:gd name="connsiteY60" fmla="*/ 962497 h 1092840"/>
                <a:gd name="connsiteX61" fmla="*/ 681809 w 1143000"/>
                <a:gd name="connsiteY61" fmla="*/ 980440 h 1092840"/>
                <a:gd name="connsiteX62" fmla="*/ 686366 w 1143000"/>
                <a:gd name="connsiteY62" fmla="*/ 997940 h 1092840"/>
                <a:gd name="connsiteX63" fmla="*/ 691309 w 1143000"/>
                <a:gd name="connsiteY63" fmla="*/ 1014950 h 1092840"/>
                <a:gd name="connsiteX64" fmla="*/ 696638 w 1143000"/>
                <a:gd name="connsiteY64" fmla="*/ 1031421 h 1092840"/>
                <a:gd name="connsiteX65" fmla="*/ 702367 w 1143000"/>
                <a:gd name="connsiteY65" fmla="*/ 1047302 h 1092840"/>
                <a:gd name="connsiteX66" fmla="*/ 708486 w 1143000"/>
                <a:gd name="connsiteY66" fmla="*/ 1062554 h 1092840"/>
                <a:gd name="connsiteX67" fmla="*/ 715005 w 1143000"/>
                <a:gd name="connsiteY67" fmla="*/ 1077126 h 1092840"/>
                <a:gd name="connsiteX68" fmla="*/ 721924 w 1143000"/>
                <a:gd name="connsiteY68" fmla="*/ 1090969 h 1092840"/>
                <a:gd name="connsiteX69" fmla="*/ 706938 w 1143000"/>
                <a:gd name="connsiteY69" fmla="*/ 1092007 h 1092840"/>
                <a:gd name="connsiteX70" fmla="*/ 692000 w 1143000"/>
                <a:gd name="connsiteY70" fmla="*/ 1092636 h 1092840"/>
                <a:gd name="connsiteX71" fmla="*/ 677123 w 1143000"/>
                <a:gd name="connsiteY71" fmla="*/ 1092840 h 1092840"/>
                <a:gd name="connsiteX72" fmla="*/ 662328 w 1143000"/>
                <a:gd name="connsiteY72" fmla="*/ 1092621 h 1092840"/>
                <a:gd name="connsiteX73" fmla="*/ 647623 w 1143000"/>
                <a:gd name="connsiteY73" fmla="*/ 1091965 h 1092840"/>
                <a:gd name="connsiteX74" fmla="*/ 633023 w 1143000"/>
                <a:gd name="connsiteY74" fmla="*/ 1090860 h 1092840"/>
                <a:gd name="connsiteX75" fmla="*/ 618542 w 1143000"/>
                <a:gd name="connsiteY75" fmla="*/ 1089302 h 1092840"/>
                <a:gd name="connsiteX76" fmla="*/ 604195 w 1143000"/>
                <a:gd name="connsiteY76" fmla="*/ 1087284 h 1092840"/>
                <a:gd name="connsiteX77" fmla="*/ 589989 w 1143000"/>
                <a:gd name="connsiteY77" fmla="*/ 1084793 h 1092840"/>
                <a:gd name="connsiteX78" fmla="*/ 575951 w 1143000"/>
                <a:gd name="connsiteY78" fmla="*/ 1081826 h 1092840"/>
                <a:gd name="connsiteX79" fmla="*/ 548403 w 1143000"/>
                <a:gd name="connsiteY79" fmla="*/ 1074417 h 1092840"/>
                <a:gd name="connsiteX80" fmla="*/ 521665 w 1143000"/>
                <a:gd name="connsiteY80" fmla="*/ 1064988 h 1092840"/>
                <a:gd name="connsiteX81" fmla="*/ 495846 w 1143000"/>
                <a:gd name="connsiteY81" fmla="*/ 1053474 h 1092840"/>
                <a:gd name="connsiteX82" fmla="*/ 471055 w 1143000"/>
                <a:gd name="connsiteY82" fmla="*/ 1039812 h 1092840"/>
                <a:gd name="connsiteX83" fmla="*/ 447408 w 1143000"/>
                <a:gd name="connsiteY83" fmla="*/ 1023926 h 1092840"/>
                <a:gd name="connsiteX84" fmla="*/ 436041 w 1143000"/>
                <a:gd name="connsiteY84" fmla="*/ 1015130 h 1092840"/>
                <a:gd name="connsiteX85" fmla="*/ 425003 w 1143000"/>
                <a:gd name="connsiteY85" fmla="*/ 1005754 h 1092840"/>
                <a:gd name="connsiteX86" fmla="*/ 414307 w 1143000"/>
                <a:gd name="connsiteY86" fmla="*/ 995788 h 1092840"/>
                <a:gd name="connsiteX87" fmla="*/ 403964 w 1143000"/>
                <a:gd name="connsiteY87" fmla="*/ 985225 h 1092840"/>
                <a:gd name="connsiteX88" fmla="*/ 393988 w 1143000"/>
                <a:gd name="connsiteY88" fmla="*/ 974059 h 1092840"/>
                <a:gd name="connsiteX89" fmla="*/ 384398 w 1143000"/>
                <a:gd name="connsiteY89" fmla="*/ 962278 h 1092840"/>
                <a:gd name="connsiteX90" fmla="*/ 375198 w 1143000"/>
                <a:gd name="connsiteY90" fmla="*/ 949873 h 1092840"/>
                <a:gd name="connsiteX91" fmla="*/ 366407 w 1143000"/>
                <a:gd name="connsiteY91" fmla="*/ 936839 h 1092840"/>
                <a:gd name="connsiteX92" fmla="*/ 358045 w 1143000"/>
                <a:gd name="connsiteY92" fmla="*/ 923163 h 1092840"/>
                <a:gd name="connsiteX93" fmla="*/ 350112 w 1143000"/>
                <a:gd name="connsiteY93" fmla="*/ 908839 h 1092840"/>
                <a:gd name="connsiteX94" fmla="*/ 342636 w 1143000"/>
                <a:gd name="connsiteY94" fmla="*/ 893863 h 1092840"/>
                <a:gd name="connsiteX95" fmla="*/ 335621 w 1143000"/>
                <a:gd name="connsiteY95" fmla="*/ 878220 h 1092840"/>
                <a:gd name="connsiteX96" fmla="*/ 329088 w 1143000"/>
                <a:gd name="connsiteY96" fmla="*/ 861905 h 1092840"/>
                <a:gd name="connsiteX97" fmla="*/ 323045 w 1143000"/>
                <a:gd name="connsiteY97" fmla="*/ 844910 h 1092840"/>
                <a:gd name="connsiteX98" fmla="*/ 317507 w 1143000"/>
                <a:gd name="connsiteY98" fmla="*/ 827224 h 1092840"/>
                <a:gd name="connsiteX99" fmla="*/ 312493 w 1143000"/>
                <a:gd name="connsiteY99" fmla="*/ 808838 h 1092840"/>
                <a:gd name="connsiteX100" fmla="*/ 308007 w 1143000"/>
                <a:gd name="connsiteY100" fmla="*/ 789748 h 1092840"/>
                <a:gd name="connsiteX101" fmla="*/ 304073 w 1143000"/>
                <a:gd name="connsiteY101" fmla="*/ 769938 h 1092840"/>
                <a:gd name="connsiteX102" fmla="*/ 300697 w 1143000"/>
                <a:gd name="connsiteY102" fmla="*/ 749409 h 1092840"/>
                <a:gd name="connsiteX103" fmla="*/ 297902 w 1143000"/>
                <a:gd name="connsiteY103" fmla="*/ 728147 h 1092840"/>
                <a:gd name="connsiteX104" fmla="*/ 295687 w 1143000"/>
                <a:gd name="connsiteY104" fmla="*/ 706147 h 1092840"/>
                <a:gd name="connsiteX105" fmla="*/ 294083 w 1143000"/>
                <a:gd name="connsiteY105" fmla="*/ 683394 h 1092840"/>
                <a:gd name="connsiteX106" fmla="*/ 293092 w 1143000"/>
                <a:gd name="connsiteY106" fmla="*/ 659884 h 1092840"/>
                <a:gd name="connsiteX107" fmla="*/ 292731 w 1143000"/>
                <a:gd name="connsiteY107" fmla="*/ 635613 h 1092840"/>
                <a:gd name="connsiteX108" fmla="*/ 293016 w 1143000"/>
                <a:gd name="connsiteY108" fmla="*/ 610565 h 1092840"/>
                <a:gd name="connsiteX109" fmla="*/ 271916 w 1143000"/>
                <a:gd name="connsiteY109" fmla="*/ 609608 h 1092840"/>
                <a:gd name="connsiteX110" fmla="*/ 251459 w 1143000"/>
                <a:gd name="connsiteY110" fmla="*/ 607641 h 1092840"/>
                <a:gd name="connsiteX111" fmla="*/ 231649 w 1143000"/>
                <a:gd name="connsiteY111" fmla="*/ 604694 h 1092840"/>
                <a:gd name="connsiteX112" fmla="*/ 212506 w 1143000"/>
                <a:gd name="connsiteY112" fmla="*/ 600779 h 1092840"/>
                <a:gd name="connsiteX113" fmla="*/ 194020 w 1143000"/>
                <a:gd name="connsiteY113" fmla="*/ 595917 h 1092840"/>
                <a:gd name="connsiteX114" fmla="*/ 176210 w 1143000"/>
                <a:gd name="connsiteY114" fmla="*/ 590132 h 1092840"/>
                <a:gd name="connsiteX115" fmla="*/ 159082 w 1143000"/>
                <a:gd name="connsiteY115" fmla="*/ 583437 h 1092840"/>
                <a:gd name="connsiteX116" fmla="*/ 142634 w 1143000"/>
                <a:gd name="connsiteY116" fmla="*/ 575860 h 1092840"/>
                <a:gd name="connsiteX117" fmla="*/ 126877 w 1143000"/>
                <a:gd name="connsiteY117" fmla="*/ 567417 h 1092840"/>
                <a:gd name="connsiteX118" fmla="*/ 111820 w 1143000"/>
                <a:gd name="connsiteY118" fmla="*/ 558127 h 1092840"/>
                <a:gd name="connsiteX119" fmla="*/ 97462 w 1143000"/>
                <a:gd name="connsiteY119" fmla="*/ 548012 h 1092840"/>
                <a:gd name="connsiteX120" fmla="*/ 83820 w 1143000"/>
                <a:gd name="connsiteY120" fmla="*/ 537093 h 1092840"/>
                <a:gd name="connsiteX121" fmla="*/ 70896 w 1143000"/>
                <a:gd name="connsiteY121" fmla="*/ 525393 h 1092840"/>
                <a:gd name="connsiteX122" fmla="*/ 58696 w 1143000"/>
                <a:gd name="connsiteY122" fmla="*/ 512922 h 1092840"/>
                <a:gd name="connsiteX123" fmla="*/ 47224 w 1143000"/>
                <a:gd name="connsiteY123" fmla="*/ 499707 h 1092840"/>
                <a:gd name="connsiteX124" fmla="*/ 36491 w 1143000"/>
                <a:gd name="connsiteY124" fmla="*/ 485769 h 1092840"/>
                <a:gd name="connsiteX125" fmla="*/ 26500 w 1143000"/>
                <a:gd name="connsiteY125" fmla="*/ 471131 h 1092840"/>
                <a:gd name="connsiteX126" fmla="*/ 17262 w 1143000"/>
                <a:gd name="connsiteY126" fmla="*/ 455802 h 1092840"/>
                <a:gd name="connsiteX127" fmla="*/ 8781 w 1143000"/>
                <a:gd name="connsiteY127" fmla="*/ 439811 h 1092840"/>
                <a:gd name="connsiteX128" fmla="*/ 0 w 1143000"/>
                <a:gd name="connsiteY128" fmla="*/ 419692 h 1092840"/>
                <a:gd name="connsiteX129" fmla="*/ 500 w 1143000"/>
                <a:gd name="connsiteY129" fmla="*/ 417887 h 1092840"/>
                <a:gd name="connsiteX130" fmla="*/ 11771 w 1143000"/>
                <a:gd name="connsiteY130" fmla="*/ 429583 h 1092840"/>
                <a:gd name="connsiteX131" fmla="*/ 23705 w 1143000"/>
                <a:gd name="connsiteY131" fmla="*/ 440735 h 1092840"/>
                <a:gd name="connsiteX132" fmla="*/ 36276 w 1143000"/>
                <a:gd name="connsiteY132" fmla="*/ 451340 h 1092840"/>
                <a:gd name="connsiteX133" fmla="*/ 49453 w 1143000"/>
                <a:gd name="connsiteY133" fmla="*/ 461373 h 1092840"/>
                <a:gd name="connsiteX134" fmla="*/ 63215 w 1143000"/>
                <a:gd name="connsiteY134" fmla="*/ 470831 h 1092840"/>
                <a:gd name="connsiteX135" fmla="*/ 77524 w 1143000"/>
                <a:gd name="connsiteY135" fmla="*/ 479693 h 1092840"/>
                <a:gd name="connsiteX136" fmla="*/ 92367 w 1143000"/>
                <a:gd name="connsiteY136" fmla="*/ 487945 h 1092840"/>
                <a:gd name="connsiteX137" fmla="*/ 107705 w 1143000"/>
                <a:gd name="connsiteY137" fmla="*/ 495579 h 1092840"/>
                <a:gd name="connsiteX138" fmla="*/ 123515 w 1143000"/>
                <a:gd name="connsiteY138" fmla="*/ 502579 h 1092840"/>
                <a:gd name="connsiteX139" fmla="*/ 139767 w 1143000"/>
                <a:gd name="connsiteY139" fmla="*/ 508931 h 1092840"/>
                <a:gd name="connsiteX140" fmla="*/ 156439 w 1143000"/>
                <a:gd name="connsiteY140" fmla="*/ 514622 h 1092840"/>
                <a:gd name="connsiteX141" fmla="*/ 173496 w 1143000"/>
                <a:gd name="connsiteY141" fmla="*/ 519636 h 1092840"/>
                <a:gd name="connsiteX142" fmla="*/ 190915 w 1143000"/>
                <a:gd name="connsiteY142" fmla="*/ 523964 h 1092840"/>
                <a:gd name="connsiteX143" fmla="*/ 208673 w 1143000"/>
                <a:gd name="connsiteY143" fmla="*/ 527593 h 1092840"/>
                <a:gd name="connsiteX144" fmla="*/ 226730 w 1143000"/>
                <a:gd name="connsiteY144" fmla="*/ 530502 h 1092840"/>
                <a:gd name="connsiteX145" fmla="*/ 245073 w 1143000"/>
                <a:gd name="connsiteY145" fmla="*/ 532688 h 1092840"/>
                <a:gd name="connsiteX146" fmla="*/ 263664 w 1143000"/>
                <a:gd name="connsiteY146" fmla="*/ 534131 h 1092840"/>
                <a:gd name="connsiteX147" fmla="*/ 282478 w 1143000"/>
                <a:gd name="connsiteY147" fmla="*/ 534817 h 1092840"/>
                <a:gd name="connsiteX148" fmla="*/ 301488 w 1143000"/>
                <a:gd name="connsiteY148" fmla="*/ 534736 h 1092840"/>
                <a:gd name="connsiteX149" fmla="*/ 320669 w 1143000"/>
                <a:gd name="connsiteY149" fmla="*/ 533869 h 1092840"/>
                <a:gd name="connsiteX150" fmla="*/ 339993 w 1143000"/>
                <a:gd name="connsiteY150" fmla="*/ 532212 h 1092840"/>
                <a:gd name="connsiteX151" fmla="*/ 359431 w 1143000"/>
                <a:gd name="connsiteY151" fmla="*/ 529741 h 1092840"/>
                <a:gd name="connsiteX152" fmla="*/ 378955 w 1143000"/>
                <a:gd name="connsiteY152" fmla="*/ 526450 h 1092840"/>
                <a:gd name="connsiteX153" fmla="*/ 409093 w 1143000"/>
                <a:gd name="connsiteY153" fmla="*/ 519712 h 1092840"/>
                <a:gd name="connsiteX154" fmla="*/ 429822 w 1143000"/>
                <a:gd name="connsiteY154" fmla="*/ 513912 h 1092840"/>
                <a:gd name="connsiteX155" fmla="*/ 439988 w 1143000"/>
                <a:gd name="connsiteY155" fmla="*/ 510722 h 1092840"/>
                <a:gd name="connsiteX156" fmla="*/ 433941 w 1143000"/>
                <a:gd name="connsiteY156" fmla="*/ 526388 h 1092840"/>
                <a:gd name="connsiteX157" fmla="*/ 428622 w 1143000"/>
                <a:gd name="connsiteY157" fmla="*/ 542650 h 1092840"/>
                <a:gd name="connsiteX158" fmla="*/ 424026 w 1143000"/>
                <a:gd name="connsiteY158" fmla="*/ 559446 h 1092840"/>
                <a:gd name="connsiteX159" fmla="*/ 420136 w 1143000"/>
                <a:gd name="connsiteY159" fmla="*/ 576722 h 1092840"/>
                <a:gd name="connsiteX160" fmla="*/ 416955 w 1143000"/>
                <a:gd name="connsiteY160" fmla="*/ 594408 h 1092840"/>
                <a:gd name="connsiteX161" fmla="*/ 414469 w 1143000"/>
                <a:gd name="connsiteY161" fmla="*/ 612451 h 1092840"/>
                <a:gd name="connsiteX162" fmla="*/ 412669 w 1143000"/>
                <a:gd name="connsiteY162" fmla="*/ 630785 h 1092840"/>
                <a:gd name="connsiteX163" fmla="*/ 411545 w 1143000"/>
                <a:gd name="connsiteY163" fmla="*/ 649351 h 1092840"/>
                <a:gd name="connsiteX164" fmla="*/ 411098 w 1143000"/>
                <a:gd name="connsiteY164" fmla="*/ 668089 h 1092840"/>
                <a:gd name="connsiteX165" fmla="*/ 411307 w 1143000"/>
                <a:gd name="connsiteY165" fmla="*/ 686942 h 1092840"/>
                <a:gd name="connsiteX166" fmla="*/ 412174 w 1143000"/>
                <a:gd name="connsiteY166" fmla="*/ 705842 h 1092840"/>
                <a:gd name="connsiteX167" fmla="*/ 413688 w 1143000"/>
                <a:gd name="connsiteY167" fmla="*/ 724733 h 1092840"/>
                <a:gd name="connsiteX168" fmla="*/ 415836 w 1143000"/>
                <a:gd name="connsiteY168" fmla="*/ 743557 h 1092840"/>
                <a:gd name="connsiteX169" fmla="*/ 418617 w 1143000"/>
                <a:gd name="connsiteY169" fmla="*/ 762243 h 1092840"/>
                <a:gd name="connsiteX170" fmla="*/ 422017 w 1143000"/>
                <a:gd name="connsiteY170" fmla="*/ 780743 h 1092840"/>
                <a:gd name="connsiteX171" fmla="*/ 426026 w 1143000"/>
                <a:gd name="connsiteY171" fmla="*/ 798986 h 1092840"/>
                <a:gd name="connsiteX172" fmla="*/ 430646 w 1143000"/>
                <a:gd name="connsiteY172" fmla="*/ 816919 h 1092840"/>
                <a:gd name="connsiteX173" fmla="*/ 435860 w 1143000"/>
                <a:gd name="connsiteY173" fmla="*/ 834481 h 1092840"/>
                <a:gd name="connsiteX174" fmla="*/ 441660 w 1143000"/>
                <a:gd name="connsiteY174" fmla="*/ 851605 h 1092840"/>
                <a:gd name="connsiteX175" fmla="*/ 448041 w 1143000"/>
                <a:gd name="connsiteY175" fmla="*/ 868234 h 1092840"/>
                <a:gd name="connsiteX176" fmla="*/ 454993 w 1143000"/>
                <a:gd name="connsiteY176" fmla="*/ 884310 h 1092840"/>
                <a:gd name="connsiteX177" fmla="*/ 462508 w 1143000"/>
                <a:gd name="connsiteY177" fmla="*/ 899768 h 1092840"/>
                <a:gd name="connsiteX178" fmla="*/ 470579 w 1143000"/>
                <a:gd name="connsiteY178" fmla="*/ 914549 h 1092840"/>
                <a:gd name="connsiteX179" fmla="*/ 479194 w 1143000"/>
                <a:gd name="connsiteY179" fmla="*/ 928597 h 1092840"/>
                <a:gd name="connsiteX180" fmla="*/ 488351 w 1143000"/>
                <a:gd name="connsiteY180" fmla="*/ 941839 h 1092840"/>
                <a:gd name="connsiteX181" fmla="*/ 498036 w 1143000"/>
                <a:gd name="connsiteY181" fmla="*/ 954230 h 1092840"/>
                <a:gd name="connsiteX182" fmla="*/ 508242 w 1143000"/>
                <a:gd name="connsiteY182" fmla="*/ 965697 h 1092840"/>
                <a:gd name="connsiteX183" fmla="*/ 518965 w 1143000"/>
                <a:gd name="connsiteY183" fmla="*/ 976187 h 1092840"/>
                <a:gd name="connsiteX184" fmla="*/ 530189 w 1143000"/>
                <a:gd name="connsiteY184" fmla="*/ 985640 h 1092840"/>
                <a:gd name="connsiteX185" fmla="*/ 541913 w 1143000"/>
                <a:gd name="connsiteY185" fmla="*/ 993987 h 1092840"/>
                <a:gd name="connsiteX186" fmla="*/ 566818 w 1143000"/>
                <a:gd name="connsiteY186" fmla="*/ 1007135 h 1092840"/>
                <a:gd name="connsiteX187" fmla="*/ 579980 w 1143000"/>
                <a:gd name="connsiteY187" fmla="*/ 1011821 h 1092840"/>
                <a:gd name="connsiteX188" fmla="*/ 574594 w 1143000"/>
                <a:gd name="connsiteY188" fmla="*/ 993825 h 1092840"/>
                <a:gd name="connsiteX189" fmla="*/ 569523 w 1143000"/>
                <a:gd name="connsiteY189" fmla="*/ 975726 h 1092840"/>
                <a:gd name="connsiteX190" fmla="*/ 564756 w 1143000"/>
                <a:gd name="connsiteY190" fmla="*/ 957535 h 1092840"/>
                <a:gd name="connsiteX191" fmla="*/ 560308 w 1143000"/>
                <a:gd name="connsiteY191" fmla="*/ 939254 h 1092840"/>
                <a:gd name="connsiteX192" fmla="*/ 556170 w 1143000"/>
                <a:gd name="connsiteY192" fmla="*/ 920901 h 1092840"/>
                <a:gd name="connsiteX193" fmla="*/ 552351 w 1143000"/>
                <a:gd name="connsiteY193" fmla="*/ 902482 h 1092840"/>
                <a:gd name="connsiteX194" fmla="*/ 548842 w 1143000"/>
                <a:gd name="connsiteY194" fmla="*/ 884010 h 1092840"/>
                <a:gd name="connsiteX195" fmla="*/ 545656 w 1143000"/>
                <a:gd name="connsiteY195" fmla="*/ 865486 h 1092840"/>
                <a:gd name="connsiteX196" fmla="*/ 542784 w 1143000"/>
                <a:gd name="connsiteY196" fmla="*/ 846929 h 1092840"/>
                <a:gd name="connsiteX197" fmla="*/ 540237 w 1143000"/>
                <a:gd name="connsiteY197" fmla="*/ 828338 h 1092840"/>
                <a:gd name="connsiteX198" fmla="*/ 538008 w 1143000"/>
                <a:gd name="connsiteY198" fmla="*/ 809734 h 1092840"/>
                <a:gd name="connsiteX199" fmla="*/ 536103 w 1143000"/>
                <a:gd name="connsiteY199" fmla="*/ 791119 h 1092840"/>
                <a:gd name="connsiteX200" fmla="*/ 534523 w 1143000"/>
                <a:gd name="connsiteY200" fmla="*/ 772504 h 1092840"/>
                <a:gd name="connsiteX201" fmla="*/ 533265 w 1143000"/>
                <a:gd name="connsiteY201" fmla="*/ 753904 h 1092840"/>
                <a:gd name="connsiteX202" fmla="*/ 532337 w 1143000"/>
                <a:gd name="connsiteY202" fmla="*/ 735319 h 1092840"/>
                <a:gd name="connsiteX203" fmla="*/ 531737 w 1143000"/>
                <a:gd name="connsiteY203" fmla="*/ 716766 h 1092840"/>
                <a:gd name="connsiteX204" fmla="*/ 531461 w 1143000"/>
                <a:gd name="connsiteY204" fmla="*/ 698252 h 1092840"/>
                <a:gd name="connsiteX205" fmla="*/ 531518 w 1143000"/>
                <a:gd name="connsiteY205" fmla="*/ 679780 h 1092840"/>
                <a:gd name="connsiteX206" fmla="*/ 531908 w 1143000"/>
                <a:gd name="connsiteY206" fmla="*/ 661370 h 1092840"/>
                <a:gd name="connsiteX207" fmla="*/ 532627 w 1143000"/>
                <a:gd name="connsiteY207" fmla="*/ 643027 h 1092840"/>
                <a:gd name="connsiteX208" fmla="*/ 533680 w 1143000"/>
                <a:gd name="connsiteY208" fmla="*/ 624760 h 1092840"/>
                <a:gd name="connsiteX209" fmla="*/ 535070 w 1143000"/>
                <a:gd name="connsiteY209" fmla="*/ 606584 h 1092840"/>
                <a:gd name="connsiteX210" fmla="*/ 536799 w 1143000"/>
                <a:gd name="connsiteY210" fmla="*/ 588498 h 1092840"/>
                <a:gd name="connsiteX211" fmla="*/ 538861 w 1143000"/>
                <a:gd name="connsiteY211" fmla="*/ 570517 h 1092840"/>
                <a:gd name="connsiteX212" fmla="*/ 541260 w 1143000"/>
                <a:gd name="connsiteY212" fmla="*/ 552655 h 1092840"/>
                <a:gd name="connsiteX213" fmla="*/ 544004 w 1143000"/>
                <a:gd name="connsiteY213" fmla="*/ 534912 h 1092840"/>
                <a:gd name="connsiteX214" fmla="*/ 547089 w 1143000"/>
                <a:gd name="connsiteY214" fmla="*/ 517307 h 1092840"/>
                <a:gd name="connsiteX215" fmla="*/ 550518 w 1143000"/>
                <a:gd name="connsiteY215" fmla="*/ 499845 h 1092840"/>
                <a:gd name="connsiteX216" fmla="*/ 554285 w 1143000"/>
                <a:gd name="connsiteY216" fmla="*/ 482531 h 1092840"/>
                <a:gd name="connsiteX217" fmla="*/ 558404 w 1143000"/>
                <a:gd name="connsiteY217" fmla="*/ 465383 h 1092840"/>
                <a:gd name="connsiteX218" fmla="*/ 562865 w 1143000"/>
                <a:gd name="connsiteY218" fmla="*/ 448407 h 1092840"/>
                <a:gd name="connsiteX219" fmla="*/ 567675 w 1143000"/>
                <a:gd name="connsiteY219" fmla="*/ 431607 h 1092840"/>
                <a:gd name="connsiteX220" fmla="*/ 572832 w 1143000"/>
                <a:gd name="connsiteY220" fmla="*/ 415002 h 1092840"/>
                <a:gd name="connsiteX221" fmla="*/ 578342 w 1143000"/>
                <a:gd name="connsiteY221" fmla="*/ 398597 h 1092840"/>
                <a:gd name="connsiteX222" fmla="*/ 584204 w 1143000"/>
                <a:gd name="connsiteY222" fmla="*/ 382402 h 1092840"/>
                <a:gd name="connsiteX223" fmla="*/ 590413 w 1143000"/>
                <a:gd name="connsiteY223" fmla="*/ 366425 h 1092840"/>
                <a:gd name="connsiteX224" fmla="*/ 596980 w 1143000"/>
                <a:gd name="connsiteY224" fmla="*/ 350677 h 1092840"/>
                <a:gd name="connsiteX225" fmla="*/ 603904 w 1143000"/>
                <a:gd name="connsiteY225" fmla="*/ 335163 h 1092840"/>
                <a:gd name="connsiteX226" fmla="*/ 611180 w 1143000"/>
                <a:gd name="connsiteY226" fmla="*/ 319901 h 1092840"/>
                <a:gd name="connsiteX227" fmla="*/ 618818 w 1143000"/>
                <a:gd name="connsiteY227" fmla="*/ 304896 h 1092840"/>
                <a:gd name="connsiteX228" fmla="*/ 626814 w 1143000"/>
                <a:gd name="connsiteY228" fmla="*/ 290158 h 1092840"/>
                <a:gd name="connsiteX229" fmla="*/ 635171 w 1143000"/>
                <a:gd name="connsiteY229" fmla="*/ 275696 h 1092840"/>
                <a:gd name="connsiteX230" fmla="*/ 643885 w 1143000"/>
                <a:gd name="connsiteY230" fmla="*/ 261515 h 1092840"/>
                <a:gd name="connsiteX231" fmla="*/ 652966 w 1143000"/>
                <a:gd name="connsiteY231" fmla="*/ 247634 h 1092840"/>
                <a:gd name="connsiteX232" fmla="*/ 662409 w 1143000"/>
                <a:gd name="connsiteY232" fmla="*/ 234057 h 1092840"/>
                <a:gd name="connsiteX233" fmla="*/ 672219 w 1143000"/>
                <a:gd name="connsiteY233" fmla="*/ 220791 h 1092840"/>
                <a:gd name="connsiteX234" fmla="*/ 682390 w 1143000"/>
                <a:gd name="connsiteY234" fmla="*/ 207852 h 1092840"/>
                <a:gd name="connsiteX235" fmla="*/ 692933 w 1143000"/>
                <a:gd name="connsiteY235" fmla="*/ 195243 h 1092840"/>
                <a:gd name="connsiteX236" fmla="*/ 703847 w 1143000"/>
                <a:gd name="connsiteY236" fmla="*/ 182976 h 1092840"/>
                <a:gd name="connsiteX237" fmla="*/ 715129 w 1143000"/>
                <a:gd name="connsiteY237" fmla="*/ 171066 h 1092840"/>
                <a:gd name="connsiteX238" fmla="*/ 726781 w 1143000"/>
                <a:gd name="connsiteY238" fmla="*/ 159514 h 1092840"/>
                <a:gd name="connsiteX239" fmla="*/ 738810 w 1143000"/>
                <a:gd name="connsiteY239" fmla="*/ 148333 h 1092840"/>
                <a:gd name="connsiteX240" fmla="*/ 751210 w 1143000"/>
                <a:gd name="connsiteY240" fmla="*/ 137533 h 1092840"/>
                <a:gd name="connsiteX241" fmla="*/ 763986 w 1143000"/>
                <a:gd name="connsiteY241" fmla="*/ 127123 h 1092840"/>
                <a:gd name="connsiteX242" fmla="*/ 777133 w 1143000"/>
                <a:gd name="connsiteY242" fmla="*/ 117114 h 1092840"/>
                <a:gd name="connsiteX243" fmla="*/ 790667 w 1143000"/>
                <a:gd name="connsiteY243" fmla="*/ 107509 h 1092840"/>
                <a:gd name="connsiteX244" fmla="*/ 804572 w 1143000"/>
                <a:gd name="connsiteY244" fmla="*/ 98328 h 1092840"/>
                <a:gd name="connsiteX245" fmla="*/ 818863 w 1143000"/>
                <a:gd name="connsiteY245" fmla="*/ 89570 h 1092840"/>
                <a:gd name="connsiteX246" fmla="*/ 833534 w 1143000"/>
                <a:gd name="connsiteY246" fmla="*/ 81256 h 1092840"/>
                <a:gd name="connsiteX247" fmla="*/ 848587 w 1143000"/>
                <a:gd name="connsiteY247" fmla="*/ 73385 h 1092840"/>
                <a:gd name="connsiteX248" fmla="*/ 861587 w 1143000"/>
                <a:gd name="connsiteY248" fmla="*/ 67061 h 1092840"/>
                <a:gd name="connsiteX249" fmla="*/ 874863 w 1143000"/>
                <a:gd name="connsiteY249" fmla="*/ 60985 h 1092840"/>
                <a:gd name="connsiteX250" fmla="*/ 888406 w 1143000"/>
                <a:gd name="connsiteY250" fmla="*/ 55161 h 1092840"/>
                <a:gd name="connsiteX251" fmla="*/ 902211 w 1143000"/>
                <a:gd name="connsiteY251" fmla="*/ 49584 h 1092840"/>
                <a:gd name="connsiteX252" fmla="*/ 916268 w 1143000"/>
                <a:gd name="connsiteY252" fmla="*/ 44275 h 1092840"/>
                <a:gd name="connsiteX253" fmla="*/ 930568 w 1143000"/>
                <a:gd name="connsiteY253" fmla="*/ 39227 h 1092840"/>
                <a:gd name="connsiteX254" fmla="*/ 945102 w 1143000"/>
                <a:gd name="connsiteY254" fmla="*/ 34451 h 1092840"/>
                <a:gd name="connsiteX255" fmla="*/ 959859 w 1143000"/>
                <a:gd name="connsiteY255" fmla="*/ 29956 h 1092840"/>
                <a:gd name="connsiteX256" fmla="*/ 974826 w 1143000"/>
                <a:gd name="connsiteY256" fmla="*/ 25736 h 1092840"/>
                <a:gd name="connsiteX257" fmla="*/ 990002 w 1143000"/>
                <a:gd name="connsiteY257" fmla="*/ 21813 h 1092840"/>
                <a:gd name="connsiteX258" fmla="*/ 1005374 w 1143000"/>
                <a:gd name="connsiteY258" fmla="*/ 18179 h 1092840"/>
                <a:gd name="connsiteX259" fmla="*/ 1020930 w 1143000"/>
                <a:gd name="connsiteY259" fmla="*/ 14846 h 1092840"/>
                <a:gd name="connsiteX260" fmla="*/ 1036669 w 1143000"/>
                <a:gd name="connsiteY260" fmla="*/ 11817 h 1092840"/>
                <a:gd name="connsiteX261" fmla="*/ 1052569 w 1143000"/>
                <a:gd name="connsiteY261" fmla="*/ 9103 h 1092840"/>
                <a:gd name="connsiteX262" fmla="*/ 1068636 w 1143000"/>
                <a:gd name="connsiteY262" fmla="*/ 6703 h 1092840"/>
                <a:gd name="connsiteX263" fmla="*/ 1084850 w 1143000"/>
                <a:gd name="connsiteY263" fmla="*/ 4627 h 1092840"/>
                <a:gd name="connsiteX264" fmla="*/ 1101202 w 1143000"/>
                <a:gd name="connsiteY264" fmla="*/ 2875 h 1092840"/>
                <a:gd name="connsiteX265" fmla="*/ 1117688 w 1143000"/>
                <a:gd name="connsiteY265" fmla="*/ 1460 h 1092840"/>
                <a:gd name="connsiteX266" fmla="*/ 1134298 w 1143000"/>
                <a:gd name="connsiteY266" fmla="*/ 379 h 1092840"/>
                <a:gd name="connsiteX267" fmla="*/ 1143000 w 1143000"/>
                <a:gd name="connsiteY267" fmla="*/ 0 h 109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43000" h="1092840">
                  <a:moveTo>
                    <a:pt x="1143000" y="0"/>
                  </a:moveTo>
                  <a:lnTo>
                    <a:pt x="1143000" y="99531"/>
                  </a:lnTo>
                  <a:lnTo>
                    <a:pt x="1131798" y="100952"/>
                  </a:lnTo>
                  <a:lnTo>
                    <a:pt x="1110140" y="104580"/>
                  </a:lnTo>
                  <a:lnTo>
                    <a:pt x="1089117" y="108980"/>
                  </a:lnTo>
                  <a:lnTo>
                    <a:pt x="1068712" y="114128"/>
                  </a:lnTo>
                  <a:lnTo>
                    <a:pt x="1048926" y="119990"/>
                  </a:lnTo>
                  <a:lnTo>
                    <a:pt x="1029745" y="126533"/>
                  </a:lnTo>
                  <a:lnTo>
                    <a:pt x="1011168" y="133733"/>
                  </a:lnTo>
                  <a:lnTo>
                    <a:pt x="993178" y="141561"/>
                  </a:lnTo>
                  <a:lnTo>
                    <a:pt x="975768" y="149980"/>
                  </a:lnTo>
                  <a:lnTo>
                    <a:pt x="958935" y="158966"/>
                  </a:lnTo>
                  <a:lnTo>
                    <a:pt x="942668" y="168485"/>
                  </a:lnTo>
                  <a:lnTo>
                    <a:pt x="926959" y="178514"/>
                  </a:lnTo>
                  <a:lnTo>
                    <a:pt x="911801" y="189019"/>
                  </a:lnTo>
                  <a:lnTo>
                    <a:pt x="897182" y="199971"/>
                  </a:lnTo>
                  <a:lnTo>
                    <a:pt x="883096" y="211338"/>
                  </a:lnTo>
                  <a:lnTo>
                    <a:pt x="869539" y="223095"/>
                  </a:lnTo>
                  <a:lnTo>
                    <a:pt x="856496" y="235205"/>
                  </a:lnTo>
                  <a:lnTo>
                    <a:pt x="843963" y="247648"/>
                  </a:lnTo>
                  <a:lnTo>
                    <a:pt x="831929" y="260386"/>
                  </a:lnTo>
                  <a:lnTo>
                    <a:pt x="820391" y="273391"/>
                  </a:lnTo>
                  <a:lnTo>
                    <a:pt x="809334" y="286639"/>
                  </a:lnTo>
                  <a:lnTo>
                    <a:pt x="798758" y="300091"/>
                  </a:lnTo>
                  <a:lnTo>
                    <a:pt x="788643" y="313725"/>
                  </a:lnTo>
                  <a:lnTo>
                    <a:pt x="778991" y="327511"/>
                  </a:lnTo>
                  <a:lnTo>
                    <a:pt x="769791" y="341415"/>
                  </a:lnTo>
                  <a:lnTo>
                    <a:pt x="761038" y="355406"/>
                  </a:lnTo>
                  <a:lnTo>
                    <a:pt x="752714" y="369458"/>
                  </a:lnTo>
                  <a:lnTo>
                    <a:pt x="744819" y="383544"/>
                  </a:lnTo>
                  <a:lnTo>
                    <a:pt x="737343" y="397630"/>
                  </a:lnTo>
                  <a:lnTo>
                    <a:pt x="730281" y="411688"/>
                  </a:lnTo>
                  <a:lnTo>
                    <a:pt x="723619" y="425683"/>
                  </a:lnTo>
                  <a:lnTo>
                    <a:pt x="717352" y="439592"/>
                  </a:lnTo>
                  <a:lnTo>
                    <a:pt x="711466" y="453388"/>
                  </a:lnTo>
                  <a:lnTo>
                    <a:pt x="705967" y="467031"/>
                  </a:lnTo>
                  <a:lnTo>
                    <a:pt x="700833" y="480498"/>
                  </a:lnTo>
                  <a:lnTo>
                    <a:pt x="691642" y="506779"/>
                  </a:lnTo>
                  <a:lnTo>
                    <a:pt x="683828" y="531998"/>
                  </a:lnTo>
                  <a:lnTo>
                    <a:pt x="677338" y="555908"/>
                  </a:lnTo>
                  <a:lnTo>
                    <a:pt x="672090" y="578279"/>
                  </a:lnTo>
                  <a:lnTo>
                    <a:pt x="668033" y="598870"/>
                  </a:lnTo>
                  <a:lnTo>
                    <a:pt x="665090" y="617446"/>
                  </a:lnTo>
                  <a:lnTo>
                    <a:pt x="662823" y="635299"/>
                  </a:lnTo>
                  <a:lnTo>
                    <a:pt x="660885" y="653561"/>
                  </a:lnTo>
                  <a:lnTo>
                    <a:pt x="659290" y="672180"/>
                  </a:lnTo>
                  <a:lnTo>
                    <a:pt x="658033" y="691113"/>
                  </a:lnTo>
                  <a:lnTo>
                    <a:pt x="657114" y="710313"/>
                  </a:lnTo>
                  <a:lnTo>
                    <a:pt x="656547" y="729728"/>
                  </a:lnTo>
                  <a:lnTo>
                    <a:pt x="656323" y="749314"/>
                  </a:lnTo>
                  <a:lnTo>
                    <a:pt x="656452" y="769024"/>
                  </a:lnTo>
                  <a:lnTo>
                    <a:pt x="656933" y="788809"/>
                  </a:lnTo>
                  <a:lnTo>
                    <a:pt x="657771" y="808624"/>
                  </a:lnTo>
                  <a:lnTo>
                    <a:pt x="658966" y="828419"/>
                  </a:lnTo>
                  <a:lnTo>
                    <a:pt x="660528" y="848153"/>
                  </a:lnTo>
                  <a:lnTo>
                    <a:pt x="662452" y="867767"/>
                  </a:lnTo>
                  <a:lnTo>
                    <a:pt x="664742" y="887225"/>
                  </a:lnTo>
                  <a:lnTo>
                    <a:pt x="667404" y="906473"/>
                  </a:lnTo>
                  <a:lnTo>
                    <a:pt x="670438" y="925463"/>
                  </a:lnTo>
                  <a:lnTo>
                    <a:pt x="673847" y="944154"/>
                  </a:lnTo>
                  <a:lnTo>
                    <a:pt x="677638" y="962497"/>
                  </a:lnTo>
                  <a:lnTo>
                    <a:pt x="681809" y="980440"/>
                  </a:lnTo>
                  <a:lnTo>
                    <a:pt x="686366" y="997940"/>
                  </a:lnTo>
                  <a:lnTo>
                    <a:pt x="691309" y="1014950"/>
                  </a:lnTo>
                  <a:lnTo>
                    <a:pt x="696638" y="1031421"/>
                  </a:lnTo>
                  <a:lnTo>
                    <a:pt x="702367" y="1047302"/>
                  </a:lnTo>
                  <a:lnTo>
                    <a:pt x="708486" y="1062554"/>
                  </a:lnTo>
                  <a:lnTo>
                    <a:pt x="715005" y="1077126"/>
                  </a:lnTo>
                  <a:lnTo>
                    <a:pt x="721924" y="1090969"/>
                  </a:lnTo>
                  <a:lnTo>
                    <a:pt x="706938" y="1092007"/>
                  </a:lnTo>
                  <a:lnTo>
                    <a:pt x="692000" y="1092636"/>
                  </a:lnTo>
                  <a:lnTo>
                    <a:pt x="677123" y="1092840"/>
                  </a:lnTo>
                  <a:lnTo>
                    <a:pt x="662328" y="1092621"/>
                  </a:lnTo>
                  <a:lnTo>
                    <a:pt x="647623" y="1091965"/>
                  </a:lnTo>
                  <a:lnTo>
                    <a:pt x="633023" y="1090860"/>
                  </a:lnTo>
                  <a:lnTo>
                    <a:pt x="618542" y="1089302"/>
                  </a:lnTo>
                  <a:lnTo>
                    <a:pt x="604195" y="1087284"/>
                  </a:lnTo>
                  <a:lnTo>
                    <a:pt x="589989" y="1084793"/>
                  </a:lnTo>
                  <a:lnTo>
                    <a:pt x="575951" y="1081826"/>
                  </a:lnTo>
                  <a:lnTo>
                    <a:pt x="548403" y="1074417"/>
                  </a:lnTo>
                  <a:lnTo>
                    <a:pt x="521665" y="1064988"/>
                  </a:lnTo>
                  <a:lnTo>
                    <a:pt x="495846" y="1053474"/>
                  </a:lnTo>
                  <a:lnTo>
                    <a:pt x="471055" y="1039812"/>
                  </a:lnTo>
                  <a:lnTo>
                    <a:pt x="447408" y="1023926"/>
                  </a:lnTo>
                  <a:lnTo>
                    <a:pt x="436041" y="1015130"/>
                  </a:lnTo>
                  <a:lnTo>
                    <a:pt x="425003" y="1005754"/>
                  </a:lnTo>
                  <a:lnTo>
                    <a:pt x="414307" y="995788"/>
                  </a:lnTo>
                  <a:lnTo>
                    <a:pt x="403964" y="985225"/>
                  </a:lnTo>
                  <a:lnTo>
                    <a:pt x="393988" y="974059"/>
                  </a:lnTo>
                  <a:lnTo>
                    <a:pt x="384398" y="962278"/>
                  </a:lnTo>
                  <a:lnTo>
                    <a:pt x="375198" y="949873"/>
                  </a:lnTo>
                  <a:lnTo>
                    <a:pt x="366407" y="936839"/>
                  </a:lnTo>
                  <a:lnTo>
                    <a:pt x="358045" y="923163"/>
                  </a:lnTo>
                  <a:lnTo>
                    <a:pt x="350112" y="908839"/>
                  </a:lnTo>
                  <a:lnTo>
                    <a:pt x="342636" y="893863"/>
                  </a:lnTo>
                  <a:lnTo>
                    <a:pt x="335621" y="878220"/>
                  </a:lnTo>
                  <a:lnTo>
                    <a:pt x="329088" y="861905"/>
                  </a:lnTo>
                  <a:lnTo>
                    <a:pt x="323045" y="844910"/>
                  </a:lnTo>
                  <a:lnTo>
                    <a:pt x="317507" y="827224"/>
                  </a:lnTo>
                  <a:lnTo>
                    <a:pt x="312493" y="808838"/>
                  </a:lnTo>
                  <a:lnTo>
                    <a:pt x="308007" y="789748"/>
                  </a:lnTo>
                  <a:lnTo>
                    <a:pt x="304073" y="769938"/>
                  </a:lnTo>
                  <a:lnTo>
                    <a:pt x="300697" y="749409"/>
                  </a:lnTo>
                  <a:lnTo>
                    <a:pt x="297902" y="728147"/>
                  </a:lnTo>
                  <a:lnTo>
                    <a:pt x="295687" y="706147"/>
                  </a:lnTo>
                  <a:lnTo>
                    <a:pt x="294083" y="683394"/>
                  </a:lnTo>
                  <a:lnTo>
                    <a:pt x="293092" y="659884"/>
                  </a:lnTo>
                  <a:lnTo>
                    <a:pt x="292731" y="635613"/>
                  </a:lnTo>
                  <a:lnTo>
                    <a:pt x="293016" y="610565"/>
                  </a:lnTo>
                  <a:lnTo>
                    <a:pt x="271916" y="609608"/>
                  </a:lnTo>
                  <a:lnTo>
                    <a:pt x="251459" y="607641"/>
                  </a:lnTo>
                  <a:lnTo>
                    <a:pt x="231649" y="604694"/>
                  </a:lnTo>
                  <a:lnTo>
                    <a:pt x="212506" y="600779"/>
                  </a:lnTo>
                  <a:lnTo>
                    <a:pt x="194020" y="595917"/>
                  </a:lnTo>
                  <a:lnTo>
                    <a:pt x="176210" y="590132"/>
                  </a:lnTo>
                  <a:lnTo>
                    <a:pt x="159082" y="583437"/>
                  </a:lnTo>
                  <a:lnTo>
                    <a:pt x="142634" y="575860"/>
                  </a:lnTo>
                  <a:lnTo>
                    <a:pt x="126877" y="567417"/>
                  </a:lnTo>
                  <a:lnTo>
                    <a:pt x="111820" y="558127"/>
                  </a:lnTo>
                  <a:lnTo>
                    <a:pt x="97462" y="548012"/>
                  </a:lnTo>
                  <a:lnTo>
                    <a:pt x="83820" y="537093"/>
                  </a:lnTo>
                  <a:lnTo>
                    <a:pt x="70896" y="525393"/>
                  </a:lnTo>
                  <a:lnTo>
                    <a:pt x="58696" y="512922"/>
                  </a:lnTo>
                  <a:lnTo>
                    <a:pt x="47224" y="499707"/>
                  </a:lnTo>
                  <a:lnTo>
                    <a:pt x="36491" y="485769"/>
                  </a:lnTo>
                  <a:lnTo>
                    <a:pt x="26500" y="471131"/>
                  </a:lnTo>
                  <a:lnTo>
                    <a:pt x="17262" y="455802"/>
                  </a:lnTo>
                  <a:lnTo>
                    <a:pt x="8781" y="439811"/>
                  </a:lnTo>
                  <a:lnTo>
                    <a:pt x="0" y="419692"/>
                  </a:lnTo>
                  <a:lnTo>
                    <a:pt x="500" y="417887"/>
                  </a:lnTo>
                  <a:lnTo>
                    <a:pt x="11771" y="429583"/>
                  </a:lnTo>
                  <a:lnTo>
                    <a:pt x="23705" y="440735"/>
                  </a:lnTo>
                  <a:lnTo>
                    <a:pt x="36276" y="451340"/>
                  </a:lnTo>
                  <a:lnTo>
                    <a:pt x="49453" y="461373"/>
                  </a:lnTo>
                  <a:lnTo>
                    <a:pt x="63215" y="470831"/>
                  </a:lnTo>
                  <a:lnTo>
                    <a:pt x="77524" y="479693"/>
                  </a:lnTo>
                  <a:lnTo>
                    <a:pt x="92367" y="487945"/>
                  </a:lnTo>
                  <a:lnTo>
                    <a:pt x="107705" y="495579"/>
                  </a:lnTo>
                  <a:lnTo>
                    <a:pt x="123515" y="502579"/>
                  </a:lnTo>
                  <a:lnTo>
                    <a:pt x="139767" y="508931"/>
                  </a:lnTo>
                  <a:lnTo>
                    <a:pt x="156439" y="514622"/>
                  </a:lnTo>
                  <a:lnTo>
                    <a:pt x="173496" y="519636"/>
                  </a:lnTo>
                  <a:lnTo>
                    <a:pt x="190915" y="523964"/>
                  </a:lnTo>
                  <a:lnTo>
                    <a:pt x="208673" y="527593"/>
                  </a:lnTo>
                  <a:lnTo>
                    <a:pt x="226730" y="530502"/>
                  </a:lnTo>
                  <a:lnTo>
                    <a:pt x="245073" y="532688"/>
                  </a:lnTo>
                  <a:lnTo>
                    <a:pt x="263664" y="534131"/>
                  </a:lnTo>
                  <a:lnTo>
                    <a:pt x="282478" y="534817"/>
                  </a:lnTo>
                  <a:lnTo>
                    <a:pt x="301488" y="534736"/>
                  </a:lnTo>
                  <a:lnTo>
                    <a:pt x="320669" y="533869"/>
                  </a:lnTo>
                  <a:lnTo>
                    <a:pt x="339993" y="532212"/>
                  </a:lnTo>
                  <a:lnTo>
                    <a:pt x="359431" y="529741"/>
                  </a:lnTo>
                  <a:lnTo>
                    <a:pt x="378955" y="526450"/>
                  </a:lnTo>
                  <a:lnTo>
                    <a:pt x="409093" y="519712"/>
                  </a:lnTo>
                  <a:lnTo>
                    <a:pt x="429822" y="513912"/>
                  </a:lnTo>
                  <a:lnTo>
                    <a:pt x="439988" y="510722"/>
                  </a:lnTo>
                  <a:lnTo>
                    <a:pt x="433941" y="526388"/>
                  </a:lnTo>
                  <a:lnTo>
                    <a:pt x="428622" y="542650"/>
                  </a:lnTo>
                  <a:lnTo>
                    <a:pt x="424026" y="559446"/>
                  </a:lnTo>
                  <a:lnTo>
                    <a:pt x="420136" y="576722"/>
                  </a:lnTo>
                  <a:lnTo>
                    <a:pt x="416955" y="594408"/>
                  </a:lnTo>
                  <a:lnTo>
                    <a:pt x="414469" y="612451"/>
                  </a:lnTo>
                  <a:lnTo>
                    <a:pt x="412669" y="630785"/>
                  </a:lnTo>
                  <a:lnTo>
                    <a:pt x="411545" y="649351"/>
                  </a:lnTo>
                  <a:lnTo>
                    <a:pt x="411098" y="668089"/>
                  </a:lnTo>
                  <a:lnTo>
                    <a:pt x="411307" y="686942"/>
                  </a:lnTo>
                  <a:lnTo>
                    <a:pt x="412174" y="705842"/>
                  </a:lnTo>
                  <a:lnTo>
                    <a:pt x="413688" y="724733"/>
                  </a:lnTo>
                  <a:lnTo>
                    <a:pt x="415836" y="743557"/>
                  </a:lnTo>
                  <a:lnTo>
                    <a:pt x="418617" y="762243"/>
                  </a:lnTo>
                  <a:lnTo>
                    <a:pt x="422017" y="780743"/>
                  </a:lnTo>
                  <a:lnTo>
                    <a:pt x="426026" y="798986"/>
                  </a:lnTo>
                  <a:lnTo>
                    <a:pt x="430646" y="816919"/>
                  </a:lnTo>
                  <a:lnTo>
                    <a:pt x="435860" y="834481"/>
                  </a:lnTo>
                  <a:lnTo>
                    <a:pt x="441660" y="851605"/>
                  </a:lnTo>
                  <a:lnTo>
                    <a:pt x="448041" y="868234"/>
                  </a:lnTo>
                  <a:lnTo>
                    <a:pt x="454993" y="884310"/>
                  </a:lnTo>
                  <a:lnTo>
                    <a:pt x="462508" y="899768"/>
                  </a:lnTo>
                  <a:lnTo>
                    <a:pt x="470579" y="914549"/>
                  </a:lnTo>
                  <a:lnTo>
                    <a:pt x="479194" y="928597"/>
                  </a:lnTo>
                  <a:lnTo>
                    <a:pt x="488351" y="941839"/>
                  </a:lnTo>
                  <a:lnTo>
                    <a:pt x="498036" y="954230"/>
                  </a:lnTo>
                  <a:lnTo>
                    <a:pt x="508242" y="965697"/>
                  </a:lnTo>
                  <a:lnTo>
                    <a:pt x="518965" y="976187"/>
                  </a:lnTo>
                  <a:lnTo>
                    <a:pt x="530189" y="985640"/>
                  </a:lnTo>
                  <a:lnTo>
                    <a:pt x="541913" y="993987"/>
                  </a:lnTo>
                  <a:lnTo>
                    <a:pt x="566818" y="1007135"/>
                  </a:lnTo>
                  <a:lnTo>
                    <a:pt x="579980" y="1011821"/>
                  </a:lnTo>
                  <a:lnTo>
                    <a:pt x="574594" y="993825"/>
                  </a:lnTo>
                  <a:lnTo>
                    <a:pt x="569523" y="975726"/>
                  </a:lnTo>
                  <a:lnTo>
                    <a:pt x="564756" y="957535"/>
                  </a:lnTo>
                  <a:lnTo>
                    <a:pt x="560308" y="939254"/>
                  </a:lnTo>
                  <a:lnTo>
                    <a:pt x="556170" y="920901"/>
                  </a:lnTo>
                  <a:lnTo>
                    <a:pt x="552351" y="902482"/>
                  </a:lnTo>
                  <a:lnTo>
                    <a:pt x="548842" y="884010"/>
                  </a:lnTo>
                  <a:lnTo>
                    <a:pt x="545656" y="865486"/>
                  </a:lnTo>
                  <a:lnTo>
                    <a:pt x="542784" y="846929"/>
                  </a:lnTo>
                  <a:lnTo>
                    <a:pt x="540237" y="828338"/>
                  </a:lnTo>
                  <a:lnTo>
                    <a:pt x="538008" y="809734"/>
                  </a:lnTo>
                  <a:lnTo>
                    <a:pt x="536103" y="791119"/>
                  </a:lnTo>
                  <a:lnTo>
                    <a:pt x="534523" y="772504"/>
                  </a:lnTo>
                  <a:lnTo>
                    <a:pt x="533265" y="753904"/>
                  </a:lnTo>
                  <a:lnTo>
                    <a:pt x="532337" y="735319"/>
                  </a:lnTo>
                  <a:lnTo>
                    <a:pt x="531737" y="716766"/>
                  </a:lnTo>
                  <a:lnTo>
                    <a:pt x="531461" y="698252"/>
                  </a:lnTo>
                  <a:lnTo>
                    <a:pt x="531518" y="679780"/>
                  </a:lnTo>
                  <a:lnTo>
                    <a:pt x="531908" y="661370"/>
                  </a:lnTo>
                  <a:lnTo>
                    <a:pt x="532627" y="643027"/>
                  </a:lnTo>
                  <a:lnTo>
                    <a:pt x="533680" y="624760"/>
                  </a:lnTo>
                  <a:lnTo>
                    <a:pt x="535070" y="606584"/>
                  </a:lnTo>
                  <a:lnTo>
                    <a:pt x="536799" y="588498"/>
                  </a:lnTo>
                  <a:lnTo>
                    <a:pt x="538861" y="570517"/>
                  </a:lnTo>
                  <a:lnTo>
                    <a:pt x="541260" y="552655"/>
                  </a:lnTo>
                  <a:lnTo>
                    <a:pt x="544004" y="534912"/>
                  </a:lnTo>
                  <a:lnTo>
                    <a:pt x="547089" y="517307"/>
                  </a:lnTo>
                  <a:lnTo>
                    <a:pt x="550518" y="499845"/>
                  </a:lnTo>
                  <a:lnTo>
                    <a:pt x="554285" y="482531"/>
                  </a:lnTo>
                  <a:lnTo>
                    <a:pt x="558404" y="465383"/>
                  </a:lnTo>
                  <a:lnTo>
                    <a:pt x="562865" y="448407"/>
                  </a:lnTo>
                  <a:lnTo>
                    <a:pt x="567675" y="431607"/>
                  </a:lnTo>
                  <a:lnTo>
                    <a:pt x="572832" y="415002"/>
                  </a:lnTo>
                  <a:lnTo>
                    <a:pt x="578342" y="398597"/>
                  </a:lnTo>
                  <a:lnTo>
                    <a:pt x="584204" y="382402"/>
                  </a:lnTo>
                  <a:lnTo>
                    <a:pt x="590413" y="366425"/>
                  </a:lnTo>
                  <a:lnTo>
                    <a:pt x="596980" y="350677"/>
                  </a:lnTo>
                  <a:lnTo>
                    <a:pt x="603904" y="335163"/>
                  </a:lnTo>
                  <a:lnTo>
                    <a:pt x="611180" y="319901"/>
                  </a:lnTo>
                  <a:lnTo>
                    <a:pt x="618818" y="304896"/>
                  </a:lnTo>
                  <a:lnTo>
                    <a:pt x="626814" y="290158"/>
                  </a:lnTo>
                  <a:lnTo>
                    <a:pt x="635171" y="275696"/>
                  </a:lnTo>
                  <a:lnTo>
                    <a:pt x="643885" y="261515"/>
                  </a:lnTo>
                  <a:lnTo>
                    <a:pt x="652966" y="247634"/>
                  </a:lnTo>
                  <a:lnTo>
                    <a:pt x="662409" y="234057"/>
                  </a:lnTo>
                  <a:lnTo>
                    <a:pt x="672219" y="220791"/>
                  </a:lnTo>
                  <a:lnTo>
                    <a:pt x="682390" y="207852"/>
                  </a:lnTo>
                  <a:lnTo>
                    <a:pt x="692933" y="195243"/>
                  </a:lnTo>
                  <a:lnTo>
                    <a:pt x="703847" y="182976"/>
                  </a:lnTo>
                  <a:lnTo>
                    <a:pt x="715129" y="171066"/>
                  </a:lnTo>
                  <a:lnTo>
                    <a:pt x="726781" y="159514"/>
                  </a:lnTo>
                  <a:lnTo>
                    <a:pt x="738810" y="148333"/>
                  </a:lnTo>
                  <a:lnTo>
                    <a:pt x="751210" y="137533"/>
                  </a:lnTo>
                  <a:lnTo>
                    <a:pt x="763986" y="127123"/>
                  </a:lnTo>
                  <a:lnTo>
                    <a:pt x="777133" y="117114"/>
                  </a:lnTo>
                  <a:lnTo>
                    <a:pt x="790667" y="107509"/>
                  </a:lnTo>
                  <a:lnTo>
                    <a:pt x="804572" y="98328"/>
                  </a:lnTo>
                  <a:lnTo>
                    <a:pt x="818863" y="89570"/>
                  </a:lnTo>
                  <a:lnTo>
                    <a:pt x="833534" y="81256"/>
                  </a:lnTo>
                  <a:lnTo>
                    <a:pt x="848587" y="73385"/>
                  </a:lnTo>
                  <a:lnTo>
                    <a:pt x="861587" y="67061"/>
                  </a:lnTo>
                  <a:lnTo>
                    <a:pt x="874863" y="60985"/>
                  </a:lnTo>
                  <a:lnTo>
                    <a:pt x="888406" y="55161"/>
                  </a:lnTo>
                  <a:lnTo>
                    <a:pt x="902211" y="49584"/>
                  </a:lnTo>
                  <a:lnTo>
                    <a:pt x="916268" y="44275"/>
                  </a:lnTo>
                  <a:lnTo>
                    <a:pt x="930568" y="39227"/>
                  </a:lnTo>
                  <a:lnTo>
                    <a:pt x="945102" y="34451"/>
                  </a:lnTo>
                  <a:lnTo>
                    <a:pt x="959859" y="29956"/>
                  </a:lnTo>
                  <a:lnTo>
                    <a:pt x="974826" y="25736"/>
                  </a:lnTo>
                  <a:lnTo>
                    <a:pt x="990002" y="21813"/>
                  </a:lnTo>
                  <a:lnTo>
                    <a:pt x="1005374" y="18179"/>
                  </a:lnTo>
                  <a:lnTo>
                    <a:pt x="1020930" y="14846"/>
                  </a:lnTo>
                  <a:lnTo>
                    <a:pt x="1036669" y="11817"/>
                  </a:lnTo>
                  <a:lnTo>
                    <a:pt x="1052569" y="9103"/>
                  </a:lnTo>
                  <a:lnTo>
                    <a:pt x="1068636" y="6703"/>
                  </a:lnTo>
                  <a:lnTo>
                    <a:pt x="1084850" y="4627"/>
                  </a:lnTo>
                  <a:lnTo>
                    <a:pt x="1101202" y="2875"/>
                  </a:lnTo>
                  <a:lnTo>
                    <a:pt x="1117688" y="1460"/>
                  </a:lnTo>
                  <a:lnTo>
                    <a:pt x="1134298" y="379"/>
                  </a:lnTo>
                  <a:lnTo>
                    <a:pt x="114300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90A942-83AC-241F-6E87-AC632C780A70}"/>
                </a:ext>
              </a:extLst>
            </p:cNvPr>
            <p:cNvSpPr/>
            <p:nvPr userDrawn="1"/>
          </p:nvSpPr>
          <p:spPr>
            <a:xfrm>
              <a:off x="11900272" y="5542060"/>
              <a:ext cx="291728" cy="787651"/>
            </a:xfrm>
            <a:custGeom>
              <a:avLst/>
              <a:gdLst>
                <a:gd name="connsiteX0" fmla="*/ 291728 w 291728"/>
                <a:gd name="connsiteY0" fmla="*/ 0 h 787651"/>
                <a:gd name="connsiteX1" fmla="*/ 291728 w 291728"/>
                <a:gd name="connsiteY1" fmla="*/ 79686 h 787651"/>
                <a:gd name="connsiteX2" fmla="*/ 280245 w 291728"/>
                <a:gd name="connsiteY2" fmla="*/ 87145 h 787651"/>
                <a:gd name="connsiteX3" fmla="*/ 267707 w 291728"/>
                <a:gd name="connsiteY3" fmla="*/ 96031 h 787651"/>
                <a:gd name="connsiteX4" fmla="*/ 255540 w 291728"/>
                <a:gd name="connsiteY4" fmla="*/ 105422 h 787651"/>
                <a:gd name="connsiteX5" fmla="*/ 243754 w 291728"/>
                <a:gd name="connsiteY5" fmla="*/ 115322 h 787651"/>
                <a:gd name="connsiteX6" fmla="*/ 232388 w 291728"/>
                <a:gd name="connsiteY6" fmla="*/ 125712 h 787651"/>
                <a:gd name="connsiteX7" fmla="*/ 221450 w 291728"/>
                <a:gd name="connsiteY7" fmla="*/ 136598 h 787651"/>
                <a:gd name="connsiteX8" fmla="*/ 210968 w 291728"/>
                <a:gd name="connsiteY8" fmla="*/ 147970 h 787651"/>
                <a:gd name="connsiteX9" fmla="*/ 200968 w 291728"/>
                <a:gd name="connsiteY9" fmla="*/ 159822 h 787651"/>
                <a:gd name="connsiteX10" fmla="*/ 191468 w 291728"/>
                <a:gd name="connsiteY10" fmla="*/ 172151 h 787651"/>
                <a:gd name="connsiteX11" fmla="*/ 182497 w 291728"/>
                <a:gd name="connsiteY11" fmla="*/ 184946 h 787651"/>
                <a:gd name="connsiteX12" fmla="*/ 174068 w 291728"/>
                <a:gd name="connsiteY12" fmla="*/ 198208 h 787651"/>
                <a:gd name="connsiteX13" fmla="*/ 166206 w 291728"/>
                <a:gd name="connsiteY13" fmla="*/ 211928 h 787651"/>
                <a:gd name="connsiteX14" fmla="*/ 158940 w 291728"/>
                <a:gd name="connsiteY14" fmla="*/ 226099 h 787651"/>
                <a:gd name="connsiteX15" fmla="*/ 152282 w 291728"/>
                <a:gd name="connsiteY15" fmla="*/ 240713 h 787651"/>
                <a:gd name="connsiteX16" fmla="*/ 146268 w 291728"/>
                <a:gd name="connsiteY16" fmla="*/ 255775 h 787651"/>
                <a:gd name="connsiteX17" fmla="*/ 140906 w 291728"/>
                <a:gd name="connsiteY17" fmla="*/ 271271 h 787651"/>
                <a:gd name="connsiteX18" fmla="*/ 136230 w 291728"/>
                <a:gd name="connsiteY18" fmla="*/ 287195 h 787651"/>
                <a:gd name="connsiteX19" fmla="*/ 132258 w 291728"/>
                <a:gd name="connsiteY19" fmla="*/ 303547 h 787651"/>
                <a:gd name="connsiteX20" fmla="*/ 129011 w 291728"/>
                <a:gd name="connsiteY20" fmla="*/ 320314 h 787651"/>
                <a:gd name="connsiteX21" fmla="*/ 126515 w 291728"/>
                <a:gd name="connsiteY21" fmla="*/ 337495 h 787651"/>
                <a:gd name="connsiteX22" fmla="*/ 124787 w 291728"/>
                <a:gd name="connsiteY22" fmla="*/ 355086 h 787651"/>
                <a:gd name="connsiteX23" fmla="*/ 123853 w 291728"/>
                <a:gd name="connsiteY23" fmla="*/ 373081 h 787651"/>
                <a:gd name="connsiteX24" fmla="*/ 123739 w 291728"/>
                <a:gd name="connsiteY24" fmla="*/ 391467 h 787651"/>
                <a:gd name="connsiteX25" fmla="*/ 124463 w 291728"/>
                <a:gd name="connsiteY25" fmla="*/ 410248 h 787651"/>
                <a:gd name="connsiteX26" fmla="*/ 126049 w 291728"/>
                <a:gd name="connsiteY26" fmla="*/ 429415 h 787651"/>
                <a:gd name="connsiteX27" fmla="*/ 128515 w 291728"/>
                <a:gd name="connsiteY27" fmla="*/ 448963 h 787651"/>
                <a:gd name="connsiteX28" fmla="*/ 131892 w 291728"/>
                <a:gd name="connsiteY28" fmla="*/ 468882 h 787651"/>
                <a:gd name="connsiteX29" fmla="*/ 153078 w 291728"/>
                <a:gd name="connsiteY29" fmla="*/ 570835 h 787651"/>
                <a:gd name="connsiteX30" fmla="*/ 178054 w 291728"/>
                <a:gd name="connsiteY30" fmla="*/ 634326 h 787651"/>
                <a:gd name="connsiteX31" fmla="*/ 222940 w 291728"/>
                <a:gd name="connsiteY31" fmla="*/ 685903 h 787651"/>
                <a:gd name="connsiteX32" fmla="*/ 291728 w 291728"/>
                <a:gd name="connsiteY32" fmla="*/ 751682 h 787651"/>
                <a:gd name="connsiteX33" fmla="*/ 291728 w 291728"/>
                <a:gd name="connsiteY33" fmla="*/ 758691 h 787651"/>
                <a:gd name="connsiteX34" fmla="*/ 277964 w 291728"/>
                <a:gd name="connsiteY34" fmla="*/ 765694 h 787651"/>
                <a:gd name="connsiteX35" fmla="*/ 253416 w 291728"/>
                <a:gd name="connsiteY35" fmla="*/ 775994 h 787651"/>
                <a:gd name="connsiteX36" fmla="*/ 228083 w 291728"/>
                <a:gd name="connsiteY36" fmla="*/ 782704 h 787651"/>
                <a:gd name="connsiteX37" fmla="*/ 202111 w 291728"/>
                <a:gd name="connsiteY37" fmla="*/ 786389 h 787651"/>
                <a:gd name="connsiteX38" fmla="*/ 186368 w 291728"/>
                <a:gd name="connsiteY38" fmla="*/ 787651 h 787651"/>
                <a:gd name="connsiteX39" fmla="*/ 174487 w 291728"/>
                <a:gd name="connsiteY39" fmla="*/ 786518 h 787651"/>
                <a:gd name="connsiteX40" fmla="*/ 160082 w 291728"/>
                <a:gd name="connsiteY40" fmla="*/ 783013 h 787651"/>
                <a:gd name="connsiteX41" fmla="*/ 149001 w 291728"/>
                <a:gd name="connsiteY41" fmla="*/ 771023 h 787651"/>
                <a:gd name="connsiteX42" fmla="*/ 131082 w 291728"/>
                <a:gd name="connsiteY42" fmla="*/ 750798 h 787651"/>
                <a:gd name="connsiteX43" fmla="*/ 119772 w 291728"/>
                <a:gd name="connsiteY43" fmla="*/ 736813 h 787651"/>
                <a:gd name="connsiteX44" fmla="*/ 108930 w 291728"/>
                <a:gd name="connsiteY44" fmla="*/ 722574 h 787651"/>
                <a:gd name="connsiteX45" fmla="*/ 98553 w 291728"/>
                <a:gd name="connsiteY45" fmla="*/ 708098 h 787651"/>
                <a:gd name="connsiteX46" fmla="*/ 88653 w 291728"/>
                <a:gd name="connsiteY46" fmla="*/ 693393 h 787651"/>
                <a:gd name="connsiteX47" fmla="*/ 79234 w 291728"/>
                <a:gd name="connsiteY47" fmla="*/ 678474 h 787651"/>
                <a:gd name="connsiteX48" fmla="*/ 70306 w 291728"/>
                <a:gd name="connsiteY48" fmla="*/ 663350 h 787651"/>
                <a:gd name="connsiteX49" fmla="*/ 61877 w 291728"/>
                <a:gd name="connsiteY49" fmla="*/ 648045 h 787651"/>
                <a:gd name="connsiteX50" fmla="*/ 53953 w 291728"/>
                <a:gd name="connsiteY50" fmla="*/ 632564 h 787651"/>
                <a:gd name="connsiteX51" fmla="*/ 46539 w 291728"/>
                <a:gd name="connsiteY51" fmla="*/ 616926 h 787651"/>
                <a:gd name="connsiteX52" fmla="*/ 39643 w 291728"/>
                <a:gd name="connsiteY52" fmla="*/ 601140 h 787651"/>
                <a:gd name="connsiteX53" fmla="*/ 33272 w 291728"/>
                <a:gd name="connsiteY53" fmla="*/ 585221 h 787651"/>
                <a:gd name="connsiteX54" fmla="*/ 27438 w 291728"/>
                <a:gd name="connsiteY54" fmla="*/ 569183 h 787651"/>
                <a:gd name="connsiteX55" fmla="*/ 22143 w 291728"/>
                <a:gd name="connsiteY55" fmla="*/ 553040 h 787651"/>
                <a:gd name="connsiteX56" fmla="*/ 17396 w 291728"/>
                <a:gd name="connsiteY56" fmla="*/ 536806 h 787651"/>
                <a:gd name="connsiteX57" fmla="*/ 13205 w 291728"/>
                <a:gd name="connsiteY57" fmla="*/ 520497 h 787651"/>
                <a:gd name="connsiteX58" fmla="*/ 9572 w 291728"/>
                <a:gd name="connsiteY58" fmla="*/ 504120 h 787651"/>
                <a:gd name="connsiteX59" fmla="*/ 6514 w 291728"/>
                <a:gd name="connsiteY59" fmla="*/ 487692 h 787651"/>
                <a:gd name="connsiteX60" fmla="*/ 4029 w 291728"/>
                <a:gd name="connsiteY60" fmla="*/ 471225 h 787651"/>
                <a:gd name="connsiteX61" fmla="*/ 2129 w 291728"/>
                <a:gd name="connsiteY61" fmla="*/ 454734 h 787651"/>
                <a:gd name="connsiteX62" fmla="*/ 819 w 291728"/>
                <a:gd name="connsiteY62" fmla="*/ 438234 h 787651"/>
                <a:gd name="connsiteX63" fmla="*/ 105 w 291728"/>
                <a:gd name="connsiteY63" fmla="*/ 421739 h 787651"/>
                <a:gd name="connsiteX64" fmla="*/ 0 w 291728"/>
                <a:gd name="connsiteY64" fmla="*/ 405258 h 787651"/>
                <a:gd name="connsiteX65" fmla="*/ 505 w 291728"/>
                <a:gd name="connsiteY65" fmla="*/ 388810 h 787651"/>
                <a:gd name="connsiteX66" fmla="*/ 1634 w 291728"/>
                <a:gd name="connsiteY66" fmla="*/ 372405 h 787651"/>
                <a:gd name="connsiteX67" fmla="*/ 3386 w 291728"/>
                <a:gd name="connsiteY67" fmla="*/ 356057 h 787651"/>
                <a:gd name="connsiteX68" fmla="*/ 5772 w 291728"/>
                <a:gd name="connsiteY68" fmla="*/ 339781 h 787651"/>
                <a:gd name="connsiteX69" fmla="*/ 8800 w 291728"/>
                <a:gd name="connsiteY69" fmla="*/ 323585 h 787651"/>
                <a:gd name="connsiteX70" fmla="*/ 12477 w 291728"/>
                <a:gd name="connsiteY70" fmla="*/ 307495 h 787651"/>
                <a:gd name="connsiteX71" fmla="*/ 16810 w 291728"/>
                <a:gd name="connsiteY71" fmla="*/ 291514 h 787651"/>
                <a:gd name="connsiteX72" fmla="*/ 21805 w 291728"/>
                <a:gd name="connsiteY72" fmla="*/ 275657 h 787651"/>
                <a:gd name="connsiteX73" fmla="*/ 27467 w 291728"/>
                <a:gd name="connsiteY73" fmla="*/ 259937 h 787651"/>
                <a:gd name="connsiteX74" fmla="*/ 33810 w 291728"/>
                <a:gd name="connsiteY74" fmla="*/ 244371 h 787651"/>
                <a:gd name="connsiteX75" fmla="*/ 40839 w 291728"/>
                <a:gd name="connsiteY75" fmla="*/ 228975 h 787651"/>
                <a:gd name="connsiteX76" fmla="*/ 48558 w 291728"/>
                <a:gd name="connsiteY76" fmla="*/ 213751 h 787651"/>
                <a:gd name="connsiteX77" fmla="*/ 56972 w 291728"/>
                <a:gd name="connsiteY77" fmla="*/ 198727 h 787651"/>
                <a:gd name="connsiteX78" fmla="*/ 66096 w 291728"/>
                <a:gd name="connsiteY78" fmla="*/ 183908 h 787651"/>
                <a:gd name="connsiteX79" fmla="*/ 75934 w 291728"/>
                <a:gd name="connsiteY79" fmla="*/ 169308 h 787651"/>
                <a:gd name="connsiteX80" fmla="*/ 86491 w 291728"/>
                <a:gd name="connsiteY80" fmla="*/ 154941 h 787651"/>
                <a:gd name="connsiteX81" fmla="*/ 97772 w 291728"/>
                <a:gd name="connsiteY81" fmla="*/ 140827 h 787651"/>
                <a:gd name="connsiteX82" fmla="*/ 109792 w 291728"/>
                <a:gd name="connsiteY82" fmla="*/ 126970 h 787651"/>
                <a:gd name="connsiteX83" fmla="*/ 122554 w 291728"/>
                <a:gd name="connsiteY83" fmla="*/ 113388 h 787651"/>
                <a:gd name="connsiteX84" fmla="*/ 136063 w 291728"/>
                <a:gd name="connsiteY84" fmla="*/ 100093 h 787651"/>
                <a:gd name="connsiteX85" fmla="*/ 150330 w 291728"/>
                <a:gd name="connsiteY85" fmla="*/ 87102 h 787651"/>
                <a:gd name="connsiteX86" fmla="*/ 165363 w 291728"/>
                <a:gd name="connsiteY86" fmla="*/ 74426 h 787651"/>
                <a:gd name="connsiteX87" fmla="*/ 176763 w 291728"/>
                <a:gd name="connsiteY87" fmla="*/ 65460 h 787651"/>
                <a:gd name="connsiteX88" fmla="*/ 188754 w 291728"/>
                <a:gd name="connsiteY88" fmla="*/ 56621 h 787651"/>
                <a:gd name="connsiteX89" fmla="*/ 201321 w 291728"/>
                <a:gd name="connsiteY89" fmla="*/ 47950 h 787651"/>
                <a:gd name="connsiteX90" fmla="*/ 214450 w 291728"/>
                <a:gd name="connsiteY90" fmla="*/ 39478 h 787651"/>
                <a:gd name="connsiteX91" fmla="*/ 228135 w 291728"/>
                <a:gd name="connsiteY91" fmla="*/ 31245 h 787651"/>
                <a:gd name="connsiteX92" fmla="*/ 242354 w 291728"/>
                <a:gd name="connsiteY92" fmla="*/ 23288 h 787651"/>
                <a:gd name="connsiteX93" fmla="*/ 257097 w 291728"/>
                <a:gd name="connsiteY93" fmla="*/ 15645 h 787651"/>
                <a:gd name="connsiteX94" fmla="*/ 272350 w 291728"/>
                <a:gd name="connsiteY94" fmla="*/ 8350 h 787651"/>
                <a:gd name="connsiteX95" fmla="*/ 288107 w 291728"/>
                <a:gd name="connsiteY95" fmla="*/ 1445 h 787651"/>
                <a:gd name="connsiteX96" fmla="*/ 291728 w 291728"/>
                <a:gd name="connsiteY96" fmla="*/ 0 h 78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291728" h="787651">
                  <a:moveTo>
                    <a:pt x="291728" y="0"/>
                  </a:moveTo>
                  <a:lnTo>
                    <a:pt x="291728" y="79686"/>
                  </a:lnTo>
                  <a:lnTo>
                    <a:pt x="280245" y="87145"/>
                  </a:lnTo>
                  <a:lnTo>
                    <a:pt x="267707" y="96031"/>
                  </a:lnTo>
                  <a:lnTo>
                    <a:pt x="255540" y="105422"/>
                  </a:lnTo>
                  <a:lnTo>
                    <a:pt x="243754" y="115322"/>
                  </a:lnTo>
                  <a:lnTo>
                    <a:pt x="232388" y="125712"/>
                  </a:lnTo>
                  <a:lnTo>
                    <a:pt x="221450" y="136598"/>
                  </a:lnTo>
                  <a:lnTo>
                    <a:pt x="210968" y="147970"/>
                  </a:lnTo>
                  <a:lnTo>
                    <a:pt x="200968" y="159822"/>
                  </a:lnTo>
                  <a:lnTo>
                    <a:pt x="191468" y="172151"/>
                  </a:lnTo>
                  <a:lnTo>
                    <a:pt x="182497" y="184946"/>
                  </a:lnTo>
                  <a:lnTo>
                    <a:pt x="174068" y="198208"/>
                  </a:lnTo>
                  <a:lnTo>
                    <a:pt x="166206" y="211928"/>
                  </a:lnTo>
                  <a:lnTo>
                    <a:pt x="158940" y="226099"/>
                  </a:lnTo>
                  <a:lnTo>
                    <a:pt x="152282" y="240713"/>
                  </a:lnTo>
                  <a:lnTo>
                    <a:pt x="146268" y="255775"/>
                  </a:lnTo>
                  <a:lnTo>
                    <a:pt x="140906" y="271271"/>
                  </a:lnTo>
                  <a:lnTo>
                    <a:pt x="136230" y="287195"/>
                  </a:lnTo>
                  <a:lnTo>
                    <a:pt x="132258" y="303547"/>
                  </a:lnTo>
                  <a:lnTo>
                    <a:pt x="129011" y="320314"/>
                  </a:lnTo>
                  <a:lnTo>
                    <a:pt x="126515" y="337495"/>
                  </a:lnTo>
                  <a:lnTo>
                    <a:pt x="124787" y="355086"/>
                  </a:lnTo>
                  <a:lnTo>
                    <a:pt x="123853" y="373081"/>
                  </a:lnTo>
                  <a:lnTo>
                    <a:pt x="123739" y="391467"/>
                  </a:lnTo>
                  <a:lnTo>
                    <a:pt x="124463" y="410248"/>
                  </a:lnTo>
                  <a:lnTo>
                    <a:pt x="126049" y="429415"/>
                  </a:lnTo>
                  <a:lnTo>
                    <a:pt x="128515" y="448963"/>
                  </a:lnTo>
                  <a:lnTo>
                    <a:pt x="131892" y="468882"/>
                  </a:lnTo>
                  <a:lnTo>
                    <a:pt x="153078" y="570835"/>
                  </a:lnTo>
                  <a:lnTo>
                    <a:pt x="178054" y="634326"/>
                  </a:lnTo>
                  <a:lnTo>
                    <a:pt x="222940" y="685903"/>
                  </a:lnTo>
                  <a:lnTo>
                    <a:pt x="291728" y="751682"/>
                  </a:lnTo>
                  <a:lnTo>
                    <a:pt x="291728" y="758691"/>
                  </a:lnTo>
                  <a:lnTo>
                    <a:pt x="277964" y="765694"/>
                  </a:lnTo>
                  <a:lnTo>
                    <a:pt x="253416" y="775994"/>
                  </a:lnTo>
                  <a:lnTo>
                    <a:pt x="228083" y="782704"/>
                  </a:lnTo>
                  <a:lnTo>
                    <a:pt x="202111" y="786389"/>
                  </a:lnTo>
                  <a:lnTo>
                    <a:pt x="186368" y="787651"/>
                  </a:lnTo>
                  <a:lnTo>
                    <a:pt x="174487" y="786518"/>
                  </a:lnTo>
                  <a:lnTo>
                    <a:pt x="160082" y="783013"/>
                  </a:lnTo>
                  <a:lnTo>
                    <a:pt x="149001" y="771023"/>
                  </a:lnTo>
                  <a:lnTo>
                    <a:pt x="131082" y="750798"/>
                  </a:lnTo>
                  <a:lnTo>
                    <a:pt x="119772" y="736813"/>
                  </a:lnTo>
                  <a:lnTo>
                    <a:pt x="108930" y="722574"/>
                  </a:lnTo>
                  <a:lnTo>
                    <a:pt x="98553" y="708098"/>
                  </a:lnTo>
                  <a:lnTo>
                    <a:pt x="88653" y="693393"/>
                  </a:lnTo>
                  <a:lnTo>
                    <a:pt x="79234" y="678474"/>
                  </a:lnTo>
                  <a:lnTo>
                    <a:pt x="70306" y="663350"/>
                  </a:lnTo>
                  <a:lnTo>
                    <a:pt x="61877" y="648045"/>
                  </a:lnTo>
                  <a:lnTo>
                    <a:pt x="53953" y="632564"/>
                  </a:lnTo>
                  <a:lnTo>
                    <a:pt x="46539" y="616926"/>
                  </a:lnTo>
                  <a:lnTo>
                    <a:pt x="39643" y="601140"/>
                  </a:lnTo>
                  <a:lnTo>
                    <a:pt x="33272" y="585221"/>
                  </a:lnTo>
                  <a:lnTo>
                    <a:pt x="27438" y="569183"/>
                  </a:lnTo>
                  <a:lnTo>
                    <a:pt x="22143" y="553040"/>
                  </a:lnTo>
                  <a:lnTo>
                    <a:pt x="17396" y="536806"/>
                  </a:lnTo>
                  <a:lnTo>
                    <a:pt x="13205" y="520497"/>
                  </a:lnTo>
                  <a:lnTo>
                    <a:pt x="9572" y="504120"/>
                  </a:lnTo>
                  <a:lnTo>
                    <a:pt x="6514" y="487692"/>
                  </a:lnTo>
                  <a:lnTo>
                    <a:pt x="4029" y="471225"/>
                  </a:lnTo>
                  <a:lnTo>
                    <a:pt x="2129" y="454734"/>
                  </a:lnTo>
                  <a:lnTo>
                    <a:pt x="819" y="438234"/>
                  </a:lnTo>
                  <a:lnTo>
                    <a:pt x="105" y="421739"/>
                  </a:lnTo>
                  <a:lnTo>
                    <a:pt x="0" y="405258"/>
                  </a:lnTo>
                  <a:lnTo>
                    <a:pt x="505" y="388810"/>
                  </a:lnTo>
                  <a:lnTo>
                    <a:pt x="1634" y="372405"/>
                  </a:lnTo>
                  <a:lnTo>
                    <a:pt x="3386" y="356057"/>
                  </a:lnTo>
                  <a:lnTo>
                    <a:pt x="5772" y="339781"/>
                  </a:lnTo>
                  <a:lnTo>
                    <a:pt x="8800" y="323585"/>
                  </a:lnTo>
                  <a:lnTo>
                    <a:pt x="12477" y="307495"/>
                  </a:lnTo>
                  <a:lnTo>
                    <a:pt x="16810" y="291514"/>
                  </a:lnTo>
                  <a:lnTo>
                    <a:pt x="21805" y="275657"/>
                  </a:lnTo>
                  <a:lnTo>
                    <a:pt x="27467" y="259937"/>
                  </a:lnTo>
                  <a:lnTo>
                    <a:pt x="33810" y="244371"/>
                  </a:lnTo>
                  <a:lnTo>
                    <a:pt x="40839" y="228975"/>
                  </a:lnTo>
                  <a:lnTo>
                    <a:pt x="48558" y="213751"/>
                  </a:lnTo>
                  <a:lnTo>
                    <a:pt x="56972" y="198727"/>
                  </a:lnTo>
                  <a:lnTo>
                    <a:pt x="66096" y="183908"/>
                  </a:lnTo>
                  <a:lnTo>
                    <a:pt x="75934" y="169308"/>
                  </a:lnTo>
                  <a:lnTo>
                    <a:pt x="86491" y="154941"/>
                  </a:lnTo>
                  <a:lnTo>
                    <a:pt x="97772" y="140827"/>
                  </a:lnTo>
                  <a:lnTo>
                    <a:pt x="109792" y="126970"/>
                  </a:lnTo>
                  <a:lnTo>
                    <a:pt x="122554" y="113388"/>
                  </a:lnTo>
                  <a:lnTo>
                    <a:pt x="136063" y="100093"/>
                  </a:lnTo>
                  <a:lnTo>
                    <a:pt x="150330" y="87102"/>
                  </a:lnTo>
                  <a:lnTo>
                    <a:pt x="165363" y="74426"/>
                  </a:lnTo>
                  <a:lnTo>
                    <a:pt x="176763" y="65460"/>
                  </a:lnTo>
                  <a:lnTo>
                    <a:pt x="188754" y="56621"/>
                  </a:lnTo>
                  <a:lnTo>
                    <a:pt x="201321" y="47950"/>
                  </a:lnTo>
                  <a:lnTo>
                    <a:pt x="214450" y="39478"/>
                  </a:lnTo>
                  <a:lnTo>
                    <a:pt x="228135" y="31245"/>
                  </a:lnTo>
                  <a:lnTo>
                    <a:pt x="242354" y="23288"/>
                  </a:lnTo>
                  <a:lnTo>
                    <a:pt x="257097" y="15645"/>
                  </a:lnTo>
                  <a:lnTo>
                    <a:pt x="272350" y="8350"/>
                  </a:lnTo>
                  <a:lnTo>
                    <a:pt x="288107" y="1445"/>
                  </a:lnTo>
                  <a:lnTo>
                    <a:pt x="291728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9" name="Chart Placeholder 4">
            <a:extLst>
              <a:ext uri="{FF2B5EF4-FFF2-40B4-BE49-F238E27FC236}">
                <a16:creationId xmlns:a16="http://schemas.microsoft.com/office/drawing/2014/main" id="{FF5CB7D2-21FB-2AF7-33F3-FB8BB969D1A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15899" y="3836988"/>
            <a:ext cx="11758613" cy="2479675"/>
          </a:xfrm>
          <a:ln>
            <a:solidFill>
              <a:srgbClr val="CAB9A7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A0E8C12-A33D-384E-15B8-955117980D0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00399" y="383698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C8867DA1-83C0-A467-D477-370F478125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1752600"/>
            <a:ext cx="309562" cy="1428292"/>
          </a:xfrm>
        </p:spPr>
        <p:txBody>
          <a:bodyPr vert="vert270" wrap="none" lIns="0" tIns="180000" rIns="72000" bIns="0" anchor="b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486A00D-7273-E18E-29FA-602A0559A2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15900" y="4222750"/>
            <a:ext cx="309562" cy="1428292"/>
          </a:xfrm>
        </p:spPr>
        <p:txBody>
          <a:bodyPr vert="vert270" wrap="none" lIns="0" tIns="180000" rIns="72000" bIns="0" anchor="b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3FE3E14-26C7-3FE5-E491-54843ABCD0AF}"/>
              </a:ext>
            </a:extLst>
          </p:cNvPr>
          <p:cNvSpPr/>
          <p:nvPr userDrawn="1"/>
        </p:nvSpPr>
        <p:spPr>
          <a:xfrm>
            <a:off x="0" y="1313468"/>
            <a:ext cx="12192000" cy="119176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Chart Placeholder 4">
            <a:extLst>
              <a:ext uri="{FF2B5EF4-FFF2-40B4-BE49-F238E27FC236}">
                <a16:creationId xmlns:a16="http://schemas.microsoft.com/office/drawing/2014/main" id="{E153BED2-D1D0-9ECB-6BCF-8371DAC8105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15900" y="1366838"/>
            <a:ext cx="11758613" cy="2479675"/>
          </a:xfrm>
          <a:ln>
            <a:solidFill>
              <a:srgbClr val="CAB9A7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2B0A1E-CDDD-413F-B0D9-1F9FFC2C36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04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788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8" userDrawn="1">
          <p15:clr>
            <a:srgbClr val="FBAE40"/>
          </p15:clr>
        </p15:guide>
        <p15:guide id="2" pos="6912" userDrawn="1">
          <p15:clr>
            <a:srgbClr val="FBAE40"/>
          </p15:clr>
        </p15:guide>
        <p15:guide id="3" orient="horz" pos="1104" userDrawn="1">
          <p15:clr>
            <a:srgbClr val="FBAE40"/>
          </p15:clr>
        </p15:guide>
        <p15:guide id="4" orient="horz" pos="336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CC684487-180B-46EB-9A00-CB18D4E3934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15900" y="1366838"/>
            <a:ext cx="11758613" cy="2479675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1033B3D-C89B-45E6-93B3-B1C811BC4C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5400000">
            <a:off x="807473" y="1241154"/>
            <a:ext cx="309562" cy="1428292"/>
          </a:xfrm>
        </p:spPr>
        <p:txBody>
          <a:bodyPr vert="vert270" wrap="none" lIns="0" tIns="180000" rIns="72000" bIns="0" anchor="b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2B0A1E-CDDD-413F-B0D9-1F9FFC2C36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04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Chart Placeholder 4">
            <a:extLst>
              <a:ext uri="{FF2B5EF4-FFF2-40B4-BE49-F238E27FC236}">
                <a16:creationId xmlns:a16="http://schemas.microsoft.com/office/drawing/2014/main" id="{CD6E6315-B409-4CBE-9E92-956A70BFC309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215899" y="3836988"/>
            <a:ext cx="11758613" cy="2479675"/>
          </a:xfrm>
        </p:spPr>
        <p:txBody>
          <a:bodyPr/>
          <a:lstStyle/>
          <a:p>
            <a:endParaRPr lang="en-GB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6CA7C0E-20F2-DA1D-76DF-0C4AEFEB8AC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5400000">
            <a:off x="807472" y="3711304"/>
            <a:ext cx="309562" cy="1428292"/>
          </a:xfrm>
        </p:spPr>
        <p:txBody>
          <a:bodyPr vert="vert270" wrap="none" lIns="0" tIns="180000" rIns="72000" bIns="0" anchor="b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1DB3F39-5307-7580-3B93-212E2CC663B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00399" y="383698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5434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6" userDrawn="1">
          <p15:clr>
            <a:srgbClr val="FBAE40"/>
          </p15:clr>
        </p15:guide>
        <p15:guide id="2" pos="6624" userDrawn="1">
          <p15:clr>
            <a:srgbClr val="FBAE40"/>
          </p15:clr>
        </p15:guide>
        <p15:guide id="3" orient="horz" pos="1392" userDrawn="1">
          <p15:clr>
            <a:srgbClr val="FBAE40"/>
          </p15:clr>
        </p15:guide>
        <p15:guide id="4" orient="horz" pos="3360" userDrawn="1">
          <p15:clr>
            <a:srgbClr val="FBAE40"/>
          </p15:clr>
        </p15:guide>
        <p15:guide id="5" orient="horz" pos="242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CC684487-180B-46EB-9A00-CB18D4E3934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15900" y="1366838"/>
            <a:ext cx="5789613" cy="4949825"/>
          </a:xfrm>
        </p:spPr>
        <p:txBody>
          <a:bodyPr/>
          <a:lstStyle/>
          <a:p>
            <a:endParaRPr lang="en-GB"/>
          </a:p>
        </p:txBody>
      </p:sp>
      <p:sp>
        <p:nvSpPr>
          <p:cNvPr id="8" name="Chart Placeholder 4">
            <a:extLst>
              <a:ext uri="{FF2B5EF4-FFF2-40B4-BE49-F238E27FC236}">
                <a16:creationId xmlns:a16="http://schemas.microsoft.com/office/drawing/2014/main" id="{A913ABE9-59F7-4560-9008-D9F30916F6A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184900" y="1366838"/>
            <a:ext cx="5789613" cy="4949825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2939A65-C057-4305-B746-2B3D4F93F3B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159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6C9248-82BC-428C-8FF6-0B7A5C55D2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849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265AC93-3D27-3210-42D5-6C68EE2827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2829154"/>
            <a:ext cx="309562" cy="1428292"/>
          </a:xfrm>
        </p:spPr>
        <p:txBody>
          <a:bodyPr vert="vert270" wrap="none" lIns="0" tIns="180000" rIns="72000" bIns="0" anchor="b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A6BC17DC-806A-A1DD-D363-DCA2537A0F9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72200" y="2829154"/>
            <a:ext cx="309562" cy="1428292"/>
          </a:xfrm>
        </p:spPr>
        <p:txBody>
          <a:bodyPr vert="vert270" wrap="none" lIns="0" tIns="180000" rIns="72000" bIns="0" anchor="b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85895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25B72A-002C-4B66-4319-6DCC4F7EAC7F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2939A65-C057-4305-B746-2B3D4F93F3B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15900" y="3505200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6C9248-82BC-428C-8FF6-0B7A5C55D2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84900" y="3505200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A3BD71D8-9983-8A3B-E4C8-5C503CDB75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2829154"/>
            <a:ext cx="309562" cy="1428292"/>
          </a:xfrm>
        </p:spPr>
        <p:txBody>
          <a:bodyPr vert="vert270" wrap="none" lIns="0" tIns="180000" rIns="72000" bIns="0" anchor="b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69265282-C418-D386-F345-18DCD7BDFE3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72200" y="2829154"/>
            <a:ext cx="309562" cy="1428292"/>
          </a:xfrm>
        </p:spPr>
        <p:txBody>
          <a:bodyPr vert="vert270" wrap="none" lIns="0" tIns="180000" rIns="72000" bIns="0" anchor="b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DEF6E91-1B2D-F095-B0E4-5D3CB7BAE45C}"/>
              </a:ext>
            </a:extLst>
          </p:cNvPr>
          <p:cNvGrpSpPr/>
          <p:nvPr userDrawn="1"/>
        </p:nvGrpSpPr>
        <p:grpSpPr>
          <a:xfrm>
            <a:off x="11049000" y="4951958"/>
            <a:ext cx="1147784" cy="1400163"/>
            <a:chOff x="11049000" y="4929548"/>
            <a:chExt cx="1147784" cy="1400163"/>
          </a:xfrm>
          <a:solidFill>
            <a:schemeClr val="accent5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885E1-57F6-FCB7-F6AC-8E08BE7E61BD}"/>
                </a:ext>
              </a:extLst>
            </p:cNvPr>
            <p:cNvSpPr/>
            <p:nvPr userDrawn="1"/>
          </p:nvSpPr>
          <p:spPr>
            <a:xfrm>
              <a:off x="12192000" y="6293742"/>
              <a:ext cx="4784" cy="7009"/>
            </a:xfrm>
            <a:custGeom>
              <a:avLst/>
              <a:gdLst>
                <a:gd name="connsiteX0" fmla="*/ 0 w 4784"/>
                <a:gd name="connsiteY0" fmla="*/ 0 h 7009"/>
                <a:gd name="connsiteX1" fmla="*/ 4784 w 4784"/>
                <a:gd name="connsiteY1" fmla="*/ 4574 h 7009"/>
                <a:gd name="connsiteX2" fmla="*/ 0 w 4784"/>
                <a:gd name="connsiteY2" fmla="*/ 7009 h 7009"/>
                <a:gd name="connsiteX3" fmla="*/ 0 w 4784"/>
                <a:gd name="connsiteY3" fmla="*/ 0 h 7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4" h="7009">
                  <a:moveTo>
                    <a:pt x="0" y="0"/>
                  </a:moveTo>
                  <a:lnTo>
                    <a:pt x="4784" y="4574"/>
                  </a:lnTo>
                  <a:lnTo>
                    <a:pt x="0" y="70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3A51C61-3A97-4D39-5068-939E937E6208}"/>
                </a:ext>
              </a:extLst>
            </p:cNvPr>
            <p:cNvSpPr/>
            <p:nvPr userDrawn="1"/>
          </p:nvSpPr>
          <p:spPr>
            <a:xfrm>
              <a:off x="11049000" y="4929548"/>
              <a:ext cx="1143000" cy="1092840"/>
            </a:xfrm>
            <a:custGeom>
              <a:avLst/>
              <a:gdLst>
                <a:gd name="connsiteX0" fmla="*/ 1143000 w 1143000"/>
                <a:gd name="connsiteY0" fmla="*/ 0 h 1092840"/>
                <a:gd name="connsiteX1" fmla="*/ 1143000 w 1143000"/>
                <a:gd name="connsiteY1" fmla="*/ 99531 h 1092840"/>
                <a:gd name="connsiteX2" fmla="*/ 1131798 w 1143000"/>
                <a:gd name="connsiteY2" fmla="*/ 100952 h 1092840"/>
                <a:gd name="connsiteX3" fmla="*/ 1110140 w 1143000"/>
                <a:gd name="connsiteY3" fmla="*/ 104580 h 1092840"/>
                <a:gd name="connsiteX4" fmla="*/ 1089117 w 1143000"/>
                <a:gd name="connsiteY4" fmla="*/ 108980 h 1092840"/>
                <a:gd name="connsiteX5" fmla="*/ 1068712 w 1143000"/>
                <a:gd name="connsiteY5" fmla="*/ 114128 h 1092840"/>
                <a:gd name="connsiteX6" fmla="*/ 1048926 w 1143000"/>
                <a:gd name="connsiteY6" fmla="*/ 119990 h 1092840"/>
                <a:gd name="connsiteX7" fmla="*/ 1029745 w 1143000"/>
                <a:gd name="connsiteY7" fmla="*/ 126533 h 1092840"/>
                <a:gd name="connsiteX8" fmla="*/ 1011168 w 1143000"/>
                <a:gd name="connsiteY8" fmla="*/ 133733 h 1092840"/>
                <a:gd name="connsiteX9" fmla="*/ 993178 w 1143000"/>
                <a:gd name="connsiteY9" fmla="*/ 141561 h 1092840"/>
                <a:gd name="connsiteX10" fmla="*/ 975768 w 1143000"/>
                <a:gd name="connsiteY10" fmla="*/ 149980 h 1092840"/>
                <a:gd name="connsiteX11" fmla="*/ 958935 w 1143000"/>
                <a:gd name="connsiteY11" fmla="*/ 158966 h 1092840"/>
                <a:gd name="connsiteX12" fmla="*/ 942668 w 1143000"/>
                <a:gd name="connsiteY12" fmla="*/ 168485 h 1092840"/>
                <a:gd name="connsiteX13" fmla="*/ 926959 w 1143000"/>
                <a:gd name="connsiteY13" fmla="*/ 178514 h 1092840"/>
                <a:gd name="connsiteX14" fmla="*/ 911801 w 1143000"/>
                <a:gd name="connsiteY14" fmla="*/ 189019 h 1092840"/>
                <a:gd name="connsiteX15" fmla="*/ 897182 w 1143000"/>
                <a:gd name="connsiteY15" fmla="*/ 199971 h 1092840"/>
                <a:gd name="connsiteX16" fmla="*/ 883096 w 1143000"/>
                <a:gd name="connsiteY16" fmla="*/ 211338 h 1092840"/>
                <a:gd name="connsiteX17" fmla="*/ 869539 w 1143000"/>
                <a:gd name="connsiteY17" fmla="*/ 223095 h 1092840"/>
                <a:gd name="connsiteX18" fmla="*/ 856496 w 1143000"/>
                <a:gd name="connsiteY18" fmla="*/ 235205 h 1092840"/>
                <a:gd name="connsiteX19" fmla="*/ 843963 w 1143000"/>
                <a:gd name="connsiteY19" fmla="*/ 247648 h 1092840"/>
                <a:gd name="connsiteX20" fmla="*/ 831929 w 1143000"/>
                <a:gd name="connsiteY20" fmla="*/ 260386 h 1092840"/>
                <a:gd name="connsiteX21" fmla="*/ 820391 w 1143000"/>
                <a:gd name="connsiteY21" fmla="*/ 273391 h 1092840"/>
                <a:gd name="connsiteX22" fmla="*/ 809334 w 1143000"/>
                <a:gd name="connsiteY22" fmla="*/ 286639 h 1092840"/>
                <a:gd name="connsiteX23" fmla="*/ 798758 w 1143000"/>
                <a:gd name="connsiteY23" fmla="*/ 300091 h 1092840"/>
                <a:gd name="connsiteX24" fmla="*/ 788643 w 1143000"/>
                <a:gd name="connsiteY24" fmla="*/ 313725 h 1092840"/>
                <a:gd name="connsiteX25" fmla="*/ 778991 w 1143000"/>
                <a:gd name="connsiteY25" fmla="*/ 327511 h 1092840"/>
                <a:gd name="connsiteX26" fmla="*/ 769791 w 1143000"/>
                <a:gd name="connsiteY26" fmla="*/ 341415 h 1092840"/>
                <a:gd name="connsiteX27" fmla="*/ 761038 w 1143000"/>
                <a:gd name="connsiteY27" fmla="*/ 355406 h 1092840"/>
                <a:gd name="connsiteX28" fmla="*/ 752714 w 1143000"/>
                <a:gd name="connsiteY28" fmla="*/ 369458 h 1092840"/>
                <a:gd name="connsiteX29" fmla="*/ 744819 w 1143000"/>
                <a:gd name="connsiteY29" fmla="*/ 383544 h 1092840"/>
                <a:gd name="connsiteX30" fmla="*/ 737343 w 1143000"/>
                <a:gd name="connsiteY30" fmla="*/ 397630 h 1092840"/>
                <a:gd name="connsiteX31" fmla="*/ 730281 w 1143000"/>
                <a:gd name="connsiteY31" fmla="*/ 411688 h 1092840"/>
                <a:gd name="connsiteX32" fmla="*/ 723619 w 1143000"/>
                <a:gd name="connsiteY32" fmla="*/ 425683 h 1092840"/>
                <a:gd name="connsiteX33" fmla="*/ 717352 w 1143000"/>
                <a:gd name="connsiteY33" fmla="*/ 439592 h 1092840"/>
                <a:gd name="connsiteX34" fmla="*/ 711466 w 1143000"/>
                <a:gd name="connsiteY34" fmla="*/ 453388 h 1092840"/>
                <a:gd name="connsiteX35" fmla="*/ 705967 w 1143000"/>
                <a:gd name="connsiteY35" fmla="*/ 467031 h 1092840"/>
                <a:gd name="connsiteX36" fmla="*/ 700833 w 1143000"/>
                <a:gd name="connsiteY36" fmla="*/ 480498 h 1092840"/>
                <a:gd name="connsiteX37" fmla="*/ 691642 w 1143000"/>
                <a:gd name="connsiteY37" fmla="*/ 506779 h 1092840"/>
                <a:gd name="connsiteX38" fmla="*/ 683828 w 1143000"/>
                <a:gd name="connsiteY38" fmla="*/ 531998 h 1092840"/>
                <a:gd name="connsiteX39" fmla="*/ 677338 w 1143000"/>
                <a:gd name="connsiteY39" fmla="*/ 555908 h 1092840"/>
                <a:gd name="connsiteX40" fmla="*/ 672090 w 1143000"/>
                <a:gd name="connsiteY40" fmla="*/ 578279 h 1092840"/>
                <a:gd name="connsiteX41" fmla="*/ 668033 w 1143000"/>
                <a:gd name="connsiteY41" fmla="*/ 598870 h 1092840"/>
                <a:gd name="connsiteX42" fmla="*/ 665090 w 1143000"/>
                <a:gd name="connsiteY42" fmla="*/ 617446 h 1092840"/>
                <a:gd name="connsiteX43" fmla="*/ 662823 w 1143000"/>
                <a:gd name="connsiteY43" fmla="*/ 635299 h 1092840"/>
                <a:gd name="connsiteX44" fmla="*/ 660885 w 1143000"/>
                <a:gd name="connsiteY44" fmla="*/ 653561 h 1092840"/>
                <a:gd name="connsiteX45" fmla="*/ 659290 w 1143000"/>
                <a:gd name="connsiteY45" fmla="*/ 672180 h 1092840"/>
                <a:gd name="connsiteX46" fmla="*/ 658033 w 1143000"/>
                <a:gd name="connsiteY46" fmla="*/ 691113 h 1092840"/>
                <a:gd name="connsiteX47" fmla="*/ 657114 w 1143000"/>
                <a:gd name="connsiteY47" fmla="*/ 710313 h 1092840"/>
                <a:gd name="connsiteX48" fmla="*/ 656547 w 1143000"/>
                <a:gd name="connsiteY48" fmla="*/ 729728 h 1092840"/>
                <a:gd name="connsiteX49" fmla="*/ 656323 w 1143000"/>
                <a:gd name="connsiteY49" fmla="*/ 749314 h 1092840"/>
                <a:gd name="connsiteX50" fmla="*/ 656452 w 1143000"/>
                <a:gd name="connsiteY50" fmla="*/ 769024 h 1092840"/>
                <a:gd name="connsiteX51" fmla="*/ 656933 w 1143000"/>
                <a:gd name="connsiteY51" fmla="*/ 788809 h 1092840"/>
                <a:gd name="connsiteX52" fmla="*/ 657771 w 1143000"/>
                <a:gd name="connsiteY52" fmla="*/ 808624 h 1092840"/>
                <a:gd name="connsiteX53" fmla="*/ 658966 w 1143000"/>
                <a:gd name="connsiteY53" fmla="*/ 828419 h 1092840"/>
                <a:gd name="connsiteX54" fmla="*/ 660528 w 1143000"/>
                <a:gd name="connsiteY54" fmla="*/ 848153 h 1092840"/>
                <a:gd name="connsiteX55" fmla="*/ 662452 w 1143000"/>
                <a:gd name="connsiteY55" fmla="*/ 867767 h 1092840"/>
                <a:gd name="connsiteX56" fmla="*/ 664742 w 1143000"/>
                <a:gd name="connsiteY56" fmla="*/ 887225 h 1092840"/>
                <a:gd name="connsiteX57" fmla="*/ 667404 w 1143000"/>
                <a:gd name="connsiteY57" fmla="*/ 906473 h 1092840"/>
                <a:gd name="connsiteX58" fmla="*/ 670438 w 1143000"/>
                <a:gd name="connsiteY58" fmla="*/ 925463 h 1092840"/>
                <a:gd name="connsiteX59" fmla="*/ 673847 w 1143000"/>
                <a:gd name="connsiteY59" fmla="*/ 944154 h 1092840"/>
                <a:gd name="connsiteX60" fmla="*/ 677638 w 1143000"/>
                <a:gd name="connsiteY60" fmla="*/ 962497 h 1092840"/>
                <a:gd name="connsiteX61" fmla="*/ 681809 w 1143000"/>
                <a:gd name="connsiteY61" fmla="*/ 980440 h 1092840"/>
                <a:gd name="connsiteX62" fmla="*/ 686366 w 1143000"/>
                <a:gd name="connsiteY62" fmla="*/ 997940 h 1092840"/>
                <a:gd name="connsiteX63" fmla="*/ 691309 w 1143000"/>
                <a:gd name="connsiteY63" fmla="*/ 1014950 h 1092840"/>
                <a:gd name="connsiteX64" fmla="*/ 696638 w 1143000"/>
                <a:gd name="connsiteY64" fmla="*/ 1031421 h 1092840"/>
                <a:gd name="connsiteX65" fmla="*/ 702367 w 1143000"/>
                <a:gd name="connsiteY65" fmla="*/ 1047302 h 1092840"/>
                <a:gd name="connsiteX66" fmla="*/ 708486 w 1143000"/>
                <a:gd name="connsiteY66" fmla="*/ 1062554 h 1092840"/>
                <a:gd name="connsiteX67" fmla="*/ 715005 w 1143000"/>
                <a:gd name="connsiteY67" fmla="*/ 1077126 h 1092840"/>
                <a:gd name="connsiteX68" fmla="*/ 721924 w 1143000"/>
                <a:gd name="connsiteY68" fmla="*/ 1090969 h 1092840"/>
                <a:gd name="connsiteX69" fmla="*/ 706938 w 1143000"/>
                <a:gd name="connsiteY69" fmla="*/ 1092007 h 1092840"/>
                <a:gd name="connsiteX70" fmla="*/ 692000 w 1143000"/>
                <a:gd name="connsiteY70" fmla="*/ 1092636 h 1092840"/>
                <a:gd name="connsiteX71" fmla="*/ 677123 w 1143000"/>
                <a:gd name="connsiteY71" fmla="*/ 1092840 h 1092840"/>
                <a:gd name="connsiteX72" fmla="*/ 662328 w 1143000"/>
                <a:gd name="connsiteY72" fmla="*/ 1092621 h 1092840"/>
                <a:gd name="connsiteX73" fmla="*/ 647623 w 1143000"/>
                <a:gd name="connsiteY73" fmla="*/ 1091965 h 1092840"/>
                <a:gd name="connsiteX74" fmla="*/ 633023 w 1143000"/>
                <a:gd name="connsiteY74" fmla="*/ 1090860 h 1092840"/>
                <a:gd name="connsiteX75" fmla="*/ 618542 w 1143000"/>
                <a:gd name="connsiteY75" fmla="*/ 1089302 h 1092840"/>
                <a:gd name="connsiteX76" fmla="*/ 604195 w 1143000"/>
                <a:gd name="connsiteY76" fmla="*/ 1087284 h 1092840"/>
                <a:gd name="connsiteX77" fmla="*/ 589989 w 1143000"/>
                <a:gd name="connsiteY77" fmla="*/ 1084793 h 1092840"/>
                <a:gd name="connsiteX78" fmla="*/ 575951 w 1143000"/>
                <a:gd name="connsiteY78" fmla="*/ 1081826 h 1092840"/>
                <a:gd name="connsiteX79" fmla="*/ 548403 w 1143000"/>
                <a:gd name="connsiteY79" fmla="*/ 1074417 h 1092840"/>
                <a:gd name="connsiteX80" fmla="*/ 521665 w 1143000"/>
                <a:gd name="connsiteY80" fmla="*/ 1064988 h 1092840"/>
                <a:gd name="connsiteX81" fmla="*/ 495846 w 1143000"/>
                <a:gd name="connsiteY81" fmla="*/ 1053474 h 1092840"/>
                <a:gd name="connsiteX82" fmla="*/ 471055 w 1143000"/>
                <a:gd name="connsiteY82" fmla="*/ 1039812 h 1092840"/>
                <a:gd name="connsiteX83" fmla="*/ 447408 w 1143000"/>
                <a:gd name="connsiteY83" fmla="*/ 1023926 h 1092840"/>
                <a:gd name="connsiteX84" fmla="*/ 436041 w 1143000"/>
                <a:gd name="connsiteY84" fmla="*/ 1015130 h 1092840"/>
                <a:gd name="connsiteX85" fmla="*/ 425003 w 1143000"/>
                <a:gd name="connsiteY85" fmla="*/ 1005754 h 1092840"/>
                <a:gd name="connsiteX86" fmla="*/ 414307 w 1143000"/>
                <a:gd name="connsiteY86" fmla="*/ 995788 h 1092840"/>
                <a:gd name="connsiteX87" fmla="*/ 403964 w 1143000"/>
                <a:gd name="connsiteY87" fmla="*/ 985225 h 1092840"/>
                <a:gd name="connsiteX88" fmla="*/ 393988 w 1143000"/>
                <a:gd name="connsiteY88" fmla="*/ 974059 h 1092840"/>
                <a:gd name="connsiteX89" fmla="*/ 384398 w 1143000"/>
                <a:gd name="connsiteY89" fmla="*/ 962278 h 1092840"/>
                <a:gd name="connsiteX90" fmla="*/ 375198 w 1143000"/>
                <a:gd name="connsiteY90" fmla="*/ 949873 h 1092840"/>
                <a:gd name="connsiteX91" fmla="*/ 366407 w 1143000"/>
                <a:gd name="connsiteY91" fmla="*/ 936839 h 1092840"/>
                <a:gd name="connsiteX92" fmla="*/ 358045 w 1143000"/>
                <a:gd name="connsiteY92" fmla="*/ 923163 h 1092840"/>
                <a:gd name="connsiteX93" fmla="*/ 350112 w 1143000"/>
                <a:gd name="connsiteY93" fmla="*/ 908839 h 1092840"/>
                <a:gd name="connsiteX94" fmla="*/ 342636 w 1143000"/>
                <a:gd name="connsiteY94" fmla="*/ 893863 h 1092840"/>
                <a:gd name="connsiteX95" fmla="*/ 335621 w 1143000"/>
                <a:gd name="connsiteY95" fmla="*/ 878220 h 1092840"/>
                <a:gd name="connsiteX96" fmla="*/ 329088 w 1143000"/>
                <a:gd name="connsiteY96" fmla="*/ 861905 h 1092840"/>
                <a:gd name="connsiteX97" fmla="*/ 323045 w 1143000"/>
                <a:gd name="connsiteY97" fmla="*/ 844910 h 1092840"/>
                <a:gd name="connsiteX98" fmla="*/ 317507 w 1143000"/>
                <a:gd name="connsiteY98" fmla="*/ 827224 h 1092840"/>
                <a:gd name="connsiteX99" fmla="*/ 312493 w 1143000"/>
                <a:gd name="connsiteY99" fmla="*/ 808838 h 1092840"/>
                <a:gd name="connsiteX100" fmla="*/ 308007 w 1143000"/>
                <a:gd name="connsiteY100" fmla="*/ 789748 h 1092840"/>
                <a:gd name="connsiteX101" fmla="*/ 304073 w 1143000"/>
                <a:gd name="connsiteY101" fmla="*/ 769938 h 1092840"/>
                <a:gd name="connsiteX102" fmla="*/ 300697 w 1143000"/>
                <a:gd name="connsiteY102" fmla="*/ 749409 h 1092840"/>
                <a:gd name="connsiteX103" fmla="*/ 297902 w 1143000"/>
                <a:gd name="connsiteY103" fmla="*/ 728147 h 1092840"/>
                <a:gd name="connsiteX104" fmla="*/ 295687 w 1143000"/>
                <a:gd name="connsiteY104" fmla="*/ 706147 h 1092840"/>
                <a:gd name="connsiteX105" fmla="*/ 294083 w 1143000"/>
                <a:gd name="connsiteY105" fmla="*/ 683394 h 1092840"/>
                <a:gd name="connsiteX106" fmla="*/ 293092 w 1143000"/>
                <a:gd name="connsiteY106" fmla="*/ 659884 h 1092840"/>
                <a:gd name="connsiteX107" fmla="*/ 292731 w 1143000"/>
                <a:gd name="connsiteY107" fmla="*/ 635613 h 1092840"/>
                <a:gd name="connsiteX108" fmla="*/ 293016 w 1143000"/>
                <a:gd name="connsiteY108" fmla="*/ 610565 h 1092840"/>
                <a:gd name="connsiteX109" fmla="*/ 271916 w 1143000"/>
                <a:gd name="connsiteY109" fmla="*/ 609608 h 1092840"/>
                <a:gd name="connsiteX110" fmla="*/ 251459 w 1143000"/>
                <a:gd name="connsiteY110" fmla="*/ 607641 h 1092840"/>
                <a:gd name="connsiteX111" fmla="*/ 231649 w 1143000"/>
                <a:gd name="connsiteY111" fmla="*/ 604694 h 1092840"/>
                <a:gd name="connsiteX112" fmla="*/ 212506 w 1143000"/>
                <a:gd name="connsiteY112" fmla="*/ 600779 h 1092840"/>
                <a:gd name="connsiteX113" fmla="*/ 194020 w 1143000"/>
                <a:gd name="connsiteY113" fmla="*/ 595917 h 1092840"/>
                <a:gd name="connsiteX114" fmla="*/ 176210 w 1143000"/>
                <a:gd name="connsiteY114" fmla="*/ 590132 h 1092840"/>
                <a:gd name="connsiteX115" fmla="*/ 159082 w 1143000"/>
                <a:gd name="connsiteY115" fmla="*/ 583437 h 1092840"/>
                <a:gd name="connsiteX116" fmla="*/ 142634 w 1143000"/>
                <a:gd name="connsiteY116" fmla="*/ 575860 h 1092840"/>
                <a:gd name="connsiteX117" fmla="*/ 126877 w 1143000"/>
                <a:gd name="connsiteY117" fmla="*/ 567417 h 1092840"/>
                <a:gd name="connsiteX118" fmla="*/ 111820 w 1143000"/>
                <a:gd name="connsiteY118" fmla="*/ 558127 h 1092840"/>
                <a:gd name="connsiteX119" fmla="*/ 97462 w 1143000"/>
                <a:gd name="connsiteY119" fmla="*/ 548012 h 1092840"/>
                <a:gd name="connsiteX120" fmla="*/ 83820 w 1143000"/>
                <a:gd name="connsiteY120" fmla="*/ 537093 h 1092840"/>
                <a:gd name="connsiteX121" fmla="*/ 70896 w 1143000"/>
                <a:gd name="connsiteY121" fmla="*/ 525393 h 1092840"/>
                <a:gd name="connsiteX122" fmla="*/ 58696 w 1143000"/>
                <a:gd name="connsiteY122" fmla="*/ 512922 h 1092840"/>
                <a:gd name="connsiteX123" fmla="*/ 47224 w 1143000"/>
                <a:gd name="connsiteY123" fmla="*/ 499707 h 1092840"/>
                <a:gd name="connsiteX124" fmla="*/ 36491 w 1143000"/>
                <a:gd name="connsiteY124" fmla="*/ 485769 h 1092840"/>
                <a:gd name="connsiteX125" fmla="*/ 26500 w 1143000"/>
                <a:gd name="connsiteY125" fmla="*/ 471131 h 1092840"/>
                <a:gd name="connsiteX126" fmla="*/ 17262 w 1143000"/>
                <a:gd name="connsiteY126" fmla="*/ 455802 h 1092840"/>
                <a:gd name="connsiteX127" fmla="*/ 8781 w 1143000"/>
                <a:gd name="connsiteY127" fmla="*/ 439811 h 1092840"/>
                <a:gd name="connsiteX128" fmla="*/ 0 w 1143000"/>
                <a:gd name="connsiteY128" fmla="*/ 419692 h 1092840"/>
                <a:gd name="connsiteX129" fmla="*/ 500 w 1143000"/>
                <a:gd name="connsiteY129" fmla="*/ 417887 h 1092840"/>
                <a:gd name="connsiteX130" fmla="*/ 11771 w 1143000"/>
                <a:gd name="connsiteY130" fmla="*/ 429583 h 1092840"/>
                <a:gd name="connsiteX131" fmla="*/ 23705 w 1143000"/>
                <a:gd name="connsiteY131" fmla="*/ 440735 h 1092840"/>
                <a:gd name="connsiteX132" fmla="*/ 36276 w 1143000"/>
                <a:gd name="connsiteY132" fmla="*/ 451340 h 1092840"/>
                <a:gd name="connsiteX133" fmla="*/ 49453 w 1143000"/>
                <a:gd name="connsiteY133" fmla="*/ 461373 h 1092840"/>
                <a:gd name="connsiteX134" fmla="*/ 63215 w 1143000"/>
                <a:gd name="connsiteY134" fmla="*/ 470831 h 1092840"/>
                <a:gd name="connsiteX135" fmla="*/ 77524 w 1143000"/>
                <a:gd name="connsiteY135" fmla="*/ 479693 h 1092840"/>
                <a:gd name="connsiteX136" fmla="*/ 92367 w 1143000"/>
                <a:gd name="connsiteY136" fmla="*/ 487945 h 1092840"/>
                <a:gd name="connsiteX137" fmla="*/ 107705 w 1143000"/>
                <a:gd name="connsiteY137" fmla="*/ 495579 h 1092840"/>
                <a:gd name="connsiteX138" fmla="*/ 123515 w 1143000"/>
                <a:gd name="connsiteY138" fmla="*/ 502579 h 1092840"/>
                <a:gd name="connsiteX139" fmla="*/ 139767 w 1143000"/>
                <a:gd name="connsiteY139" fmla="*/ 508931 h 1092840"/>
                <a:gd name="connsiteX140" fmla="*/ 156439 w 1143000"/>
                <a:gd name="connsiteY140" fmla="*/ 514622 h 1092840"/>
                <a:gd name="connsiteX141" fmla="*/ 173496 w 1143000"/>
                <a:gd name="connsiteY141" fmla="*/ 519636 h 1092840"/>
                <a:gd name="connsiteX142" fmla="*/ 190915 w 1143000"/>
                <a:gd name="connsiteY142" fmla="*/ 523964 h 1092840"/>
                <a:gd name="connsiteX143" fmla="*/ 208673 w 1143000"/>
                <a:gd name="connsiteY143" fmla="*/ 527593 h 1092840"/>
                <a:gd name="connsiteX144" fmla="*/ 226730 w 1143000"/>
                <a:gd name="connsiteY144" fmla="*/ 530502 h 1092840"/>
                <a:gd name="connsiteX145" fmla="*/ 245073 w 1143000"/>
                <a:gd name="connsiteY145" fmla="*/ 532688 h 1092840"/>
                <a:gd name="connsiteX146" fmla="*/ 263664 w 1143000"/>
                <a:gd name="connsiteY146" fmla="*/ 534131 h 1092840"/>
                <a:gd name="connsiteX147" fmla="*/ 282478 w 1143000"/>
                <a:gd name="connsiteY147" fmla="*/ 534817 h 1092840"/>
                <a:gd name="connsiteX148" fmla="*/ 301488 w 1143000"/>
                <a:gd name="connsiteY148" fmla="*/ 534736 h 1092840"/>
                <a:gd name="connsiteX149" fmla="*/ 320669 w 1143000"/>
                <a:gd name="connsiteY149" fmla="*/ 533869 h 1092840"/>
                <a:gd name="connsiteX150" fmla="*/ 339993 w 1143000"/>
                <a:gd name="connsiteY150" fmla="*/ 532212 h 1092840"/>
                <a:gd name="connsiteX151" fmla="*/ 359431 w 1143000"/>
                <a:gd name="connsiteY151" fmla="*/ 529741 h 1092840"/>
                <a:gd name="connsiteX152" fmla="*/ 378955 w 1143000"/>
                <a:gd name="connsiteY152" fmla="*/ 526450 h 1092840"/>
                <a:gd name="connsiteX153" fmla="*/ 409093 w 1143000"/>
                <a:gd name="connsiteY153" fmla="*/ 519712 h 1092840"/>
                <a:gd name="connsiteX154" fmla="*/ 429822 w 1143000"/>
                <a:gd name="connsiteY154" fmla="*/ 513912 h 1092840"/>
                <a:gd name="connsiteX155" fmla="*/ 439988 w 1143000"/>
                <a:gd name="connsiteY155" fmla="*/ 510722 h 1092840"/>
                <a:gd name="connsiteX156" fmla="*/ 433941 w 1143000"/>
                <a:gd name="connsiteY156" fmla="*/ 526388 h 1092840"/>
                <a:gd name="connsiteX157" fmla="*/ 428622 w 1143000"/>
                <a:gd name="connsiteY157" fmla="*/ 542650 h 1092840"/>
                <a:gd name="connsiteX158" fmla="*/ 424026 w 1143000"/>
                <a:gd name="connsiteY158" fmla="*/ 559446 h 1092840"/>
                <a:gd name="connsiteX159" fmla="*/ 420136 w 1143000"/>
                <a:gd name="connsiteY159" fmla="*/ 576722 h 1092840"/>
                <a:gd name="connsiteX160" fmla="*/ 416955 w 1143000"/>
                <a:gd name="connsiteY160" fmla="*/ 594408 h 1092840"/>
                <a:gd name="connsiteX161" fmla="*/ 414469 w 1143000"/>
                <a:gd name="connsiteY161" fmla="*/ 612451 h 1092840"/>
                <a:gd name="connsiteX162" fmla="*/ 412669 w 1143000"/>
                <a:gd name="connsiteY162" fmla="*/ 630785 h 1092840"/>
                <a:gd name="connsiteX163" fmla="*/ 411545 w 1143000"/>
                <a:gd name="connsiteY163" fmla="*/ 649351 h 1092840"/>
                <a:gd name="connsiteX164" fmla="*/ 411098 w 1143000"/>
                <a:gd name="connsiteY164" fmla="*/ 668089 h 1092840"/>
                <a:gd name="connsiteX165" fmla="*/ 411307 w 1143000"/>
                <a:gd name="connsiteY165" fmla="*/ 686942 h 1092840"/>
                <a:gd name="connsiteX166" fmla="*/ 412174 w 1143000"/>
                <a:gd name="connsiteY166" fmla="*/ 705842 h 1092840"/>
                <a:gd name="connsiteX167" fmla="*/ 413688 w 1143000"/>
                <a:gd name="connsiteY167" fmla="*/ 724733 h 1092840"/>
                <a:gd name="connsiteX168" fmla="*/ 415836 w 1143000"/>
                <a:gd name="connsiteY168" fmla="*/ 743557 h 1092840"/>
                <a:gd name="connsiteX169" fmla="*/ 418617 w 1143000"/>
                <a:gd name="connsiteY169" fmla="*/ 762243 h 1092840"/>
                <a:gd name="connsiteX170" fmla="*/ 422017 w 1143000"/>
                <a:gd name="connsiteY170" fmla="*/ 780743 h 1092840"/>
                <a:gd name="connsiteX171" fmla="*/ 426026 w 1143000"/>
                <a:gd name="connsiteY171" fmla="*/ 798986 h 1092840"/>
                <a:gd name="connsiteX172" fmla="*/ 430646 w 1143000"/>
                <a:gd name="connsiteY172" fmla="*/ 816919 h 1092840"/>
                <a:gd name="connsiteX173" fmla="*/ 435860 w 1143000"/>
                <a:gd name="connsiteY173" fmla="*/ 834481 h 1092840"/>
                <a:gd name="connsiteX174" fmla="*/ 441660 w 1143000"/>
                <a:gd name="connsiteY174" fmla="*/ 851605 h 1092840"/>
                <a:gd name="connsiteX175" fmla="*/ 448041 w 1143000"/>
                <a:gd name="connsiteY175" fmla="*/ 868234 h 1092840"/>
                <a:gd name="connsiteX176" fmla="*/ 454993 w 1143000"/>
                <a:gd name="connsiteY176" fmla="*/ 884310 h 1092840"/>
                <a:gd name="connsiteX177" fmla="*/ 462508 w 1143000"/>
                <a:gd name="connsiteY177" fmla="*/ 899768 h 1092840"/>
                <a:gd name="connsiteX178" fmla="*/ 470579 w 1143000"/>
                <a:gd name="connsiteY178" fmla="*/ 914549 h 1092840"/>
                <a:gd name="connsiteX179" fmla="*/ 479194 w 1143000"/>
                <a:gd name="connsiteY179" fmla="*/ 928597 h 1092840"/>
                <a:gd name="connsiteX180" fmla="*/ 488351 w 1143000"/>
                <a:gd name="connsiteY180" fmla="*/ 941839 h 1092840"/>
                <a:gd name="connsiteX181" fmla="*/ 498036 w 1143000"/>
                <a:gd name="connsiteY181" fmla="*/ 954230 h 1092840"/>
                <a:gd name="connsiteX182" fmla="*/ 508242 w 1143000"/>
                <a:gd name="connsiteY182" fmla="*/ 965697 h 1092840"/>
                <a:gd name="connsiteX183" fmla="*/ 518965 w 1143000"/>
                <a:gd name="connsiteY183" fmla="*/ 976187 h 1092840"/>
                <a:gd name="connsiteX184" fmla="*/ 530189 w 1143000"/>
                <a:gd name="connsiteY184" fmla="*/ 985640 h 1092840"/>
                <a:gd name="connsiteX185" fmla="*/ 541913 w 1143000"/>
                <a:gd name="connsiteY185" fmla="*/ 993987 h 1092840"/>
                <a:gd name="connsiteX186" fmla="*/ 566818 w 1143000"/>
                <a:gd name="connsiteY186" fmla="*/ 1007135 h 1092840"/>
                <a:gd name="connsiteX187" fmla="*/ 579980 w 1143000"/>
                <a:gd name="connsiteY187" fmla="*/ 1011821 h 1092840"/>
                <a:gd name="connsiteX188" fmla="*/ 574594 w 1143000"/>
                <a:gd name="connsiteY188" fmla="*/ 993825 h 1092840"/>
                <a:gd name="connsiteX189" fmla="*/ 569523 w 1143000"/>
                <a:gd name="connsiteY189" fmla="*/ 975726 h 1092840"/>
                <a:gd name="connsiteX190" fmla="*/ 564756 w 1143000"/>
                <a:gd name="connsiteY190" fmla="*/ 957535 h 1092840"/>
                <a:gd name="connsiteX191" fmla="*/ 560308 w 1143000"/>
                <a:gd name="connsiteY191" fmla="*/ 939254 h 1092840"/>
                <a:gd name="connsiteX192" fmla="*/ 556170 w 1143000"/>
                <a:gd name="connsiteY192" fmla="*/ 920901 h 1092840"/>
                <a:gd name="connsiteX193" fmla="*/ 552351 w 1143000"/>
                <a:gd name="connsiteY193" fmla="*/ 902482 h 1092840"/>
                <a:gd name="connsiteX194" fmla="*/ 548842 w 1143000"/>
                <a:gd name="connsiteY194" fmla="*/ 884010 h 1092840"/>
                <a:gd name="connsiteX195" fmla="*/ 545656 w 1143000"/>
                <a:gd name="connsiteY195" fmla="*/ 865486 h 1092840"/>
                <a:gd name="connsiteX196" fmla="*/ 542784 w 1143000"/>
                <a:gd name="connsiteY196" fmla="*/ 846929 h 1092840"/>
                <a:gd name="connsiteX197" fmla="*/ 540237 w 1143000"/>
                <a:gd name="connsiteY197" fmla="*/ 828338 h 1092840"/>
                <a:gd name="connsiteX198" fmla="*/ 538008 w 1143000"/>
                <a:gd name="connsiteY198" fmla="*/ 809734 h 1092840"/>
                <a:gd name="connsiteX199" fmla="*/ 536103 w 1143000"/>
                <a:gd name="connsiteY199" fmla="*/ 791119 h 1092840"/>
                <a:gd name="connsiteX200" fmla="*/ 534523 w 1143000"/>
                <a:gd name="connsiteY200" fmla="*/ 772504 h 1092840"/>
                <a:gd name="connsiteX201" fmla="*/ 533265 w 1143000"/>
                <a:gd name="connsiteY201" fmla="*/ 753904 h 1092840"/>
                <a:gd name="connsiteX202" fmla="*/ 532337 w 1143000"/>
                <a:gd name="connsiteY202" fmla="*/ 735319 h 1092840"/>
                <a:gd name="connsiteX203" fmla="*/ 531737 w 1143000"/>
                <a:gd name="connsiteY203" fmla="*/ 716766 h 1092840"/>
                <a:gd name="connsiteX204" fmla="*/ 531461 w 1143000"/>
                <a:gd name="connsiteY204" fmla="*/ 698252 h 1092840"/>
                <a:gd name="connsiteX205" fmla="*/ 531518 w 1143000"/>
                <a:gd name="connsiteY205" fmla="*/ 679780 h 1092840"/>
                <a:gd name="connsiteX206" fmla="*/ 531908 w 1143000"/>
                <a:gd name="connsiteY206" fmla="*/ 661370 h 1092840"/>
                <a:gd name="connsiteX207" fmla="*/ 532627 w 1143000"/>
                <a:gd name="connsiteY207" fmla="*/ 643027 h 1092840"/>
                <a:gd name="connsiteX208" fmla="*/ 533680 w 1143000"/>
                <a:gd name="connsiteY208" fmla="*/ 624760 h 1092840"/>
                <a:gd name="connsiteX209" fmla="*/ 535070 w 1143000"/>
                <a:gd name="connsiteY209" fmla="*/ 606584 h 1092840"/>
                <a:gd name="connsiteX210" fmla="*/ 536799 w 1143000"/>
                <a:gd name="connsiteY210" fmla="*/ 588498 h 1092840"/>
                <a:gd name="connsiteX211" fmla="*/ 538861 w 1143000"/>
                <a:gd name="connsiteY211" fmla="*/ 570517 h 1092840"/>
                <a:gd name="connsiteX212" fmla="*/ 541260 w 1143000"/>
                <a:gd name="connsiteY212" fmla="*/ 552655 h 1092840"/>
                <a:gd name="connsiteX213" fmla="*/ 544004 w 1143000"/>
                <a:gd name="connsiteY213" fmla="*/ 534912 h 1092840"/>
                <a:gd name="connsiteX214" fmla="*/ 547089 w 1143000"/>
                <a:gd name="connsiteY214" fmla="*/ 517307 h 1092840"/>
                <a:gd name="connsiteX215" fmla="*/ 550518 w 1143000"/>
                <a:gd name="connsiteY215" fmla="*/ 499845 h 1092840"/>
                <a:gd name="connsiteX216" fmla="*/ 554285 w 1143000"/>
                <a:gd name="connsiteY216" fmla="*/ 482531 h 1092840"/>
                <a:gd name="connsiteX217" fmla="*/ 558404 w 1143000"/>
                <a:gd name="connsiteY217" fmla="*/ 465383 h 1092840"/>
                <a:gd name="connsiteX218" fmla="*/ 562865 w 1143000"/>
                <a:gd name="connsiteY218" fmla="*/ 448407 h 1092840"/>
                <a:gd name="connsiteX219" fmla="*/ 567675 w 1143000"/>
                <a:gd name="connsiteY219" fmla="*/ 431607 h 1092840"/>
                <a:gd name="connsiteX220" fmla="*/ 572832 w 1143000"/>
                <a:gd name="connsiteY220" fmla="*/ 415002 h 1092840"/>
                <a:gd name="connsiteX221" fmla="*/ 578342 w 1143000"/>
                <a:gd name="connsiteY221" fmla="*/ 398597 h 1092840"/>
                <a:gd name="connsiteX222" fmla="*/ 584204 w 1143000"/>
                <a:gd name="connsiteY222" fmla="*/ 382402 h 1092840"/>
                <a:gd name="connsiteX223" fmla="*/ 590413 w 1143000"/>
                <a:gd name="connsiteY223" fmla="*/ 366425 h 1092840"/>
                <a:gd name="connsiteX224" fmla="*/ 596980 w 1143000"/>
                <a:gd name="connsiteY224" fmla="*/ 350677 h 1092840"/>
                <a:gd name="connsiteX225" fmla="*/ 603904 w 1143000"/>
                <a:gd name="connsiteY225" fmla="*/ 335163 h 1092840"/>
                <a:gd name="connsiteX226" fmla="*/ 611180 w 1143000"/>
                <a:gd name="connsiteY226" fmla="*/ 319901 h 1092840"/>
                <a:gd name="connsiteX227" fmla="*/ 618818 w 1143000"/>
                <a:gd name="connsiteY227" fmla="*/ 304896 h 1092840"/>
                <a:gd name="connsiteX228" fmla="*/ 626814 w 1143000"/>
                <a:gd name="connsiteY228" fmla="*/ 290158 h 1092840"/>
                <a:gd name="connsiteX229" fmla="*/ 635171 w 1143000"/>
                <a:gd name="connsiteY229" fmla="*/ 275696 h 1092840"/>
                <a:gd name="connsiteX230" fmla="*/ 643885 w 1143000"/>
                <a:gd name="connsiteY230" fmla="*/ 261515 h 1092840"/>
                <a:gd name="connsiteX231" fmla="*/ 652966 w 1143000"/>
                <a:gd name="connsiteY231" fmla="*/ 247634 h 1092840"/>
                <a:gd name="connsiteX232" fmla="*/ 662409 w 1143000"/>
                <a:gd name="connsiteY232" fmla="*/ 234057 h 1092840"/>
                <a:gd name="connsiteX233" fmla="*/ 672219 w 1143000"/>
                <a:gd name="connsiteY233" fmla="*/ 220791 h 1092840"/>
                <a:gd name="connsiteX234" fmla="*/ 682390 w 1143000"/>
                <a:gd name="connsiteY234" fmla="*/ 207852 h 1092840"/>
                <a:gd name="connsiteX235" fmla="*/ 692933 w 1143000"/>
                <a:gd name="connsiteY235" fmla="*/ 195243 h 1092840"/>
                <a:gd name="connsiteX236" fmla="*/ 703847 w 1143000"/>
                <a:gd name="connsiteY236" fmla="*/ 182976 h 1092840"/>
                <a:gd name="connsiteX237" fmla="*/ 715129 w 1143000"/>
                <a:gd name="connsiteY237" fmla="*/ 171066 h 1092840"/>
                <a:gd name="connsiteX238" fmla="*/ 726781 w 1143000"/>
                <a:gd name="connsiteY238" fmla="*/ 159514 h 1092840"/>
                <a:gd name="connsiteX239" fmla="*/ 738810 w 1143000"/>
                <a:gd name="connsiteY239" fmla="*/ 148333 h 1092840"/>
                <a:gd name="connsiteX240" fmla="*/ 751210 w 1143000"/>
                <a:gd name="connsiteY240" fmla="*/ 137533 h 1092840"/>
                <a:gd name="connsiteX241" fmla="*/ 763986 w 1143000"/>
                <a:gd name="connsiteY241" fmla="*/ 127123 h 1092840"/>
                <a:gd name="connsiteX242" fmla="*/ 777133 w 1143000"/>
                <a:gd name="connsiteY242" fmla="*/ 117114 h 1092840"/>
                <a:gd name="connsiteX243" fmla="*/ 790667 w 1143000"/>
                <a:gd name="connsiteY243" fmla="*/ 107509 h 1092840"/>
                <a:gd name="connsiteX244" fmla="*/ 804572 w 1143000"/>
                <a:gd name="connsiteY244" fmla="*/ 98328 h 1092840"/>
                <a:gd name="connsiteX245" fmla="*/ 818863 w 1143000"/>
                <a:gd name="connsiteY245" fmla="*/ 89570 h 1092840"/>
                <a:gd name="connsiteX246" fmla="*/ 833534 w 1143000"/>
                <a:gd name="connsiteY246" fmla="*/ 81256 h 1092840"/>
                <a:gd name="connsiteX247" fmla="*/ 848587 w 1143000"/>
                <a:gd name="connsiteY247" fmla="*/ 73385 h 1092840"/>
                <a:gd name="connsiteX248" fmla="*/ 861587 w 1143000"/>
                <a:gd name="connsiteY248" fmla="*/ 67061 h 1092840"/>
                <a:gd name="connsiteX249" fmla="*/ 874863 w 1143000"/>
                <a:gd name="connsiteY249" fmla="*/ 60985 h 1092840"/>
                <a:gd name="connsiteX250" fmla="*/ 888406 w 1143000"/>
                <a:gd name="connsiteY250" fmla="*/ 55161 h 1092840"/>
                <a:gd name="connsiteX251" fmla="*/ 902211 w 1143000"/>
                <a:gd name="connsiteY251" fmla="*/ 49584 h 1092840"/>
                <a:gd name="connsiteX252" fmla="*/ 916268 w 1143000"/>
                <a:gd name="connsiteY252" fmla="*/ 44275 h 1092840"/>
                <a:gd name="connsiteX253" fmla="*/ 930568 w 1143000"/>
                <a:gd name="connsiteY253" fmla="*/ 39227 h 1092840"/>
                <a:gd name="connsiteX254" fmla="*/ 945102 w 1143000"/>
                <a:gd name="connsiteY254" fmla="*/ 34451 h 1092840"/>
                <a:gd name="connsiteX255" fmla="*/ 959859 w 1143000"/>
                <a:gd name="connsiteY255" fmla="*/ 29956 h 1092840"/>
                <a:gd name="connsiteX256" fmla="*/ 974826 w 1143000"/>
                <a:gd name="connsiteY256" fmla="*/ 25736 h 1092840"/>
                <a:gd name="connsiteX257" fmla="*/ 990002 w 1143000"/>
                <a:gd name="connsiteY257" fmla="*/ 21813 h 1092840"/>
                <a:gd name="connsiteX258" fmla="*/ 1005374 w 1143000"/>
                <a:gd name="connsiteY258" fmla="*/ 18179 h 1092840"/>
                <a:gd name="connsiteX259" fmla="*/ 1020930 w 1143000"/>
                <a:gd name="connsiteY259" fmla="*/ 14846 h 1092840"/>
                <a:gd name="connsiteX260" fmla="*/ 1036669 w 1143000"/>
                <a:gd name="connsiteY260" fmla="*/ 11817 h 1092840"/>
                <a:gd name="connsiteX261" fmla="*/ 1052569 w 1143000"/>
                <a:gd name="connsiteY261" fmla="*/ 9103 h 1092840"/>
                <a:gd name="connsiteX262" fmla="*/ 1068636 w 1143000"/>
                <a:gd name="connsiteY262" fmla="*/ 6703 h 1092840"/>
                <a:gd name="connsiteX263" fmla="*/ 1084850 w 1143000"/>
                <a:gd name="connsiteY263" fmla="*/ 4627 h 1092840"/>
                <a:gd name="connsiteX264" fmla="*/ 1101202 w 1143000"/>
                <a:gd name="connsiteY264" fmla="*/ 2875 h 1092840"/>
                <a:gd name="connsiteX265" fmla="*/ 1117688 w 1143000"/>
                <a:gd name="connsiteY265" fmla="*/ 1460 h 1092840"/>
                <a:gd name="connsiteX266" fmla="*/ 1134298 w 1143000"/>
                <a:gd name="connsiteY266" fmla="*/ 379 h 1092840"/>
                <a:gd name="connsiteX267" fmla="*/ 1143000 w 1143000"/>
                <a:gd name="connsiteY267" fmla="*/ 0 h 109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43000" h="1092840">
                  <a:moveTo>
                    <a:pt x="1143000" y="0"/>
                  </a:moveTo>
                  <a:lnTo>
                    <a:pt x="1143000" y="99531"/>
                  </a:lnTo>
                  <a:lnTo>
                    <a:pt x="1131798" y="100952"/>
                  </a:lnTo>
                  <a:lnTo>
                    <a:pt x="1110140" y="104580"/>
                  </a:lnTo>
                  <a:lnTo>
                    <a:pt x="1089117" y="108980"/>
                  </a:lnTo>
                  <a:lnTo>
                    <a:pt x="1068712" y="114128"/>
                  </a:lnTo>
                  <a:lnTo>
                    <a:pt x="1048926" y="119990"/>
                  </a:lnTo>
                  <a:lnTo>
                    <a:pt x="1029745" y="126533"/>
                  </a:lnTo>
                  <a:lnTo>
                    <a:pt x="1011168" y="133733"/>
                  </a:lnTo>
                  <a:lnTo>
                    <a:pt x="993178" y="141561"/>
                  </a:lnTo>
                  <a:lnTo>
                    <a:pt x="975768" y="149980"/>
                  </a:lnTo>
                  <a:lnTo>
                    <a:pt x="958935" y="158966"/>
                  </a:lnTo>
                  <a:lnTo>
                    <a:pt x="942668" y="168485"/>
                  </a:lnTo>
                  <a:lnTo>
                    <a:pt x="926959" y="178514"/>
                  </a:lnTo>
                  <a:lnTo>
                    <a:pt x="911801" y="189019"/>
                  </a:lnTo>
                  <a:lnTo>
                    <a:pt x="897182" y="199971"/>
                  </a:lnTo>
                  <a:lnTo>
                    <a:pt x="883096" y="211338"/>
                  </a:lnTo>
                  <a:lnTo>
                    <a:pt x="869539" y="223095"/>
                  </a:lnTo>
                  <a:lnTo>
                    <a:pt x="856496" y="235205"/>
                  </a:lnTo>
                  <a:lnTo>
                    <a:pt x="843963" y="247648"/>
                  </a:lnTo>
                  <a:lnTo>
                    <a:pt x="831929" y="260386"/>
                  </a:lnTo>
                  <a:lnTo>
                    <a:pt x="820391" y="273391"/>
                  </a:lnTo>
                  <a:lnTo>
                    <a:pt x="809334" y="286639"/>
                  </a:lnTo>
                  <a:lnTo>
                    <a:pt x="798758" y="300091"/>
                  </a:lnTo>
                  <a:lnTo>
                    <a:pt x="788643" y="313725"/>
                  </a:lnTo>
                  <a:lnTo>
                    <a:pt x="778991" y="327511"/>
                  </a:lnTo>
                  <a:lnTo>
                    <a:pt x="769791" y="341415"/>
                  </a:lnTo>
                  <a:lnTo>
                    <a:pt x="761038" y="355406"/>
                  </a:lnTo>
                  <a:lnTo>
                    <a:pt x="752714" y="369458"/>
                  </a:lnTo>
                  <a:lnTo>
                    <a:pt x="744819" y="383544"/>
                  </a:lnTo>
                  <a:lnTo>
                    <a:pt x="737343" y="397630"/>
                  </a:lnTo>
                  <a:lnTo>
                    <a:pt x="730281" y="411688"/>
                  </a:lnTo>
                  <a:lnTo>
                    <a:pt x="723619" y="425683"/>
                  </a:lnTo>
                  <a:lnTo>
                    <a:pt x="717352" y="439592"/>
                  </a:lnTo>
                  <a:lnTo>
                    <a:pt x="711466" y="453388"/>
                  </a:lnTo>
                  <a:lnTo>
                    <a:pt x="705967" y="467031"/>
                  </a:lnTo>
                  <a:lnTo>
                    <a:pt x="700833" y="480498"/>
                  </a:lnTo>
                  <a:lnTo>
                    <a:pt x="691642" y="506779"/>
                  </a:lnTo>
                  <a:lnTo>
                    <a:pt x="683828" y="531998"/>
                  </a:lnTo>
                  <a:lnTo>
                    <a:pt x="677338" y="555908"/>
                  </a:lnTo>
                  <a:lnTo>
                    <a:pt x="672090" y="578279"/>
                  </a:lnTo>
                  <a:lnTo>
                    <a:pt x="668033" y="598870"/>
                  </a:lnTo>
                  <a:lnTo>
                    <a:pt x="665090" y="617446"/>
                  </a:lnTo>
                  <a:lnTo>
                    <a:pt x="662823" y="635299"/>
                  </a:lnTo>
                  <a:lnTo>
                    <a:pt x="660885" y="653561"/>
                  </a:lnTo>
                  <a:lnTo>
                    <a:pt x="659290" y="672180"/>
                  </a:lnTo>
                  <a:lnTo>
                    <a:pt x="658033" y="691113"/>
                  </a:lnTo>
                  <a:lnTo>
                    <a:pt x="657114" y="710313"/>
                  </a:lnTo>
                  <a:lnTo>
                    <a:pt x="656547" y="729728"/>
                  </a:lnTo>
                  <a:lnTo>
                    <a:pt x="656323" y="749314"/>
                  </a:lnTo>
                  <a:lnTo>
                    <a:pt x="656452" y="769024"/>
                  </a:lnTo>
                  <a:lnTo>
                    <a:pt x="656933" y="788809"/>
                  </a:lnTo>
                  <a:lnTo>
                    <a:pt x="657771" y="808624"/>
                  </a:lnTo>
                  <a:lnTo>
                    <a:pt x="658966" y="828419"/>
                  </a:lnTo>
                  <a:lnTo>
                    <a:pt x="660528" y="848153"/>
                  </a:lnTo>
                  <a:lnTo>
                    <a:pt x="662452" y="867767"/>
                  </a:lnTo>
                  <a:lnTo>
                    <a:pt x="664742" y="887225"/>
                  </a:lnTo>
                  <a:lnTo>
                    <a:pt x="667404" y="906473"/>
                  </a:lnTo>
                  <a:lnTo>
                    <a:pt x="670438" y="925463"/>
                  </a:lnTo>
                  <a:lnTo>
                    <a:pt x="673847" y="944154"/>
                  </a:lnTo>
                  <a:lnTo>
                    <a:pt x="677638" y="962497"/>
                  </a:lnTo>
                  <a:lnTo>
                    <a:pt x="681809" y="980440"/>
                  </a:lnTo>
                  <a:lnTo>
                    <a:pt x="686366" y="997940"/>
                  </a:lnTo>
                  <a:lnTo>
                    <a:pt x="691309" y="1014950"/>
                  </a:lnTo>
                  <a:lnTo>
                    <a:pt x="696638" y="1031421"/>
                  </a:lnTo>
                  <a:lnTo>
                    <a:pt x="702367" y="1047302"/>
                  </a:lnTo>
                  <a:lnTo>
                    <a:pt x="708486" y="1062554"/>
                  </a:lnTo>
                  <a:lnTo>
                    <a:pt x="715005" y="1077126"/>
                  </a:lnTo>
                  <a:lnTo>
                    <a:pt x="721924" y="1090969"/>
                  </a:lnTo>
                  <a:lnTo>
                    <a:pt x="706938" y="1092007"/>
                  </a:lnTo>
                  <a:lnTo>
                    <a:pt x="692000" y="1092636"/>
                  </a:lnTo>
                  <a:lnTo>
                    <a:pt x="677123" y="1092840"/>
                  </a:lnTo>
                  <a:lnTo>
                    <a:pt x="662328" y="1092621"/>
                  </a:lnTo>
                  <a:lnTo>
                    <a:pt x="647623" y="1091965"/>
                  </a:lnTo>
                  <a:lnTo>
                    <a:pt x="633023" y="1090860"/>
                  </a:lnTo>
                  <a:lnTo>
                    <a:pt x="618542" y="1089302"/>
                  </a:lnTo>
                  <a:lnTo>
                    <a:pt x="604195" y="1087284"/>
                  </a:lnTo>
                  <a:lnTo>
                    <a:pt x="589989" y="1084793"/>
                  </a:lnTo>
                  <a:lnTo>
                    <a:pt x="575951" y="1081826"/>
                  </a:lnTo>
                  <a:lnTo>
                    <a:pt x="548403" y="1074417"/>
                  </a:lnTo>
                  <a:lnTo>
                    <a:pt x="521665" y="1064988"/>
                  </a:lnTo>
                  <a:lnTo>
                    <a:pt x="495846" y="1053474"/>
                  </a:lnTo>
                  <a:lnTo>
                    <a:pt x="471055" y="1039812"/>
                  </a:lnTo>
                  <a:lnTo>
                    <a:pt x="447408" y="1023926"/>
                  </a:lnTo>
                  <a:lnTo>
                    <a:pt x="436041" y="1015130"/>
                  </a:lnTo>
                  <a:lnTo>
                    <a:pt x="425003" y="1005754"/>
                  </a:lnTo>
                  <a:lnTo>
                    <a:pt x="414307" y="995788"/>
                  </a:lnTo>
                  <a:lnTo>
                    <a:pt x="403964" y="985225"/>
                  </a:lnTo>
                  <a:lnTo>
                    <a:pt x="393988" y="974059"/>
                  </a:lnTo>
                  <a:lnTo>
                    <a:pt x="384398" y="962278"/>
                  </a:lnTo>
                  <a:lnTo>
                    <a:pt x="375198" y="949873"/>
                  </a:lnTo>
                  <a:lnTo>
                    <a:pt x="366407" y="936839"/>
                  </a:lnTo>
                  <a:lnTo>
                    <a:pt x="358045" y="923163"/>
                  </a:lnTo>
                  <a:lnTo>
                    <a:pt x="350112" y="908839"/>
                  </a:lnTo>
                  <a:lnTo>
                    <a:pt x="342636" y="893863"/>
                  </a:lnTo>
                  <a:lnTo>
                    <a:pt x="335621" y="878220"/>
                  </a:lnTo>
                  <a:lnTo>
                    <a:pt x="329088" y="861905"/>
                  </a:lnTo>
                  <a:lnTo>
                    <a:pt x="323045" y="844910"/>
                  </a:lnTo>
                  <a:lnTo>
                    <a:pt x="317507" y="827224"/>
                  </a:lnTo>
                  <a:lnTo>
                    <a:pt x="312493" y="808838"/>
                  </a:lnTo>
                  <a:lnTo>
                    <a:pt x="308007" y="789748"/>
                  </a:lnTo>
                  <a:lnTo>
                    <a:pt x="304073" y="769938"/>
                  </a:lnTo>
                  <a:lnTo>
                    <a:pt x="300697" y="749409"/>
                  </a:lnTo>
                  <a:lnTo>
                    <a:pt x="297902" y="728147"/>
                  </a:lnTo>
                  <a:lnTo>
                    <a:pt x="295687" y="706147"/>
                  </a:lnTo>
                  <a:lnTo>
                    <a:pt x="294083" y="683394"/>
                  </a:lnTo>
                  <a:lnTo>
                    <a:pt x="293092" y="659884"/>
                  </a:lnTo>
                  <a:lnTo>
                    <a:pt x="292731" y="635613"/>
                  </a:lnTo>
                  <a:lnTo>
                    <a:pt x="293016" y="610565"/>
                  </a:lnTo>
                  <a:lnTo>
                    <a:pt x="271916" y="609608"/>
                  </a:lnTo>
                  <a:lnTo>
                    <a:pt x="251459" y="607641"/>
                  </a:lnTo>
                  <a:lnTo>
                    <a:pt x="231649" y="604694"/>
                  </a:lnTo>
                  <a:lnTo>
                    <a:pt x="212506" y="600779"/>
                  </a:lnTo>
                  <a:lnTo>
                    <a:pt x="194020" y="595917"/>
                  </a:lnTo>
                  <a:lnTo>
                    <a:pt x="176210" y="590132"/>
                  </a:lnTo>
                  <a:lnTo>
                    <a:pt x="159082" y="583437"/>
                  </a:lnTo>
                  <a:lnTo>
                    <a:pt x="142634" y="575860"/>
                  </a:lnTo>
                  <a:lnTo>
                    <a:pt x="126877" y="567417"/>
                  </a:lnTo>
                  <a:lnTo>
                    <a:pt x="111820" y="558127"/>
                  </a:lnTo>
                  <a:lnTo>
                    <a:pt x="97462" y="548012"/>
                  </a:lnTo>
                  <a:lnTo>
                    <a:pt x="83820" y="537093"/>
                  </a:lnTo>
                  <a:lnTo>
                    <a:pt x="70896" y="525393"/>
                  </a:lnTo>
                  <a:lnTo>
                    <a:pt x="58696" y="512922"/>
                  </a:lnTo>
                  <a:lnTo>
                    <a:pt x="47224" y="499707"/>
                  </a:lnTo>
                  <a:lnTo>
                    <a:pt x="36491" y="485769"/>
                  </a:lnTo>
                  <a:lnTo>
                    <a:pt x="26500" y="471131"/>
                  </a:lnTo>
                  <a:lnTo>
                    <a:pt x="17262" y="455802"/>
                  </a:lnTo>
                  <a:lnTo>
                    <a:pt x="8781" y="439811"/>
                  </a:lnTo>
                  <a:lnTo>
                    <a:pt x="0" y="419692"/>
                  </a:lnTo>
                  <a:lnTo>
                    <a:pt x="500" y="417887"/>
                  </a:lnTo>
                  <a:lnTo>
                    <a:pt x="11771" y="429583"/>
                  </a:lnTo>
                  <a:lnTo>
                    <a:pt x="23705" y="440735"/>
                  </a:lnTo>
                  <a:lnTo>
                    <a:pt x="36276" y="451340"/>
                  </a:lnTo>
                  <a:lnTo>
                    <a:pt x="49453" y="461373"/>
                  </a:lnTo>
                  <a:lnTo>
                    <a:pt x="63215" y="470831"/>
                  </a:lnTo>
                  <a:lnTo>
                    <a:pt x="77524" y="479693"/>
                  </a:lnTo>
                  <a:lnTo>
                    <a:pt x="92367" y="487945"/>
                  </a:lnTo>
                  <a:lnTo>
                    <a:pt x="107705" y="495579"/>
                  </a:lnTo>
                  <a:lnTo>
                    <a:pt x="123515" y="502579"/>
                  </a:lnTo>
                  <a:lnTo>
                    <a:pt x="139767" y="508931"/>
                  </a:lnTo>
                  <a:lnTo>
                    <a:pt x="156439" y="514622"/>
                  </a:lnTo>
                  <a:lnTo>
                    <a:pt x="173496" y="519636"/>
                  </a:lnTo>
                  <a:lnTo>
                    <a:pt x="190915" y="523964"/>
                  </a:lnTo>
                  <a:lnTo>
                    <a:pt x="208673" y="527593"/>
                  </a:lnTo>
                  <a:lnTo>
                    <a:pt x="226730" y="530502"/>
                  </a:lnTo>
                  <a:lnTo>
                    <a:pt x="245073" y="532688"/>
                  </a:lnTo>
                  <a:lnTo>
                    <a:pt x="263664" y="534131"/>
                  </a:lnTo>
                  <a:lnTo>
                    <a:pt x="282478" y="534817"/>
                  </a:lnTo>
                  <a:lnTo>
                    <a:pt x="301488" y="534736"/>
                  </a:lnTo>
                  <a:lnTo>
                    <a:pt x="320669" y="533869"/>
                  </a:lnTo>
                  <a:lnTo>
                    <a:pt x="339993" y="532212"/>
                  </a:lnTo>
                  <a:lnTo>
                    <a:pt x="359431" y="529741"/>
                  </a:lnTo>
                  <a:lnTo>
                    <a:pt x="378955" y="526450"/>
                  </a:lnTo>
                  <a:lnTo>
                    <a:pt x="409093" y="519712"/>
                  </a:lnTo>
                  <a:lnTo>
                    <a:pt x="429822" y="513912"/>
                  </a:lnTo>
                  <a:lnTo>
                    <a:pt x="439988" y="510722"/>
                  </a:lnTo>
                  <a:lnTo>
                    <a:pt x="433941" y="526388"/>
                  </a:lnTo>
                  <a:lnTo>
                    <a:pt x="428622" y="542650"/>
                  </a:lnTo>
                  <a:lnTo>
                    <a:pt x="424026" y="559446"/>
                  </a:lnTo>
                  <a:lnTo>
                    <a:pt x="420136" y="576722"/>
                  </a:lnTo>
                  <a:lnTo>
                    <a:pt x="416955" y="594408"/>
                  </a:lnTo>
                  <a:lnTo>
                    <a:pt x="414469" y="612451"/>
                  </a:lnTo>
                  <a:lnTo>
                    <a:pt x="412669" y="630785"/>
                  </a:lnTo>
                  <a:lnTo>
                    <a:pt x="411545" y="649351"/>
                  </a:lnTo>
                  <a:lnTo>
                    <a:pt x="411098" y="668089"/>
                  </a:lnTo>
                  <a:lnTo>
                    <a:pt x="411307" y="686942"/>
                  </a:lnTo>
                  <a:lnTo>
                    <a:pt x="412174" y="705842"/>
                  </a:lnTo>
                  <a:lnTo>
                    <a:pt x="413688" y="724733"/>
                  </a:lnTo>
                  <a:lnTo>
                    <a:pt x="415836" y="743557"/>
                  </a:lnTo>
                  <a:lnTo>
                    <a:pt x="418617" y="762243"/>
                  </a:lnTo>
                  <a:lnTo>
                    <a:pt x="422017" y="780743"/>
                  </a:lnTo>
                  <a:lnTo>
                    <a:pt x="426026" y="798986"/>
                  </a:lnTo>
                  <a:lnTo>
                    <a:pt x="430646" y="816919"/>
                  </a:lnTo>
                  <a:lnTo>
                    <a:pt x="435860" y="834481"/>
                  </a:lnTo>
                  <a:lnTo>
                    <a:pt x="441660" y="851605"/>
                  </a:lnTo>
                  <a:lnTo>
                    <a:pt x="448041" y="868234"/>
                  </a:lnTo>
                  <a:lnTo>
                    <a:pt x="454993" y="884310"/>
                  </a:lnTo>
                  <a:lnTo>
                    <a:pt x="462508" y="899768"/>
                  </a:lnTo>
                  <a:lnTo>
                    <a:pt x="470579" y="914549"/>
                  </a:lnTo>
                  <a:lnTo>
                    <a:pt x="479194" y="928597"/>
                  </a:lnTo>
                  <a:lnTo>
                    <a:pt x="488351" y="941839"/>
                  </a:lnTo>
                  <a:lnTo>
                    <a:pt x="498036" y="954230"/>
                  </a:lnTo>
                  <a:lnTo>
                    <a:pt x="508242" y="965697"/>
                  </a:lnTo>
                  <a:lnTo>
                    <a:pt x="518965" y="976187"/>
                  </a:lnTo>
                  <a:lnTo>
                    <a:pt x="530189" y="985640"/>
                  </a:lnTo>
                  <a:lnTo>
                    <a:pt x="541913" y="993987"/>
                  </a:lnTo>
                  <a:lnTo>
                    <a:pt x="566818" y="1007135"/>
                  </a:lnTo>
                  <a:lnTo>
                    <a:pt x="579980" y="1011821"/>
                  </a:lnTo>
                  <a:lnTo>
                    <a:pt x="574594" y="993825"/>
                  </a:lnTo>
                  <a:lnTo>
                    <a:pt x="569523" y="975726"/>
                  </a:lnTo>
                  <a:lnTo>
                    <a:pt x="564756" y="957535"/>
                  </a:lnTo>
                  <a:lnTo>
                    <a:pt x="560308" y="939254"/>
                  </a:lnTo>
                  <a:lnTo>
                    <a:pt x="556170" y="920901"/>
                  </a:lnTo>
                  <a:lnTo>
                    <a:pt x="552351" y="902482"/>
                  </a:lnTo>
                  <a:lnTo>
                    <a:pt x="548842" y="884010"/>
                  </a:lnTo>
                  <a:lnTo>
                    <a:pt x="545656" y="865486"/>
                  </a:lnTo>
                  <a:lnTo>
                    <a:pt x="542784" y="846929"/>
                  </a:lnTo>
                  <a:lnTo>
                    <a:pt x="540237" y="828338"/>
                  </a:lnTo>
                  <a:lnTo>
                    <a:pt x="538008" y="809734"/>
                  </a:lnTo>
                  <a:lnTo>
                    <a:pt x="536103" y="791119"/>
                  </a:lnTo>
                  <a:lnTo>
                    <a:pt x="534523" y="772504"/>
                  </a:lnTo>
                  <a:lnTo>
                    <a:pt x="533265" y="753904"/>
                  </a:lnTo>
                  <a:lnTo>
                    <a:pt x="532337" y="735319"/>
                  </a:lnTo>
                  <a:lnTo>
                    <a:pt x="531737" y="716766"/>
                  </a:lnTo>
                  <a:lnTo>
                    <a:pt x="531461" y="698252"/>
                  </a:lnTo>
                  <a:lnTo>
                    <a:pt x="531518" y="679780"/>
                  </a:lnTo>
                  <a:lnTo>
                    <a:pt x="531908" y="661370"/>
                  </a:lnTo>
                  <a:lnTo>
                    <a:pt x="532627" y="643027"/>
                  </a:lnTo>
                  <a:lnTo>
                    <a:pt x="533680" y="624760"/>
                  </a:lnTo>
                  <a:lnTo>
                    <a:pt x="535070" y="606584"/>
                  </a:lnTo>
                  <a:lnTo>
                    <a:pt x="536799" y="588498"/>
                  </a:lnTo>
                  <a:lnTo>
                    <a:pt x="538861" y="570517"/>
                  </a:lnTo>
                  <a:lnTo>
                    <a:pt x="541260" y="552655"/>
                  </a:lnTo>
                  <a:lnTo>
                    <a:pt x="544004" y="534912"/>
                  </a:lnTo>
                  <a:lnTo>
                    <a:pt x="547089" y="517307"/>
                  </a:lnTo>
                  <a:lnTo>
                    <a:pt x="550518" y="499845"/>
                  </a:lnTo>
                  <a:lnTo>
                    <a:pt x="554285" y="482531"/>
                  </a:lnTo>
                  <a:lnTo>
                    <a:pt x="558404" y="465383"/>
                  </a:lnTo>
                  <a:lnTo>
                    <a:pt x="562865" y="448407"/>
                  </a:lnTo>
                  <a:lnTo>
                    <a:pt x="567675" y="431607"/>
                  </a:lnTo>
                  <a:lnTo>
                    <a:pt x="572832" y="415002"/>
                  </a:lnTo>
                  <a:lnTo>
                    <a:pt x="578342" y="398597"/>
                  </a:lnTo>
                  <a:lnTo>
                    <a:pt x="584204" y="382402"/>
                  </a:lnTo>
                  <a:lnTo>
                    <a:pt x="590413" y="366425"/>
                  </a:lnTo>
                  <a:lnTo>
                    <a:pt x="596980" y="350677"/>
                  </a:lnTo>
                  <a:lnTo>
                    <a:pt x="603904" y="335163"/>
                  </a:lnTo>
                  <a:lnTo>
                    <a:pt x="611180" y="319901"/>
                  </a:lnTo>
                  <a:lnTo>
                    <a:pt x="618818" y="304896"/>
                  </a:lnTo>
                  <a:lnTo>
                    <a:pt x="626814" y="290158"/>
                  </a:lnTo>
                  <a:lnTo>
                    <a:pt x="635171" y="275696"/>
                  </a:lnTo>
                  <a:lnTo>
                    <a:pt x="643885" y="261515"/>
                  </a:lnTo>
                  <a:lnTo>
                    <a:pt x="652966" y="247634"/>
                  </a:lnTo>
                  <a:lnTo>
                    <a:pt x="662409" y="234057"/>
                  </a:lnTo>
                  <a:lnTo>
                    <a:pt x="672219" y="220791"/>
                  </a:lnTo>
                  <a:lnTo>
                    <a:pt x="682390" y="207852"/>
                  </a:lnTo>
                  <a:lnTo>
                    <a:pt x="692933" y="195243"/>
                  </a:lnTo>
                  <a:lnTo>
                    <a:pt x="703847" y="182976"/>
                  </a:lnTo>
                  <a:lnTo>
                    <a:pt x="715129" y="171066"/>
                  </a:lnTo>
                  <a:lnTo>
                    <a:pt x="726781" y="159514"/>
                  </a:lnTo>
                  <a:lnTo>
                    <a:pt x="738810" y="148333"/>
                  </a:lnTo>
                  <a:lnTo>
                    <a:pt x="751210" y="137533"/>
                  </a:lnTo>
                  <a:lnTo>
                    <a:pt x="763986" y="127123"/>
                  </a:lnTo>
                  <a:lnTo>
                    <a:pt x="777133" y="117114"/>
                  </a:lnTo>
                  <a:lnTo>
                    <a:pt x="790667" y="107509"/>
                  </a:lnTo>
                  <a:lnTo>
                    <a:pt x="804572" y="98328"/>
                  </a:lnTo>
                  <a:lnTo>
                    <a:pt x="818863" y="89570"/>
                  </a:lnTo>
                  <a:lnTo>
                    <a:pt x="833534" y="81256"/>
                  </a:lnTo>
                  <a:lnTo>
                    <a:pt x="848587" y="73385"/>
                  </a:lnTo>
                  <a:lnTo>
                    <a:pt x="861587" y="67061"/>
                  </a:lnTo>
                  <a:lnTo>
                    <a:pt x="874863" y="60985"/>
                  </a:lnTo>
                  <a:lnTo>
                    <a:pt x="888406" y="55161"/>
                  </a:lnTo>
                  <a:lnTo>
                    <a:pt x="902211" y="49584"/>
                  </a:lnTo>
                  <a:lnTo>
                    <a:pt x="916268" y="44275"/>
                  </a:lnTo>
                  <a:lnTo>
                    <a:pt x="930568" y="39227"/>
                  </a:lnTo>
                  <a:lnTo>
                    <a:pt x="945102" y="34451"/>
                  </a:lnTo>
                  <a:lnTo>
                    <a:pt x="959859" y="29956"/>
                  </a:lnTo>
                  <a:lnTo>
                    <a:pt x="974826" y="25736"/>
                  </a:lnTo>
                  <a:lnTo>
                    <a:pt x="990002" y="21813"/>
                  </a:lnTo>
                  <a:lnTo>
                    <a:pt x="1005374" y="18179"/>
                  </a:lnTo>
                  <a:lnTo>
                    <a:pt x="1020930" y="14846"/>
                  </a:lnTo>
                  <a:lnTo>
                    <a:pt x="1036669" y="11817"/>
                  </a:lnTo>
                  <a:lnTo>
                    <a:pt x="1052569" y="9103"/>
                  </a:lnTo>
                  <a:lnTo>
                    <a:pt x="1068636" y="6703"/>
                  </a:lnTo>
                  <a:lnTo>
                    <a:pt x="1084850" y="4627"/>
                  </a:lnTo>
                  <a:lnTo>
                    <a:pt x="1101202" y="2875"/>
                  </a:lnTo>
                  <a:lnTo>
                    <a:pt x="1117688" y="1460"/>
                  </a:lnTo>
                  <a:lnTo>
                    <a:pt x="1134298" y="379"/>
                  </a:lnTo>
                  <a:lnTo>
                    <a:pt x="114300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013073C-E6AA-D014-8C72-B6D9DA83815C}"/>
                </a:ext>
              </a:extLst>
            </p:cNvPr>
            <p:cNvSpPr/>
            <p:nvPr userDrawn="1"/>
          </p:nvSpPr>
          <p:spPr>
            <a:xfrm>
              <a:off x="11900272" y="5542060"/>
              <a:ext cx="291728" cy="787651"/>
            </a:xfrm>
            <a:custGeom>
              <a:avLst/>
              <a:gdLst>
                <a:gd name="connsiteX0" fmla="*/ 291728 w 291728"/>
                <a:gd name="connsiteY0" fmla="*/ 0 h 787651"/>
                <a:gd name="connsiteX1" fmla="*/ 291728 w 291728"/>
                <a:gd name="connsiteY1" fmla="*/ 79686 h 787651"/>
                <a:gd name="connsiteX2" fmla="*/ 280245 w 291728"/>
                <a:gd name="connsiteY2" fmla="*/ 87145 h 787651"/>
                <a:gd name="connsiteX3" fmla="*/ 267707 w 291728"/>
                <a:gd name="connsiteY3" fmla="*/ 96031 h 787651"/>
                <a:gd name="connsiteX4" fmla="*/ 255540 w 291728"/>
                <a:gd name="connsiteY4" fmla="*/ 105422 h 787651"/>
                <a:gd name="connsiteX5" fmla="*/ 243754 w 291728"/>
                <a:gd name="connsiteY5" fmla="*/ 115322 h 787651"/>
                <a:gd name="connsiteX6" fmla="*/ 232388 w 291728"/>
                <a:gd name="connsiteY6" fmla="*/ 125712 h 787651"/>
                <a:gd name="connsiteX7" fmla="*/ 221450 w 291728"/>
                <a:gd name="connsiteY7" fmla="*/ 136598 h 787651"/>
                <a:gd name="connsiteX8" fmla="*/ 210968 w 291728"/>
                <a:gd name="connsiteY8" fmla="*/ 147970 h 787651"/>
                <a:gd name="connsiteX9" fmla="*/ 200968 w 291728"/>
                <a:gd name="connsiteY9" fmla="*/ 159822 h 787651"/>
                <a:gd name="connsiteX10" fmla="*/ 191468 w 291728"/>
                <a:gd name="connsiteY10" fmla="*/ 172151 h 787651"/>
                <a:gd name="connsiteX11" fmla="*/ 182497 w 291728"/>
                <a:gd name="connsiteY11" fmla="*/ 184946 h 787651"/>
                <a:gd name="connsiteX12" fmla="*/ 174068 w 291728"/>
                <a:gd name="connsiteY12" fmla="*/ 198208 h 787651"/>
                <a:gd name="connsiteX13" fmla="*/ 166206 w 291728"/>
                <a:gd name="connsiteY13" fmla="*/ 211928 h 787651"/>
                <a:gd name="connsiteX14" fmla="*/ 158940 w 291728"/>
                <a:gd name="connsiteY14" fmla="*/ 226099 h 787651"/>
                <a:gd name="connsiteX15" fmla="*/ 152282 w 291728"/>
                <a:gd name="connsiteY15" fmla="*/ 240713 h 787651"/>
                <a:gd name="connsiteX16" fmla="*/ 146268 w 291728"/>
                <a:gd name="connsiteY16" fmla="*/ 255775 h 787651"/>
                <a:gd name="connsiteX17" fmla="*/ 140906 w 291728"/>
                <a:gd name="connsiteY17" fmla="*/ 271271 h 787651"/>
                <a:gd name="connsiteX18" fmla="*/ 136230 w 291728"/>
                <a:gd name="connsiteY18" fmla="*/ 287195 h 787651"/>
                <a:gd name="connsiteX19" fmla="*/ 132258 w 291728"/>
                <a:gd name="connsiteY19" fmla="*/ 303547 h 787651"/>
                <a:gd name="connsiteX20" fmla="*/ 129011 w 291728"/>
                <a:gd name="connsiteY20" fmla="*/ 320314 h 787651"/>
                <a:gd name="connsiteX21" fmla="*/ 126515 w 291728"/>
                <a:gd name="connsiteY21" fmla="*/ 337495 h 787651"/>
                <a:gd name="connsiteX22" fmla="*/ 124787 w 291728"/>
                <a:gd name="connsiteY22" fmla="*/ 355086 h 787651"/>
                <a:gd name="connsiteX23" fmla="*/ 123853 w 291728"/>
                <a:gd name="connsiteY23" fmla="*/ 373081 h 787651"/>
                <a:gd name="connsiteX24" fmla="*/ 123739 w 291728"/>
                <a:gd name="connsiteY24" fmla="*/ 391467 h 787651"/>
                <a:gd name="connsiteX25" fmla="*/ 124463 w 291728"/>
                <a:gd name="connsiteY25" fmla="*/ 410248 h 787651"/>
                <a:gd name="connsiteX26" fmla="*/ 126049 w 291728"/>
                <a:gd name="connsiteY26" fmla="*/ 429415 h 787651"/>
                <a:gd name="connsiteX27" fmla="*/ 128515 w 291728"/>
                <a:gd name="connsiteY27" fmla="*/ 448963 h 787651"/>
                <a:gd name="connsiteX28" fmla="*/ 131892 w 291728"/>
                <a:gd name="connsiteY28" fmla="*/ 468882 h 787651"/>
                <a:gd name="connsiteX29" fmla="*/ 153078 w 291728"/>
                <a:gd name="connsiteY29" fmla="*/ 570835 h 787651"/>
                <a:gd name="connsiteX30" fmla="*/ 178054 w 291728"/>
                <a:gd name="connsiteY30" fmla="*/ 634326 h 787651"/>
                <a:gd name="connsiteX31" fmla="*/ 222940 w 291728"/>
                <a:gd name="connsiteY31" fmla="*/ 685903 h 787651"/>
                <a:gd name="connsiteX32" fmla="*/ 291728 w 291728"/>
                <a:gd name="connsiteY32" fmla="*/ 751682 h 787651"/>
                <a:gd name="connsiteX33" fmla="*/ 291728 w 291728"/>
                <a:gd name="connsiteY33" fmla="*/ 758691 h 787651"/>
                <a:gd name="connsiteX34" fmla="*/ 277964 w 291728"/>
                <a:gd name="connsiteY34" fmla="*/ 765694 h 787651"/>
                <a:gd name="connsiteX35" fmla="*/ 253416 w 291728"/>
                <a:gd name="connsiteY35" fmla="*/ 775994 h 787651"/>
                <a:gd name="connsiteX36" fmla="*/ 228083 w 291728"/>
                <a:gd name="connsiteY36" fmla="*/ 782704 h 787651"/>
                <a:gd name="connsiteX37" fmla="*/ 202111 w 291728"/>
                <a:gd name="connsiteY37" fmla="*/ 786389 h 787651"/>
                <a:gd name="connsiteX38" fmla="*/ 186368 w 291728"/>
                <a:gd name="connsiteY38" fmla="*/ 787651 h 787651"/>
                <a:gd name="connsiteX39" fmla="*/ 174487 w 291728"/>
                <a:gd name="connsiteY39" fmla="*/ 786518 h 787651"/>
                <a:gd name="connsiteX40" fmla="*/ 160082 w 291728"/>
                <a:gd name="connsiteY40" fmla="*/ 783013 h 787651"/>
                <a:gd name="connsiteX41" fmla="*/ 149001 w 291728"/>
                <a:gd name="connsiteY41" fmla="*/ 771023 h 787651"/>
                <a:gd name="connsiteX42" fmla="*/ 131082 w 291728"/>
                <a:gd name="connsiteY42" fmla="*/ 750798 h 787651"/>
                <a:gd name="connsiteX43" fmla="*/ 119772 w 291728"/>
                <a:gd name="connsiteY43" fmla="*/ 736813 h 787651"/>
                <a:gd name="connsiteX44" fmla="*/ 108930 w 291728"/>
                <a:gd name="connsiteY44" fmla="*/ 722574 h 787651"/>
                <a:gd name="connsiteX45" fmla="*/ 98553 w 291728"/>
                <a:gd name="connsiteY45" fmla="*/ 708098 h 787651"/>
                <a:gd name="connsiteX46" fmla="*/ 88653 w 291728"/>
                <a:gd name="connsiteY46" fmla="*/ 693393 h 787651"/>
                <a:gd name="connsiteX47" fmla="*/ 79234 w 291728"/>
                <a:gd name="connsiteY47" fmla="*/ 678474 h 787651"/>
                <a:gd name="connsiteX48" fmla="*/ 70306 w 291728"/>
                <a:gd name="connsiteY48" fmla="*/ 663350 h 787651"/>
                <a:gd name="connsiteX49" fmla="*/ 61877 w 291728"/>
                <a:gd name="connsiteY49" fmla="*/ 648045 h 787651"/>
                <a:gd name="connsiteX50" fmla="*/ 53953 w 291728"/>
                <a:gd name="connsiteY50" fmla="*/ 632564 h 787651"/>
                <a:gd name="connsiteX51" fmla="*/ 46539 w 291728"/>
                <a:gd name="connsiteY51" fmla="*/ 616926 h 787651"/>
                <a:gd name="connsiteX52" fmla="*/ 39643 w 291728"/>
                <a:gd name="connsiteY52" fmla="*/ 601140 h 787651"/>
                <a:gd name="connsiteX53" fmla="*/ 33272 w 291728"/>
                <a:gd name="connsiteY53" fmla="*/ 585221 h 787651"/>
                <a:gd name="connsiteX54" fmla="*/ 27438 w 291728"/>
                <a:gd name="connsiteY54" fmla="*/ 569183 h 787651"/>
                <a:gd name="connsiteX55" fmla="*/ 22143 w 291728"/>
                <a:gd name="connsiteY55" fmla="*/ 553040 h 787651"/>
                <a:gd name="connsiteX56" fmla="*/ 17396 w 291728"/>
                <a:gd name="connsiteY56" fmla="*/ 536806 h 787651"/>
                <a:gd name="connsiteX57" fmla="*/ 13205 w 291728"/>
                <a:gd name="connsiteY57" fmla="*/ 520497 h 787651"/>
                <a:gd name="connsiteX58" fmla="*/ 9572 w 291728"/>
                <a:gd name="connsiteY58" fmla="*/ 504120 h 787651"/>
                <a:gd name="connsiteX59" fmla="*/ 6514 w 291728"/>
                <a:gd name="connsiteY59" fmla="*/ 487692 h 787651"/>
                <a:gd name="connsiteX60" fmla="*/ 4029 w 291728"/>
                <a:gd name="connsiteY60" fmla="*/ 471225 h 787651"/>
                <a:gd name="connsiteX61" fmla="*/ 2129 w 291728"/>
                <a:gd name="connsiteY61" fmla="*/ 454734 h 787651"/>
                <a:gd name="connsiteX62" fmla="*/ 819 w 291728"/>
                <a:gd name="connsiteY62" fmla="*/ 438234 h 787651"/>
                <a:gd name="connsiteX63" fmla="*/ 105 w 291728"/>
                <a:gd name="connsiteY63" fmla="*/ 421739 h 787651"/>
                <a:gd name="connsiteX64" fmla="*/ 0 w 291728"/>
                <a:gd name="connsiteY64" fmla="*/ 405258 h 787651"/>
                <a:gd name="connsiteX65" fmla="*/ 505 w 291728"/>
                <a:gd name="connsiteY65" fmla="*/ 388810 h 787651"/>
                <a:gd name="connsiteX66" fmla="*/ 1634 w 291728"/>
                <a:gd name="connsiteY66" fmla="*/ 372405 h 787651"/>
                <a:gd name="connsiteX67" fmla="*/ 3386 w 291728"/>
                <a:gd name="connsiteY67" fmla="*/ 356057 h 787651"/>
                <a:gd name="connsiteX68" fmla="*/ 5772 w 291728"/>
                <a:gd name="connsiteY68" fmla="*/ 339781 h 787651"/>
                <a:gd name="connsiteX69" fmla="*/ 8800 w 291728"/>
                <a:gd name="connsiteY69" fmla="*/ 323585 h 787651"/>
                <a:gd name="connsiteX70" fmla="*/ 12477 w 291728"/>
                <a:gd name="connsiteY70" fmla="*/ 307495 h 787651"/>
                <a:gd name="connsiteX71" fmla="*/ 16810 w 291728"/>
                <a:gd name="connsiteY71" fmla="*/ 291514 h 787651"/>
                <a:gd name="connsiteX72" fmla="*/ 21805 w 291728"/>
                <a:gd name="connsiteY72" fmla="*/ 275657 h 787651"/>
                <a:gd name="connsiteX73" fmla="*/ 27467 w 291728"/>
                <a:gd name="connsiteY73" fmla="*/ 259937 h 787651"/>
                <a:gd name="connsiteX74" fmla="*/ 33810 w 291728"/>
                <a:gd name="connsiteY74" fmla="*/ 244371 h 787651"/>
                <a:gd name="connsiteX75" fmla="*/ 40839 w 291728"/>
                <a:gd name="connsiteY75" fmla="*/ 228975 h 787651"/>
                <a:gd name="connsiteX76" fmla="*/ 48558 w 291728"/>
                <a:gd name="connsiteY76" fmla="*/ 213751 h 787651"/>
                <a:gd name="connsiteX77" fmla="*/ 56972 w 291728"/>
                <a:gd name="connsiteY77" fmla="*/ 198727 h 787651"/>
                <a:gd name="connsiteX78" fmla="*/ 66096 w 291728"/>
                <a:gd name="connsiteY78" fmla="*/ 183908 h 787651"/>
                <a:gd name="connsiteX79" fmla="*/ 75934 w 291728"/>
                <a:gd name="connsiteY79" fmla="*/ 169308 h 787651"/>
                <a:gd name="connsiteX80" fmla="*/ 86491 w 291728"/>
                <a:gd name="connsiteY80" fmla="*/ 154941 h 787651"/>
                <a:gd name="connsiteX81" fmla="*/ 97772 w 291728"/>
                <a:gd name="connsiteY81" fmla="*/ 140827 h 787651"/>
                <a:gd name="connsiteX82" fmla="*/ 109792 w 291728"/>
                <a:gd name="connsiteY82" fmla="*/ 126970 h 787651"/>
                <a:gd name="connsiteX83" fmla="*/ 122554 w 291728"/>
                <a:gd name="connsiteY83" fmla="*/ 113388 h 787651"/>
                <a:gd name="connsiteX84" fmla="*/ 136063 w 291728"/>
                <a:gd name="connsiteY84" fmla="*/ 100093 h 787651"/>
                <a:gd name="connsiteX85" fmla="*/ 150330 w 291728"/>
                <a:gd name="connsiteY85" fmla="*/ 87102 h 787651"/>
                <a:gd name="connsiteX86" fmla="*/ 165363 w 291728"/>
                <a:gd name="connsiteY86" fmla="*/ 74426 h 787651"/>
                <a:gd name="connsiteX87" fmla="*/ 176763 w 291728"/>
                <a:gd name="connsiteY87" fmla="*/ 65460 h 787651"/>
                <a:gd name="connsiteX88" fmla="*/ 188754 w 291728"/>
                <a:gd name="connsiteY88" fmla="*/ 56621 h 787651"/>
                <a:gd name="connsiteX89" fmla="*/ 201321 w 291728"/>
                <a:gd name="connsiteY89" fmla="*/ 47950 h 787651"/>
                <a:gd name="connsiteX90" fmla="*/ 214450 w 291728"/>
                <a:gd name="connsiteY90" fmla="*/ 39478 h 787651"/>
                <a:gd name="connsiteX91" fmla="*/ 228135 w 291728"/>
                <a:gd name="connsiteY91" fmla="*/ 31245 h 787651"/>
                <a:gd name="connsiteX92" fmla="*/ 242354 w 291728"/>
                <a:gd name="connsiteY92" fmla="*/ 23288 h 787651"/>
                <a:gd name="connsiteX93" fmla="*/ 257097 w 291728"/>
                <a:gd name="connsiteY93" fmla="*/ 15645 h 787651"/>
                <a:gd name="connsiteX94" fmla="*/ 272350 w 291728"/>
                <a:gd name="connsiteY94" fmla="*/ 8350 h 787651"/>
                <a:gd name="connsiteX95" fmla="*/ 288107 w 291728"/>
                <a:gd name="connsiteY95" fmla="*/ 1445 h 787651"/>
                <a:gd name="connsiteX96" fmla="*/ 291728 w 291728"/>
                <a:gd name="connsiteY96" fmla="*/ 0 h 78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291728" h="787651">
                  <a:moveTo>
                    <a:pt x="291728" y="0"/>
                  </a:moveTo>
                  <a:lnTo>
                    <a:pt x="291728" y="79686"/>
                  </a:lnTo>
                  <a:lnTo>
                    <a:pt x="280245" y="87145"/>
                  </a:lnTo>
                  <a:lnTo>
                    <a:pt x="267707" y="96031"/>
                  </a:lnTo>
                  <a:lnTo>
                    <a:pt x="255540" y="105422"/>
                  </a:lnTo>
                  <a:lnTo>
                    <a:pt x="243754" y="115322"/>
                  </a:lnTo>
                  <a:lnTo>
                    <a:pt x="232388" y="125712"/>
                  </a:lnTo>
                  <a:lnTo>
                    <a:pt x="221450" y="136598"/>
                  </a:lnTo>
                  <a:lnTo>
                    <a:pt x="210968" y="147970"/>
                  </a:lnTo>
                  <a:lnTo>
                    <a:pt x="200968" y="159822"/>
                  </a:lnTo>
                  <a:lnTo>
                    <a:pt x="191468" y="172151"/>
                  </a:lnTo>
                  <a:lnTo>
                    <a:pt x="182497" y="184946"/>
                  </a:lnTo>
                  <a:lnTo>
                    <a:pt x="174068" y="198208"/>
                  </a:lnTo>
                  <a:lnTo>
                    <a:pt x="166206" y="211928"/>
                  </a:lnTo>
                  <a:lnTo>
                    <a:pt x="158940" y="226099"/>
                  </a:lnTo>
                  <a:lnTo>
                    <a:pt x="152282" y="240713"/>
                  </a:lnTo>
                  <a:lnTo>
                    <a:pt x="146268" y="255775"/>
                  </a:lnTo>
                  <a:lnTo>
                    <a:pt x="140906" y="271271"/>
                  </a:lnTo>
                  <a:lnTo>
                    <a:pt x="136230" y="287195"/>
                  </a:lnTo>
                  <a:lnTo>
                    <a:pt x="132258" y="303547"/>
                  </a:lnTo>
                  <a:lnTo>
                    <a:pt x="129011" y="320314"/>
                  </a:lnTo>
                  <a:lnTo>
                    <a:pt x="126515" y="337495"/>
                  </a:lnTo>
                  <a:lnTo>
                    <a:pt x="124787" y="355086"/>
                  </a:lnTo>
                  <a:lnTo>
                    <a:pt x="123853" y="373081"/>
                  </a:lnTo>
                  <a:lnTo>
                    <a:pt x="123739" y="391467"/>
                  </a:lnTo>
                  <a:lnTo>
                    <a:pt x="124463" y="410248"/>
                  </a:lnTo>
                  <a:lnTo>
                    <a:pt x="126049" y="429415"/>
                  </a:lnTo>
                  <a:lnTo>
                    <a:pt x="128515" y="448963"/>
                  </a:lnTo>
                  <a:lnTo>
                    <a:pt x="131892" y="468882"/>
                  </a:lnTo>
                  <a:lnTo>
                    <a:pt x="153078" y="570835"/>
                  </a:lnTo>
                  <a:lnTo>
                    <a:pt x="178054" y="634326"/>
                  </a:lnTo>
                  <a:lnTo>
                    <a:pt x="222940" y="685903"/>
                  </a:lnTo>
                  <a:lnTo>
                    <a:pt x="291728" y="751682"/>
                  </a:lnTo>
                  <a:lnTo>
                    <a:pt x="291728" y="758691"/>
                  </a:lnTo>
                  <a:lnTo>
                    <a:pt x="277964" y="765694"/>
                  </a:lnTo>
                  <a:lnTo>
                    <a:pt x="253416" y="775994"/>
                  </a:lnTo>
                  <a:lnTo>
                    <a:pt x="228083" y="782704"/>
                  </a:lnTo>
                  <a:lnTo>
                    <a:pt x="202111" y="786389"/>
                  </a:lnTo>
                  <a:lnTo>
                    <a:pt x="186368" y="787651"/>
                  </a:lnTo>
                  <a:lnTo>
                    <a:pt x="174487" y="786518"/>
                  </a:lnTo>
                  <a:lnTo>
                    <a:pt x="160082" y="783013"/>
                  </a:lnTo>
                  <a:lnTo>
                    <a:pt x="149001" y="771023"/>
                  </a:lnTo>
                  <a:lnTo>
                    <a:pt x="131082" y="750798"/>
                  </a:lnTo>
                  <a:lnTo>
                    <a:pt x="119772" y="736813"/>
                  </a:lnTo>
                  <a:lnTo>
                    <a:pt x="108930" y="722574"/>
                  </a:lnTo>
                  <a:lnTo>
                    <a:pt x="98553" y="708098"/>
                  </a:lnTo>
                  <a:lnTo>
                    <a:pt x="88653" y="693393"/>
                  </a:lnTo>
                  <a:lnTo>
                    <a:pt x="79234" y="678474"/>
                  </a:lnTo>
                  <a:lnTo>
                    <a:pt x="70306" y="663350"/>
                  </a:lnTo>
                  <a:lnTo>
                    <a:pt x="61877" y="648045"/>
                  </a:lnTo>
                  <a:lnTo>
                    <a:pt x="53953" y="632564"/>
                  </a:lnTo>
                  <a:lnTo>
                    <a:pt x="46539" y="616926"/>
                  </a:lnTo>
                  <a:lnTo>
                    <a:pt x="39643" y="601140"/>
                  </a:lnTo>
                  <a:lnTo>
                    <a:pt x="33272" y="585221"/>
                  </a:lnTo>
                  <a:lnTo>
                    <a:pt x="27438" y="569183"/>
                  </a:lnTo>
                  <a:lnTo>
                    <a:pt x="22143" y="553040"/>
                  </a:lnTo>
                  <a:lnTo>
                    <a:pt x="17396" y="536806"/>
                  </a:lnTo>
                  <a:lnTo>
                    <a:pt x="13205" y="520497"/>
                  </a:lnTo>
                  <a:lnTo>
                    <a:pt x="9572" y="504120"/>
                  </a:lnTo>
                  <a:lnTo>
                    <a:pt x="6514" y="487692"/>
                  </a:lnTo>
                  <a:lnTo>
                    <a:pt x="4029" y="471225"/>
                  </a:lnTo>
                  <a:lnTo>
                    <a:pt x="2129" y="454734"/>
                  </a:lnTo>
                  <a:lnTo>
                    <a:pt x="819" y="438234"/>
                  </a:lnTo>
                  <a:lnTo>
                    <a:pt x="105" y="421739"/>
                  </a:lnTo>
                  <a:lnTo>
                    <a:pt x="0" y="405258"/>
                  </a:lnTo>
                  <a:lnTo>
                    <a:pt x="505" y="388810"/>
                  </a:lnTo>
                  <a:lnTo>
                    <a:pt x="1634" y="372405"/>
                  </a:lnTo>
                  <a:lnTo>
                    <a:pt x="3386" y="356057"/>
                  </a:lnTo>
                  <a:lnTo>
                    <a:pt x="5772" y="339781"/>
                  </a:lnTo>
                  <a:lnTo>
                    <a:pt x="8800" y="323585"/>
                  </a:lnTo>
                  <a:lnTo>
                    <a:pt x="12477" y="307495"/>
                  </a:lnTo>
                  <a:lnTo>
                    <a:pt x="16810" y="291514"/>
                  </a:lnTo>
                  <a:lnTo>
                    <a:pt x="21805" y="275657"/>
                  </a:lnTo>
                  <a:lnTo>
                    <a:pt x="27467" y="259937"/>
                  </a:lnTo>
                  <a:lnTo>
                    <a:pt x="33810" y="244371"/>
                  </a:lnTo>
                  <a:lnTo>
                    <a:pt x="40839" y="228975"/>
                  </a:lnTo>
                  <a:lnTo>
                    <a:pt x="48558" y="213751"/>
                  </a:lnTo>
                  <a:lnTo>
                    <a:pt x="56972" y="198727"/>
                  </a:lnTo>
                  <a:lnTo>
                    <a:pt x="66096" y="183908"/>
                  </a:lnTo>
                  <a:lnTo>
                    <a:pt x="75934" y="169308"/>
                  </a:lnTo>
                  <a:lnTo>
                    <a:pt x="86491" y="154941"/>
                  </a:lnTo>
                  <a:lnTo>
                    <a:pt x="97772" y="140827"/>
                  </a:lnTo>
                  <a:lnTo>
                    <a:pt x="109792" y="126970"/>
                  </a:lnTo>
                  <a:lnTo>
                    <a:pt x="122554" y="113388"/>
                  </a:lnTo>
                  <a:lnTo>
                    <a:pt x="136063" y="100093"/>
                  </a:lnTo>
                  <a:lnTo>
                    <a:pt x="150330" y="87102"/>
                  </a:lnTo>
                  <a:lnTo>
                    <a:pt x="165363" y="74426"/>
                  </a:lnTo>
                  <a:lnTo>
                    <a:pt x="176763" y="65460"/>
                  </a:lnTo>
                  <a:lnTo>
                    <a:pt x="188754" y="56621"/>
                  </a:lnTo>
                  <a:lnTo>
                    <a:pt x="201321" y="47950"/>
                  </a:lnTo>
                  <a:lnTo>
                    <a:pt x="214450" y="39478"/>
                  </a:lnTo>
                  <a:lnTo>
                    <a:pt x="228135" y="31245"/>
                  </a:lnTo>
                  <a:lnTo>
                    <a:pt x="242354" y="23288"/>
                  </a:lnTo>
                  <a:lnTo>
                    <a:pt x="257097" y="15645"/>
                  </a:lnTo>
                  <a:lnTo>
                    <a:pt x="272350" y="8350"/>
                  </a:lnTo>
                  <a:lnTo>
                    <a:pt x="288107" y="1445"/>
                  </a:lnTo>
                  <a:lnTo>
                    <a:pt x="291728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1CF3090-F5C5-2BCA-EF46-2EFE4597FE63}"/>
              </a:ext>
            </a:extLst>
          </p:cNvPr>
          <p:cNvSpPr/>
          <p:nvPr userDrawn="1"/>
        </p:nvSpPr>
        <p:spPr>
          <a:xfrm>
            <a:off x="0" y="1313468"/>
            <a:ext cx="12192000" cy="119176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CC684487-180B-46EB-9A00-CB18D4E3934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15900" y="1366838"/>
            <a:ext cx="5789613" cy="4949825"/>
          </a:xfrm>
          <a:ln>
            <a:solidFill>
              <a:srgbClr val="CAB9A7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8" name="Chart Placeholder 4">
            <a:extLst>
              <a:ext uri="{FF2B5EF4-FFF2-40B4-BE49-F238E27FC236}">
                <a16:creationId xmlns:a16="http://schemas.microsoft.com/office/drawing/2014/main" id="{A913ABE9-59F7-4560-9008-D9F30916F6A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184900" y="1366838"/>
            <a:ext cx="5789613" cy="4949825"/>
          </a:xfrm>
          <a:ln>
            <a:solidFill>
              <a:srgbClr val="CAB9A7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C116470-EDC1-9A34-9BAD-049B6BE6C9E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159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2194F98E-77A8-07A2-A0E4-9B041DC67FC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849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7673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25B72A-002C-4B66-4319-6DCC4F7EAC7F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2939A65-C057-4305-B746-2B3D4F93F3B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15900" y="3505200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6C9248-82BC-428C-8FF6-0B7A5C55D2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84900" y="3505200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A3BD71D8-9983-8A3B-E4C8-5C503CDB75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2829154"/>
            <a:ext cx="309562" cy="1428292"/>
          </a:xfrm>
        </p:spPr>
        <p:txBody>
          <a:bodyPr vert="vert270" wrap="none" lIns="0" tIns="180000" rIns="72000" bIns="0" anchor="b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69265282-C418-D386-F345-18DCD7BDFE3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72200" y="2829154"/>
            <a:ext cx="309562" cy="1428292"/>
          </a:xfrm>
        </p:spPr>
        <p:txBody>
          <a:bodyPr vert="vert270" wrap="none" lIns="0" tIns="180000" rIns="72000" bIns="0" anchor="b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1CF3090-F5C5-2BCA-EF46-2EFE4597FE63}"/>
              </a:ext>
            </a:extLst>
          </p:cNvPr>
          <p:cNvSpPr/>
          <p:nvPr userDrawn="1"/>
        </p:nvSpPr>
        <p:spPr>
          <a:xfrm>
            <a:off x="0" y="1313468"/>
            <a:ext cx="12192000" cy="119176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CC684487-180B-46EB-9A00-CB18D4E3934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15900" y="1366838"/>
            <a:ext cx="5789613" cy="4949825"/>
          </a:xfrm>
          <a:ln>
            <a:solidFill>
              <a:srgbClr val="CAB9A7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8" name="Chart Placeholder 4">
            <a:extLst>
              <a:ext uri="{FF2B5EF4-FFF2-40B4-BE49-F238E27FC236}">
                <a16:creationId xmlns:a16="http://schemas.microsoft.com/office/drawing/2014/main" id="{A913ABE9-59F7-4560-9008-D9F30916F6A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184900" y="1366838"/>
            <a:ext cx="5789613" cy="4949825"/>
          </a:xfrm>
          <a:ln>
            <a:solidFill>
              <a:srgbClr val="CAB9A7"/>
            </a:solidFill>
          </a:ln>
        </p:spPr>
        <p:txBody>
          <a:bodyPr/>
          <a:lstStyle/>
          <a:p>
            <a:endParaRPr lang="en-GB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8E0C0C0-6463-118B-09C4-52D535E1BDF0}"/>
              </a:ext>
            </a:extLst>
          </p:cNvPr>
          <p:cNvGrpSpPr/>
          <p:nvPr userDrawn="1"/>
        </p:nvGrpSpPr>
        <p:grpSpPr>
          <a:xfrm>
            <a:off x="11049000" y="1371600"/>
            <a:ext cx="1147784" cy="1400164"/>
            <a:chOff x="11049000" y="4929548"/>
            <a:chExt cx="1147784" cy="1400163"/>
          </a:xfrm>
          <a:solidFill>
            <a:schemeClr val="accent5"/>
          </a:solidFill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4D4B46F-D14C-C852-47FE-CE327463D1B2}"/>
                </a:ext>
              </a:extLst>
            </p:cNvPr>
            <p:cNvSpPr/>
            <p:nvPr userDrawn="1"/>
          </p:nvSpPr>
          <p:spPr>
            <a:xfrm>
              <a:off x="12192000" y="6293742"/>
              <a:ext cx="4784" cy="7009"/>
            </a:xfrm>
            <a:custGeom>
              <a:avLst/>
              <a:gdLst>
                <a:gd name="connsiteX0" fmla="*/ 0 w 4784"/>
                <a:gd name="connsiteY0" fmla="*/ 0 h 7009"/>
                <a:gd name="connsiteX1" fmla="*/ 4784 w 4784"/>
                <a:gd name="connsiteY1" fmla="*/ 4574 h 7009"/>
                <a:gd name="connsiteX2" fmla="*/ 0 w 4784"/>
                <a:gd name="connsiteY2" fmla="*/ 7009 h 7009"/>
                <a:gd name="connsiteX3" fmla="*/ 0 w 4784"/>
                <a:gd name="connsiteY3" fmla="*/ 0 h 7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4" h="7009">
                  <a:moveTo>
                    <a:pt x="0" y="0"/>
                  </a:moveTo>
                  <a:lnTo>
                    <a:pt x="4784" y="4574"/>
                  </a:lnTo>
                  <a:lnTo>
                    <a:pt x="0" y="70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25DDD7F-CC4E-9F48-ADF9-0A0A47C6984C}"/>
                </a:ext>
              </a:extLst>
            </p:cNvPr>
            <p:cNvSpPr/>
            <p:nvPr userDrawn="1"/>
          </p:nvSpPr>
          <p:spPr>
            <a:xfrm>
              <a:off x="11049000" y="4929548"/>
              <a:ext cx="1143000" cy="1092840"/>
            </a:xfrm>
            <a:custGeom>
              <a:avLst/>
              <a:gdLst>
                <a:gd name="connsiteX0" fmla="*/ 1143000 w 1143000"/>
                <a:gd name="connsiteY0" fmla="*/ 0 h 1092840"/>
                <a:gd name="connsiteX1" fmla="*/ 1143000 w 1143000"/>
                <a:gd name="connsiteY1" fmla="*/ 99531 h 1092840"/>
                <a:gd name="connsiteX2" fmla="*/ 1131798 w 1143000"/>
                <a:gd name="connsiteY2" fmla="*/ 100952 h 1092840"/>
                <a:gd name="connsiteX3" fmla="*/ 1110140 w 1143000"/>
                <a:gd name="connsiteY3" fmla="*/ 104580 h 1092840"/>
                <a:gd name="connsiteX4" fmla="*/ 1089117 w 1143000"/>
                <a:gd name="connsiteY4" fmla="*/ 108980 h 1092840"/>
                <a:gd name="connsiteX5" fmla="*/ 1068712 w 1143000"/>
                <a:gd name="connsiteY5" fmla="*/ 114128 h 1092840"/>
                <a:gd name="connsiteX6" fmla="*/ 1048926 w 1143000"/>
                <a:gd name="connsiteY6" fmla="*/ 119990 h 1092840"/>
                <a:gd name="connsiteX7" fmla="*/ 1029745 w 1143000"/>
                <a:gd name="connsiteY7" fmla="*/ 126533 h 1092840"/>
                <a:gd name="connsiteX8" fmla="*/ 1011168 w 1143000"/>
                <a:gd name="connsiteY8" fmla="*/ 133733 h 1092840"/>
                <a:gd name="connsiteX9" fmla="*/ 993178 w 1143000"/>
                <a:gd name="connsiteY9" fmla="*/ 141561 h 1092840"/>
                <a:gd name="connsiteX10" fmla="*/ 975768 w 1143000"/>
                <a:gd name="connsiteY10" fmla="*/ 149980 h 1092840"/>
                <a:gd name="connsiteX11" fmla="*/ 958935 w 1143000"/>
                <a:gd name="connsiteY11" fmla="*/ 158966 h 1092840"/>
                <a:gd name="connsiteX12" fmla="*/ 942668 w 1143000"/>
                <a:gd name="connsiteY12" fmla="*/ 168485 h 1092840"/>
                <a:gd name="connsiteX13" fmla="*/ 926959 w 1143000"/>
                <a:gd name="connsiteY13" fmla="*/ 178514 h 1092840"/>
                <a:gd name="connsiteX14" fmla="*/ 911801 w 1143000"/>
                <a:gd name="connsiteY14" fmla="*/ 189019 h 1092840"/>
                <a:gd name="connsiteX15" fmla="*/ 897182 w 1143000"/>
                <a:gd name="connsiteY15" fmla="*/ 199971 h 1092840"/>
                <a:gd name="connsiteX16" fmla="*/ 883096 w 1143000"/>
                <a:gd name="connsiteY16" fmla="*/ 211338 h 1092840"/>
                <a:gd name="connsiteX17" fmla="*/ 869539 w 1143000"/>
                <a:gd name="connsiteY17" fmla="*/ 223095 h 1092840"/>
                <a:gd name="connsiteX18" fmla="*/ 856496 w 1143000"/>
                <a:gd name="connsiteY18" fmla="*/ 235205 h 1092840"/>
                <a:gd name="connsiteX19" fmla="*/ 843963 w 1143000"/>
                <a:gd name="connsiteY19" fmla="*/ 247648 h 1092840"/>
                <a:gd name="connsiteX20" fmla="*/ 831929 w 1143000"/>
                <a:gd name="connsiteY20" fmla="*/ 260386 h 1092840"/>
                <a:gd name="connsiteX21" fmla="*/ 820391 w 1143000"/>
                <a:gd name="connsiteY21" fmla="*/ 273391 h 1092840"/>
                <a:gd name="connsiteX22" fmla="*/ 809334 w 1143000"/>
                <a:gd name="connsiteY22" fmla="*/ 286639 h 1092840"/>
                <a:gd name="connsiteX23" fmla="*/ 798758 w 1143000"/>
                <a:gd name="connsiteY23" fmla="*/ 300091 h 1092840"/>
                <a:gd name="connsiteX24" fmla="*/ 788643 w 1143000"/>
                <a:gd name="connsiteY24" fmla="*/ 313725 h 1092840"/>
                <a:gd name="connsiteX25" fmla="*/ 778991 w 1143000"/>
                <a:gd name="connsiteY25" fmla="*/ 327511 h 1092840"/>
                <a:gd name="connsiteX26" fmla="*/ 769791 w 1143000"/>
                <a:gd name="connsiteY26" fmla="*/ 341415 h 1092840"/>
                <a:gd name="connsiteX27" fmla="*/ 761038 w 1143000"/>
                <a:gd name="connsiteY27" fmla="*/ 355406 h 1092840"/>
                <a:gd name="connsiteX28" fmla="*/ 752714 w 1143000"/>
                <a:gd name="connsiteY28" fmla="*/ 369458 h 1092840"/>
                <a:gd name="connsiteX29" fmla="*/ 744819 w 1143000"/>
                <a:gd name="connsiteY29" fmla="*/ 383544 h 1092840"/>
                <a:gd name="connsiteX30" fmla="*/ 737343 w 1143000"/>
                <a:gd name="connsiteY30" fmla="*/ 397630 h 1092840"/>
                <a:gd name="connsiteX31" fmla="*/ 730281 w 1143000"/>
                <a:gd name="connsiteY31" fmla="*/ 411688 h 1092840"/>
                <a:gd name="connsiteX32" fmla="*/ 723619 w 1143000"/>
                <a:gd name="connsiteY32" fmla="*/ 425683 h 1092840"/>
                <a:gd name="connsiteX33" fmla="*/ 717352 w 1143000"/>
                <a:gd name="connsiteY33" fmla="*/ 439592 h 1092840"/>
                <a:gd name="connsiteX34" fmla="*/ 711466 w 1143000"/>
                <a:gd name="connsiteY34" fmla="*/ 453388 h 1092840"/>
                <a:gd name="connsiteX35" fmla="*/ 705967 w 1143000"/>
                <a:gd name="connsiteY35" fmla="*/ 467031 h 1092840"/>
                <a:gd name="connsiteX36" fmla="*/ 700833 w 1143000"/>
                <a:gd name="connsiteY36" fmla="*/ 480498 h 1092840"/>
                <a:gd name="connsiteX37" fmla="*/ 691642 w 1143000"/>
                <a:gd name="connsiteY37" fmla="*/ 506779 h 1092840"/>
                <a:gd name="connsiteX38" fmla="*/ 683828 w 1143000"/>
                <a:gd name="connsiteY38" fmla="*/ 531998 h 1092840"/>
                <a:gd name="connsiteX39" fmla="*/ 677338 w 1143000"/>
                <a:gd name="connsiteY39" fmla="*/ 555908 h 1092840"/>
                <a:gd name="connsiteX40" fmla="*/ 672090 w 1143000"/>
                <a:gd name="connsiteY40" fmla="*/ 578279 h 1092840"/>
                <a:gd name="connsiteX41" fmla="*/ 668033 w 1143000"/>
                <a:gd name="connsiteY41" fmla="*/ 598870 h 1092840"/>
                <a:gd name="connsiteX42" fmla="*/ 665090 w 1143000"/>
                <a:gd name="connsiteY42" fmla="*/ 617446 h 1092840"/>
                <a:gd name="connsiteX43" fmla="*/ 662823 w 1143000"/>
                <a:gd name="connsiteY43" fmla="*/ 635299 h 1092840"/>
                <a:gd name="connsiteX44" fmla="*/ 660885 w 1143000"/>
                <a:gd name="connsiteY44" fmla="*/ 653561 h 1092840"/>
                <a:gd name="connsiteX45" fmla="*/ 659290 w 1143000"/>
                <a:gd name="connsiteY45" fmla="*/ 672180 h 1092840"/>
                <a:gd name="connsiteX46" fmla="*/ 658033 w 1143000"/>
                <a:gd name="connsiteY46" fmla="*/ 691113 h 1092840"/>
                <a:gd name="connsiteX47" fmla="*/ 657114 w 1143000"/>
                <a:gd name="connsiteY47" fmla="*/ 710313 h 1092840"/>
                <a:gd name="connsiteX48" fmla="*/ 656547 w 1143000"/>
                <a:gd name="connsiteY48" fmla="*/ 729728 h 1092840"/>
                <a:gd name="connsiteX49" fmla="*/ 656323 w 1143000"/>
                <a:gd name="connsiteY49" fmla="*/ 749314 h 1092840"/>
                <a:gd name="connsiteX50" fmla="*/ 656452 w 1143000"/>
                <a:gd name="connsiteY50" fmla="*/ 769024 h 1092840"/>
                <a:gd name="connsiteX51" fmla="*/ 656933 w 1143000"/>
                <a:gd name="connsiteY51" fmla="*/ 788809 h 1092840"/>
                <a:gd name="connsiteX52" fmla="*/ 657771 w 1143000"/>
                <a:gd name="connsiteY52" fmla="*/ 808624 h 1092840"/>
                <a:gd name="connsiteX53" fmla="*/ 658966 w 1143000"/>
                <a:gd name="connsiteY53" fmla="*/ 828419 h 1092840"/>
                <a:gd name="connsiteX54" fmla="*/ 660528 w 1143000"/>
                <a:gd name="connsiteY54" fmla="*/ 848153 h 1092840"/>
                <a:gd name="connsiteX55" fmla="*/ 662452 w 1143000"/>
                <a:gd name="connsiteY55" fmla="*/ 867767 h 1092840"/>
                <a:gd name="connsiteX56" fmla="*/ 664742 w 1143000"/>
                <a:gd name="connsiteY56" fmla="*/ 887225 h 1092840"/>
                <a:gd name="connsiteX57" fmla="*/ 667404 w 1143000"/>
                <a:gd name="connsiteY57" fmla="*/ 906473 h 1092840"/>
                <a:gd name="connsiteX58" fmla="*/ 670438 w 1143000"/>
                <a:gd name="connsiteY58" fmla="*/ 925463 h 1092840"/>
                <a:gd name="connsiteX59" fmla="*/ 673847 w 1143000"/>
                <a:gd name="connsiteY59" fmla="*/ 944154 h 1092840"/>
                <a:gd name="connsiteX60" fmla="*/ 677638 w 1143000"/>
                <a:gd name="connsiteY60" fmla="*/ 962497 h 1092840"/>
                <a:gd name="connsiteX61" fmla="*/ 681809 w 1143000"/>
                <a:gd name="connsiteY61" fmla="*/ 980440 h 1092840"/>
                <a:gd name="connsiteX62" fmla="*/ 686366 w 1143000"/>
                <a:gd name="connsiteY62" fmla="*/ 997940 h 1092840"/>
                <a:gd name="connsiteX63" fmla="*/ 691309 w 1143000"/>
                <a:gd name="connsiteY63" fmla="*/ 1014950 h 1092840"/>
                <a:gd name="connsiteX64" fmla="*/ 696638 w 1143000"/>
                <a:gd name="connsiteY64" fmla="*/ 1031421 h 1092840"/>
                <a:gd name="connsiteX65" fmla="*/ 702367 w 1143000"/>
                <a:gd name="connsiteY65" fmla="*/ 1047302 h 1092840"/>
                <a:gd name="connsiteX66" fmla="*/ 708486 w 1143000"/>
                <a:gd name="connsiteY66" fmla="*/ 1062554 h 1092840"/>
                <a:gd name="connsiteX67" fmla="*/ 715005 w 1143000"/>
                <a:gd name="connsiteY67" fmla="*/ 1077126 h 1092840"/>
                <a:gd name="connsiteX68" fmla="*/ 721924 w 1143000"/>
                <a:gd name="connsiteY68" fmla="*/ 1090969 h 1092840"/>
                <a:gd name="connsiteX69" fmla="*/ 706938 w 1143000"/>
                <a:gd name="connsiteY69" fmla="*/ 1092007 h 1092840"/>
                <a:gd name="connsiteX70" fmla="*/ 692000 w 1143000"/>
                <a:gd name="connsiteY70" fmla="*/ 1092636 h 1092840"/>
                <a:gd name="connsiteX71" fmla="*/ 677123 w 1143000"/>
                <a:gd name="connsiteY71" fmla="*/ 1092840 h 1092840"/>
                <a:gd name="connsiteX72" fmla="*/ 662328 w 1143000"/>
                <a:gd name="connsiteY72" fmla="*/ 1092621 h 1092840"/>
                <a:gd name="connsiteX73" fmla="*/ 647623 w 1143000"/>
                <a:gd name="connsiteY73" fmla="*/ 1091965 h 1092840"/>
                <a:gd name="connsiteX74" fmla="*/ 633023 w 1143000"/>
                <a:gd name="connsiteY74" fmla="*/ 1090860 h 1092840"/>
                <a:gd name="connsiteX75" fmla="*/ 618542 w 1143000"/>
                <a:gd name="connsiteY75" fmla="*/ 1089302 h 1092840"/>
                <a:gd name="connsiteX76" fmla="*/ 604195 w 1143000"/>
                <a:gd name="connsiteY76" fmla="*/ 1087284 h 1092840"/>
                <a:gd name="connsiteX77" fmla="*/ 589989 w 1143000"/>
                <a:gd name="connsiteY77" fmla="*/ 1084793 h 1092840"/>
                <a:gd name="connsiteX78" fmla="*/ 575951 w 1143000"/>
                <a:gd name="connsiteY78" fmla="*/ 1081826 h 1092840"/>
                <a:gd name="connsiteX79" fmla="*/ 548403 w 1143000"/>
                <a:gd name="connsiteY79" fmla="*/ 1074417 h 1092840"/>
                <a:gd name="connsiteX80" fmla="*/ 521665 w 1143000"/>
                <a:gd name="connsiteY80" fmla="*/ 1064988 h 1092840"/>
                <a:gd name="connsiteX81" fmla="*/ 495846 w 1143000"/>
                <a:gd name="connsiteY81" fmla="*/ 1053474 h 1092840"/>
                <a:gd name="connsiteX82" fmla="*/ 471055 w 1143000"/>
                <a:gd name="connsiteY82" fmla="*/ 1039812 h 1092840"/>
                <a:gd name="connsiteX83" fmla="*/ 447408 w 1143000"/>
                <a:gd name="connsiteY83" fmla="*/ 1023926 h 1092840"/>
                <a:gd name="connsiteX84" fmla="*/ 436041 w 1143000"/>
                <a:gd name="connsiteY84" fmla="*/ 1015130 h 1092840"/>
                <a:gd name="connsiteX85" fmla="*/ 425003 w 1143000"/>
                <a:gd name="connsiteY85" fmla="*/ 1005754 h 1092840"/>
                <a:gd name="connsiteX86" fmla="*/ 414307 w 1143000"/>
                <a:gd name="connsiteY86" fmla="*/ 995788 h 1092840"/>
                <a:gd name="connsiteX87" fmla="*/ 403964 w 1143000"/>
                <a:gd name="connsiteY87" fmla="*/ 985225 h 1092840"/>
                <a:gd name="connsiteX88" fmla="*/ 393988 w 1143000"/>
                <a:gd name="connsiteY88" fmla="*/ 974059 h 1092840"/>
                <a:gd name="connsiteX89" fmla="*/ 384398 w 1143000"/>
                <a:gd name="connsiteY89" fmla="*/ 962278 h 1092840"/>
                <a:gd name="connsiteX90" fmla="*/ 375198 w 1143000"/>
                <a:gd name="connsiteY90" fmla="*/ 949873 h 1092840"/>
                <a:gd name="connsiteX91" fmla="*/ 366407 w 1143000"/>
                <a:gd name="connsiteY91" fmla="*/ 936839 h 1092840"/>
                <a:gd name="connsiteX92" fmla="*/ 358045 w 1143000"/>
                <a:gd name="connsiteY92" fmla="*/ 923163 h 1092840"/>
                <a:gd name="connsiteX93" fmla="*/ 350112 w 1143000"/>
                <a:gd name="connsiteY93" fmla="*/ 908839 h 1092840"/>
                <a:gd name="connsiteX94" fmla="*/ 342636 w 1143000"/>
                <a:gd name="connsiteY94" fmla="*/ 893863 h 1092840"/>
                <a:gd name="connsiteX95" fmla="*/ 335621 w 1143000"/>
                <a:gd name="connsiteY95" fmla="*/ 878220 h 1092840"/>
                <a:gd name="connsiteX96" fmla="*/ 329088 w 1143000"/>
                <a:gd name="connsiteY96" fmla="*/ 861905 h 1092840"/>
                <a:gd name="connsiteX97" fmla="*/ 323045 w 1143000"/>
                <a:gd name="connsiteY97" fmla="*/ 844910 h 1092840"/>
                <a:gd name="connsiteX98" fmla="*/ 317507 w 1143000"/>
                <a:gd name="connsiteY98" fmla="*/ 827224 h 1092840"/>
                <a:gd name="connsiteX99" fmla="*/ 312493 w 1143000"/>
                <a:gd name="connsiteY99" fmla="*/ 808838 h 1092840"/>
                <a:gd name="connsiteX100" fmla="*/ 308007 w 1143000"/>
                <a:gd name="connsiteY100" fmla="*/ 789748 h 1092840"/>
                <a:gd name="connsiteX101" fmla="*/ 304073 w 1143000"/>
                <a:gd name="connsiteY101" fmla="*/ 769938 h 1092840"/>
                <a:gd name="connsiteX102" fmla="*/ 300697 w 1143000"/>
                <a:gd name="connsiteY102" fmla="*/ 749409 h 1092840"/>
                <a:gd name="connsiteX103" fmla="*/ 297902 w 1143000"/>
                <a:gd name="connsiteY103" fmla="*/ 728147 h 1092840"/>
                <a:gd name="connsiteX104" fmla="*/ 295687 w 1143000"/>
                <a:gd name="connsiteY104" fmla="*/ 706147 h 1092840"/>
                <a:gd name="connsiteX105" fmla="*/ 294083 w 1143000"/>
                <a:gd name="connsiteY105" fmla="*/ 683394 h 1092840"/>
                <a:gd name="connsiteX106" fmla="*/ 293092 w 1143000"/>
                <a:gd name="connsiteY106" fmla="*/ 659884 h 1092840"/>
                <a:gd name="connsiteX107" fmla="*/ 292731 w 1143000"/>
                <a:gd name="connsiteY107" fmla="*/ 635613 h 1092840"/>
                <a:gd name="connsiteX108" fmla="*/ 293016 w 1143000"/>
                <a:gd name="connsiteY108" fmla="*/ 610565 h 1092840"/>
                <a:gd name="connsiteX109" fmla="*/ 271916 w 1143000"/>
                <a:gd name="connsiteY109" fmla="*/ 609608 h 1092840"/>
                <a:gd name="connsiteX110" fmla="*/ 251459 w 1143000"/>
                <a:gd name="connsiteY110" fmla="*/ 607641 h 1092840"/>
                <a:gd name="connsiteX111" fmla="*/ 231649 w 1143000"/>
                <a:gd name="connsiteY111" fmla="*/ 604694 h 1092840"/>
                <a:gd name="connsiteX112" fmla="*/ 212506 w 1143000"/>
                <a:gd name="connsiteY112" fmla="*/ 600779 h 1092840"/>
                <a:gd name="connsiteX113" fmla="*/ 194020 w 1143000"/>
                <a:gd name="connsiteY113" fmla="*/ 595917 h 1092840"/>
                <a:gd name="connsiteX114" fmla="*/ 176210 w 1143000"/>
                <a:gd name="connsiteY114" fmla="*/ 590132 h 1092840"/>
                <a:gd name="connsiteX115" fmla="*/ 159082 w 1143000"/>
                <a:gd name="connsiteY115" fmla="*/ 583437 h 1092840"/>
                <a:gd name="connsiteX116" fmla="*/ 142634 w 1143000"/>
                <a:gd name="connsiteY116" fmla="*/ 575860 h 1092840"/>
                <a:gd name="connsiteX117" fmla="*/ 126877 w 1143000"/>
                <a:gd name="connsiteY117" fmla="*/ 567417 h 1092840"/>
                <a:gd name="connsiteX118" fmla="*/ 111820 w 1143000"/>
                <a:gd name="connsiteY118" fmla="*/ 558127 h 1092840"/>
                <a:gd name="connsiteX119" fmla="*/ 97462 w 1143000"/>
                <a:gd name="connsiteY119" fmla="*/ 548012 h 1092840"/>
                <a:gd name="connsiteX120" fmla="*/ 83820 w 1143000"/>
                <a:gd name="connsiteY120" fmla="*/ 537093 h 1092840"/>
                <a:gd name="connsiteX121" fmla="*/ 70896 w 1143000"/>
                <a:gd name="connsiteY121" fmla="*/ 525393 h 1092840"/>
                <a:gd name="connsiteX122" fmla="*/ 58696 w 1143000"/>
                <a:gd name="connsiteY122" fmla="*/ 512922 h 1092840"/>
                <a:gd name="connsiteX123" fmla="*/ 47224 w 1143000"/>
                <a:gd name="connsiteY123" fmla="*/ 499707 h 1092840"/>
                <a:gd name="connsiteX124" fmla="*/ 36491 w 1143000"/>
                <a:gd name="connsiteY124" fmla="*/ 485769 h 1092840"/>
                <a:gd name="connsiteX125" fmla="*/ 26500 w 1143000"/>
                <a:gd name="connsiteY125" fmla="*/ 471131 h 1092840"/>
                <a:gd name="connsiteX126" fmla="*/ 17262 w 1143000"/>
                <a:gd name="connsiteY126" fmla="*/ 455802 h 1092840"/>
                <a:gd name="connsiteX127" fmla="*/ 8781 w 1143000"/>
                <a:gd name="connsiteY127" fmla="*/ 439811 h 1092840"/>
                <a:gd name="connsiteX128" fmla="*/ 0 w 1143000"/>
                <a:gd name="connsiteY128" fmla="*/ 419692 h 1092840"/>
                <a:gd name="connsiteX129" fmla="*/ 500 w 1143000"/>
                <a:gd name="connsiteY129" fmla="*/ 417887 h 1092840"/>
                <a:gd name="connsiteX130" fmla="*/ 11771 w 1143000"/>
                <a:gd name="connsiteY130" fmla="*/ 429583 h 1092840"/>
                <a:gd name="connsiteX131" fmla="*/ 23705 w 1143000"/>
                <a:gd name="connsiteY131" fmla="*/ 440735 h 1092840"/>
                <a:gd name="connsiteX132" fmla="*/ 36276 w 1143000"/>
                <a:gd name="connsiteY132" fmla="*/ 451340 h 1092840"/>
                <a:gd name="connsiteX133" fmla="*/ 49453 w 1143000"/>
                <a:gd name="connsiteY133" fmla="*/ 461373 h 1092840"/>
                <a:gd name="connsiteX134" fmla="*/ 63215 w 1143000"/>
                <a:gd name="connsiteY134" fmla="*/ 470831 h 1092840"/>
                <a:gd name="connsiteX135" fmla="*/ 77524 w 1143000"/>
                <a:gd name="connsiteY135" fmla="*/ 479693 h 1092840"/>
                <a:gd name="connsiteX136" fmla="*/ 92367 w 1143000"/>
                <a:gd name="connsiteY136" fmla="*/ 487945 h 1092840"/>
                <a:gd name="connsiteX137" fmla="*/ 107705 w 1143000"/>
                <a:gd name="connsiteY137" fmla="*/ 495579 h 1092840"/>
                <a:gd name="connsiteX138" fmla="*/ 123515 w 1143000"/>
                <a:gd name="connsiteY138" fmla="*/ 502579 h 1092840"/>
                <a:gd name="connsiteX139" fmla="*/ 139767 w 1143000"/>
                <a:gd name="connsiteY139" fmla="*/ 508931 h 1092840"/>
                <a:gd name="connsiteX140" fmla="*/ 156439 w 1143000"/>
                <a:gd name="connsiteY140" fmla="*/ 514622 h 1092840"/>
                <a:gd name="connsiteX141" fmla="*/ 173496 w 1143000"/>
                <a:gd name="connsiteY141" fmla="*/ 519636 h 1092840"/>
                <a:gd name="connsiteX142" fmla="*/ 190915 w 1143000"/>
                <a:gd name="connsiteY142" fmla="*/ 523964 h 1092840"/>
                <a:gd name="connsiteX143" fmla="*/ 208673 w 1143000"/>
                <a:gd name="connsiteY143" fmla="*/ 527593 h 1092840"/>
                <a:gd name="connsiteX144" fmla="*/ 226730 w 1143000"/>
                <a:gd name="connsiteY144" fmla="*/ 530502 h 1092840"/>
                <a:gd name="connsiteX145" fmla="*/ 245073 w 1143000"/>
                <a:gd name="connsiteY145" fmla="*/ 532688 h 1092840"/>
                <a:gd name="connsiteX146" fmla="*/ 263664 w 1143000"/>
                <a:gd name="connsiteY146" fmla="*/ 534131 h 1092840"/>
                <a:gd name="connsiteX147" fmla="*/ 282478 w 1143000"/>
                <a:gd name="connsiteY147" fmla="*/ 534817 h 1092840"/>
                <a:gd name="connsiteX148" fmla="*/ 301488 w 1143000"/>
                <a:gd name="connsiteY148" fmla="*/ 534736 h 1092840"/>
                <a:gd name="connsiteX149" fmla="*/ 320669 w 1143000"/>
                <a:gd name="connsiteY149" fmla="*/ 533869 h 1092840"/>
                <a:gd name="connsiteX150" fmla="*/ 339993 w 1143000"/>
                <a:gd name="connsiteY150" fmla="*/ 532212 h 1092840"/>
                <a:gd name="connsiteX151" fmla="*/ 359431 w 1143000"/>
                <a:gd name="connsiteY151" fmla="*/ 529741 h 1092840"/>
                <a:gd name="connsiteX152" fmla="*/ 378955 w 1143000"/>
                <a:gd name="connsiteY152" fmla="*/ 526450 h 1092840"/>
                <a:gd name="connsiteX153" fmla="*/ 409093 w 1143000"/>
                <a:gd name="connsiteY153" fmla="*/ 519712 h 1092840"/>
                <a:gd name="connsiteX154" fmla="*/ 429822 w 1143000"/>
                <a:gd name="connsiteY154" fmla="*/ 513912 h 1092840"/>
                <a:gd name="connsiteX155" fmla="*/ 439988 w 1143000"/>
                <a:gd name="connsiteY155" fmla="*/ 510722 h 1092840"/>
                <a:gd name="connsiteX156" fmla="*/ 433941 w 1143000"/>
                <a:gd name="connsiteY156" fmla="*/ 526388 h 1092840"/>
                <a:gd name="connsiteX157" fmla="*/ 428622 w 1143000"/>
                <a:gd name="connsiteY157" fmla="*/ 542650 h 1092840"/>
                <a:gd name="connsiteX158" fmla="*/ 424026 w 1143000"/>
                <a:gd name="connsiteY158" fmla="*/ 559446 h 1092840"/>
                <a:gd name="connsiteX159" fmla="*/ 420136 w 1143000"/>
                <a:gd name="connsiteY159" fmla="*/ 576722 h 1092840"/>
                <a:gd name="connsiteX160" fmla="*/ 416955 w 1143000"/>
                <a:gd name="connsiteY160" fmla="*/ 594408 h 1092840"/>
                <a:gd name="connsiteX161" fmla="*/ 414469 w 1143000"/>
                <a:gd name="connsiteY161" fmla="*/ 612451 h 1092840"/>
                <a:gd name="connsiteX162" fmla="*/ 412669 w 1143000"/>
                <a:gd name="connsiteY162" fmla="*/ 630785 h 1092840"/>
                <a:gd name="connsiteX163" fmla="*/ 411545 w 1143000"/>
                <a:gd name="connsiteY163" fmla="*/ 649351 h 1092840"/>
                <a:gd name="connsiteX164" fmla="*/ 411098 w 1143000"/>
                <a:gd name="connsiteY164" fmla="*/ 668089 h 1092840"/>
                <a:gd name="connsiteX165" fmla="*/ 411307 w 1143000"/>
                <a:gd name="connsiteY165" fmla="*/ 686942 h 1092840"/>
                <a:gd name="connsiteX166" fmla="*/ 412174 w 1143000"/>
                <a:gd name="connsiteY166" fmla="*/ 705842 h 1092840"/>
                <a:gd name="connsiteX167" fmla="*/ 413688 w 1143000"/>
                <a:gd name="connsiteY167" fmla="*/ 724733 h 1092840"/>
                <a:gd name="connsiteX168" fmla="*/ 415836 w 1143000"/>
                <a:gd name="connsiteY168" fmla="*/ 743557 h 1092840"/>
                <a:gd name="connsiteX169" fmla="*/ 418617 w 1143000"/>
                <a:gd name="connsiteY169" fmla="*/ 762243 h 1092840"/>
                <a:gd name="connsiteX170" fmla="*/ 422017 w 1143000"/>
                <a:gd name="connsiteY170" fmla="*/ 780743 h 1092840"/>
                <a:gd name="connsiteX171" fmla="*/ 426026 w 1143000"/>
                <a:gd name="connsiteY171" fmla="*/ 798986 h 1092840"/>
                <a:gd name="connsiteX172" fmla="*/ 430646 w 1143000"/>
                <a:gd name="connsiteY172" fmla="*/ 816919 h 1092840"/>
                <a:gd name="connsiteX173" fmla="*/ 435860 w 1143000"/>
                <a:gd name="connsiteY173" fmla="*/ 834481 h 1092840"/>
                <a:gd name="connsiteX174" fmla="*/ 441660 w 1143000"/>
                <a:gd name="connsiteY174" fmla="*/ 851605 h 1092840"/>
                <a:gd name="connsiteX175" fmla="*/ 448041 w 1143000"/>
                <a:gd name="connsiteY175" fmla="*/ 868234 h 1092840"/>
                <a:gd name="connsiteX176" fmla="*/ 454993 w 1143000"/>
                <a:gd name="connsiteY176" fmla="*/ 884310 h 1092840"/>
                <a:gd name="connsiteX177" fmla="*/ 462508 w 1143000"/>
                <a:gd name="connsiteY177" fmla="*/ 899768 h 1092840"/>
                <a:gd name="connsiteX178" fmla="*/ 470579 w 1143000"/>
                <a:gd name="connsiteY178" fmla="*/ 914549 h 1092840"/>
                <a:gd name="connsiteX179" fmla="*/ 479194 w 1143000"/>
                <a:gd name="connsiteY179" fmla="*/ 928597 h 1092840"/>
                <a:gd name="connsiteX180" fmla="*/ 488351 w 1143000"/>
                <a:gd name="connsiteY180" fmla="*/ 941839 h 1092840"/>
                <a:gd name="connsiteX181" fmla="*/ 498036 w 1143000"/>
                <a:gd name="connsiteY181" fmla="*/ 954230 h 1092840"/>
                <a:gd name="connsiteX182" fmla="*/ 508242 w 1143000"/>
                <a:gd name="connsiteY182" fmla="*/ 965697 h 1092840"/>
                <a:gd name="connsiteX183" fmla="*/ 518965 w 1143000"/>
                <a:gd name="connsiteY183" fmla="*/ 976187 h 1092840"/>
                <a:gd name="connsiteX184" fmla="*/ 530189 w 1143000"/>
                <a:gd name="connsiteY184" fmla="*/ 985640 h 1092840"/>
                <a:gd name="connsiteX185" fmla="*/ 541913 w 1143000"/>
                <a:gd name="connsiteY185" fmla="*/ 993987 h 1092840"/>
                <a:gd name="connsiteX186" fmla="*/ 566818 w 1143000"/>
                <a:gd name="connsiteY186" fmla="*/ 1007135 h 1092840"/>
                <a:gd name="connsiteX187" fmla="*/ 579980 w 1143000"/>
                <a:gd name="connsiteY187" fmla="*/ 1011821 h 1092840"/>
                <a:gd name="connsiteX188" fmla="*/ 574594 w 1143000"/>
                <a:gd name="connsiteY188" fmla="*/ 993825 h 1092840"/>
                <a:gd name="connsiteX189" fmla="*/ 569523 w 1143000"/>
                <a:gd name="connsiteY189" fmla="*/ 975726 h 1092840"/>
                <a:gd name="connsiteX190" fmla="*/ 564756 w 1143000"/>
                <a:gd name="connsiteY190" fmla="*/ 957535 h 1092840"/>
                <a:gd name="connsiteX191" fmla="*/ 560308 w 1143000"/>
                <a:gd name="connsiteY191" fmla="*/ 939254 h 1092840"/>
                <a:gd name="connsiteX192" fmla="*/ 556170 w 1143000"/>
                <a:gd name="connsiteY192" fmla="*/ 920901 h 1092840"/>
                <a:gd name="connsiteX193" fmla="*/ 552351 w 1143000"/>
                <a:gd name="connsiteY193" fmla="*/ 902482 h 1092840"/>
                <a:gd name="connsiteX194" fmla="*/ 548842 w 1143000"/>
                <a:gd name="connsiteY194" fmla="*/ 884010 h 1092840"/>
                <a:gd name="connsiteX195" fmla="*/ 545656 w 1143000"/>
                <a:gd name="connsiteY195" fmla="*/ 865486 h 1092840"/>
                <a:gd name="connsiteX196" fmla="*/ 542784 w 1143000"/>
                <a:gd name="connsiteY196" fmla="*/ 846929 h 1092840"/>
                <a:gd name="connsiteX197" fmla="*/ 540237 w 1143000"/>
                <a:gd name="connsiteY197" fmla="*/ 828338 h 1092840"/>
                <a:gd name="connsiteX198" fmla="*/ 538008 w 1143000"/>
                <a:gd name="connsiteY198" fmla="*/ 809734 h 1092840"/>
                <a:gd name="connsiteX199" fmla="*/ 536103 w 1143000"/>
                <a:gd name="connsiteY199" fmla="*/ 791119 h 1092840"/>
                <a:gd name="connsiteX200" fmla="*/ 534523 w 1143000"/>
                <a:gd name="connsiteY200" fmla="*/ 772504 h 1092840"/>
                <a:gd name="connsiteX201" fmla="*/ 533265 w 1143000"/>
                <a:gd name="connsiteY201" fmla="*/ 753904 h 1092840"/>
                <a:gd name="connsiteX202" fmla="*/ 532337 w 1143000"/>
                <a:gd name="connsiteY202" fmla="*/ 735319 h 1092840"/>
                <a:gd name="connsiteX203" fmla="*/ 531737 w 1143000"/>
                <a:gd name="connsiteY203" fmla="*/ 716766 h 1092840"/>
                <a:gd name="connsiteX204" fmla="*/ 531461 w 1143000"/>
                <a:gd name="connsiteY204" fmla="*/ 698252 h 1092840"/>
                <a:gd name="connsiteX205" fmla="*/ 531518 w 1143000"/>
                <a:gd name="connsiteY205" fmla="*/ 679780 h 1092840"/>
                <a:gd name="connsiteX206" fmla="*/ 531908 w 1143000"/>
                <a:gd name="connsiteY206" fmla="*/ 661370 h 1092840"/>
                <a:gd name="connsiteX207" fmla="*/ 532627 w 1143000"/>
                <a:gd name="connsiteY207" fmla="*/ 643027 h 1092840"/>
                <a:gd name="connsiteX208" fmla="*/ 533680 w 1143000"/>
                <a:gd name="connsiteY208" fmla="*/ 624760 h 1092840"/>
                <a:gd name="connsiteX209" fmla="*/ 535070 w 1143000"/>
                <a:gd name="connsiteY209" fmla="*/ 606584 h 1092840"/>
                <a:gd name="connsiteX210" fmla="*/ 536799 w 1143000"/>
                <a:gd name="connsiteY210" fmla="*/ 588498 h 1092840"/>
                <a:gd name="connsiteX211" fmla="*/ 538861 w 1143000"/>
                <a:gd name="connsiteY211" fmla="*/ 570517 h 1092840"/>
                <a:gd name="connsiteX212" fmla="*/ 541260 w 1143000"/>
                <a:gd name="connsiteY212" fmla="*/ 552655 h 1092840"/>
                <a:gd name="connsiteX213" fmla="*/ 544004 w 1143000"/>
                <a:gd name="connsiteY213" fmla="*/ 534912 h 1092840"/>
                <a:gd name="connsiteX214" fmla="*/ 547089 w 1143000"/>
                <a:gd name="connsiteY214" fmla="*/ 517307 h 1092840"/>
                <a:gd name="connsiteX215" fmla="*/ 550518 w 1143000"/>
                <a:gd name="connsiteY215" fmla="*/ 499845 h 1092840"/>
                <a:gd name="connsiteX216" fmla="*/ 554285 w 1143000"/>
                <a:gd name="connsiteY216" fmla="*/ 482531 h 1092840"/>
                <a:gd name="connsiteX217" fmla="*/ 558404 w 1143000"/>
                <a:gd name="connsiteY217" fmla="*/ 465383 h 1092840"/>
                <a:gd name="connsiteX218" fmla="*/ 562865 w 1143000"/>
                <a:gd name="connsiteY218" fmla="*/ 448407 h 1092840"/>
                <a:gd name="connsiteX219" fmla="*/ 567675 w 1143000"/>
                <a:gd name="connsiteY219" fmla="*/ 431607 h 1092840"/>
                <a:gd name="connsiteX220" fmla="*/ 572832 w 1143000"/>
                <a:gd name="connsiteY220" fmla="*/ 415002 h 1092840"/>
                <a:gd name="connsiteX221" fmla="*/ 578342 w 1143000"/>
                <a:gd name="connsiteY221" fmla="*/ 398597 h 1092840"/>
                <a:gd name="connsiteX222" fmla="*/ 584204 w 1143000"/>
                <a:gd name="connsiteY222" fmla="*/ 382402 h 1092840"/>
                <a:gd name="connsiteX223" fmla="*/ 590413 w 1143000"/>
                <a:gd name="connsiteY223" fmla="*/ 366425 h 1092840"/>
                <a:gd name="connsiteX224" fmla="*/ 596980 w 1143000"/>
                <a:gd name="connsiteY224" fmla="*/ 350677 h 1092840"/>
                <a:gd name="connsiteX225" fmla="*/ 603904 w 1143000"/>
                <a:gd name="connsiteY225" fmla="*/ 335163 h 1092840"/>
                <a:gd name="connsiteX226" fmla="*/ 611180 w 1143000"/>
                <a:gd name="connsiteY226" fmla="*/ 319901 h 1092840"/>
                <a:gd name="connsiteX227" fmla="*/ 618818 w 1143000"/>
                <a:gd name="connsiteY227" fmla="*/ 304896 h 1092840"/>
                <a:gd name="connsiteX228" fmla="*/ 626814 w 1143000"/>
                <a:gd name="connsiteY228" fmla="*/ 290158 h 1092840"/>
                <a:gd name="connsiteX229" fmla="*/ 635171 w 1143000"/>
                <a:gd name="connsiteY229" fmla="*/ 275696 h 1092840"/>
                <a:gd name="connsiteX230" fmla="*/ 643885 w 1143000"/>
                <a:gd name="connsiteY230" fmla="*/ 261515 h 1092840"/>
                <a:gd name="connsiteX231" fmla="*/ 652966 w 1143000"/>
                <a:gd name="connsiteY231" fmla="*/ 247634 h 1092840"/>
                <a:gd name="connsiteX232" fmla="*/ 662409 w 1143000"/>
                <a:gd name="connsiteY232" fmla="*/ 234057 h 1092840"/>
                <a:gd name="connsiteX233" fmla="*/ 672219 w 1143000"/>
                <a:gd name="connsiteY233" fmla="*/ 220791 h 1092840"/>
                <a:gd name="connsiteX234" fmla="*/ 682390 w 1143000"/>
                <a:gd name="connsiteY234" fmla="*/ 207852 h 1092840"/>
                <a:gd name="connsiteX235" fmla="*/ 692933 w 1143000"/>
                <a:gd name="connsiteY235" fmla="*/ 195243 h 1092840"/>
                <a:gd name="connsiteX236" fmla="*/ 703847 w 1143000"/>
                <a:gd name="connsiteY236" fmla="*/ 182976 h 1092840"/>
                <a:gd name="connsiteX237" fmla="*/ 715129 w 1143000"/>
                <a:gd name="connsiteY237" fmla="*/ 171066 h 1092840"/>
                <a:gd name="connsiteX238" fmla="*/ 726781 w 1143000"/>
                <a:gd name="connsiteY238" fmla="*/ 159514 h 1092840"/>
                <a:gd name="connsiteX239" fmla="*/ 738810 w 1143000"/>
                <a:gd name="connsiteY239" fmla="*/ 148333 h 1092840"/>
                <a:gd name="connsiteX240" fmla="*/ 751210 w 1143000"/>
                <a:gd name="connsiteY240" fmla="*/ 137533 h 1092840"/>
                <a:gd name="connsiteX241" fmla="*/ 763986 w 1143000"/>
                <a:gd name="connsiteY241" fmla="*/ 127123 h 1092840"/>
                <a:gd name="connsiteX242" fmla="*/ 777133 w 1143000"/>
                <a:gd name="connsiteY242" fmla="*/ 117114 h 1092840"/>
                <a:gd name="connsiteX243" fmla="*/ 790667 w 1143000"/>
                <a:gd name="connsiteY243" fmla="*/ 107509 h 1092840"/>
                <a:gd name="connsiteX244" fmla="*/ 804572 w 1143000"/>
                <a:gd name="connsiteY244" fmla="*/ 98328 h 1092840"/>
                <a:gd name="connsiteX245" fmla="*/ 818863 w 1143000"/>
                <a:gd name="connsiteY245" fmla="*/ 89570 h 1092840"/>
                <a:gd name="connsiteX246" fmla="*/ 833534 w 1143000"/>
                <a:gd name="connsiteY246" fmla="*/ 81256 h 1092840"/>
                <a:gd name="connsiteX247" fmla="*/ 848587 w 1143000"/>
                <a:gd name="connsiteY247" fmla="*/ 73385 h 1092840"/>
                <a:gd name="connsiteX248" fmla="*/ 861587 w 1143000"/>
                <a:gd name="connsiteY248" fmla="*/ 67061 h 1092840"/>
                <a:gd name="connsiteX249" fmla="*/ 874863 w 1143000"/>
                <a:gd name="connsiteY249" fmla="*/ 60985 h 1092840"/>
                <a:gd name="connsiteX250" fmla="*/ 888406 w 1143000"/>
                <a:gd name="connsiteY250" fmla="*/ 55161 h 1092840"/>
                <a:gd name="connsiteX251" fmla="*/ 902211 w 1143000"/>
                <a:gd name="connsiteY251" fmla="*/ 49584 h 1092840"/>
                <a:gd name="connsiteX252" fmla="*/ 916268 w 1143000"/>
                <a:gd name="connsiteY252" fmla="*/ 44275 h 1092840"/>
                <a:gd name="connsiteX253" fmla="*/ 930568 w 1143000"/>
                <a:gd name="connsiteY253" fmla="*/ 39227 h 1092840"/>
                <a:gd name="connsiteX254" fmla="*/ 945102 w 1143000"/>
                <a:gd name="connsiteY254" fmla="*/ 34451 h 1092840"/>
                <a:gd name="connsiteX255" fmla="*/ 959859 w 1143000"/>
                <a:gd name="connsiteY255" fmla="*/ 29956 h 1092840"/>
                <a:gd name="connsiteX256" fmla="*/ 974826 w 1143000"/>
                <a:gd name="connsiteY256" fmla="*/ 25736 h 1092840"/>
                <a:gd name="connsiteX257" fmla="*/ 990002 w 1143000"/>
                <a:gd name="connsiteY257" fmla="*/ 21813 h 1092840"/>
                <a:gd name="connsiteX258" fmla="*/ 1005374 w 1143000"/>
                <a:gd name="connsiteY258" fmla="*/ 18179 h 1092840"/>
                <a:gd name="connsiteX259" fmla="*/ 1020930 w 1143000"/>
                <a:gd name="connsiteY259" fmla="*/ 14846 h 1092840"/>
                <a:gd name="connsiteX260" fmla="*/ 1036669 w 1143000"/>
                <a:gd name="connsiteY260" fmla="*/ 11817 h 1092840"/>
                <a:gd name="connsiteX261" fmla="*/ 1052569 w 1143000"/>
                <a:gd name="connsiteY261" fmla="*/ 9103 h 1092840"/>
                <a:gd name="connsiteX262" fmla="*/ 1068636 w 1143000"/>
                <a:gd name="connsiteY262" fmla="*/ 6703 h 1092840"/>
                <a:gd name="connsiteX263" fmla="*/ 1084850 w 1143000"/>
                <a:gd name="connsiteY263" fmla="*/ 4627 h 1092840"/>
                <a:gd name="connsiteX264" fmla="*/ 1101202 w 1143000"/>
                <a:gd name="connsiteY264" fmla="*/ 2875 h 1092840"/>
                <a:gd name="connsiteX265" fmla="*/ 1117688 w 1143000"/>
                <a:gd name="connsiteY265" fmla="*/ 1460 h 1092840"/>
                <a:gd name="connsiteX266" fmla="*/ 1134298 w 1143000"/>
                <a:gd name="connsiteY266" fmla="*/ 379 h 1092840"/>
                <a:gd name="connsiteX267" fmla="*/ 1143000 w 1143000"/>
                <a:gd name="connsiteY267" fmla="*/ 0 h 109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43000" h="1092840">
                  <a:moveTo>
                    <a:pt x="1143000" y="0"/>
                  </a:moveTo>
                  <a:lnTo>
                    <a:pt x="1143000" y="99531"/>
                  </a:lnTo>
                  <a:lnTo>
                    <a:pt x="1131798" y="100952"/>
                  </a:lnTo>
                  <a:lnTo>
                    <a:pt x="1110140" y="104580"/>
                  </a:lnTo>
                  <a:lnTo>
                    <a:pt x="1089117" y="108980"/>
                  </a:lnTo>
                  <a:lnTo>
                    <a:pt x="1068712" y="114128"/>
                  </a:lnTo>
                  <a:lnTo>
                    <a:pt x="1048926" y="119990"/>
                  </a:lnTo>
                  <a:lnTo>
                    <a:pt x="1029745" y="126533"/>
                  </a:lnTo>
                  <a:lnTo>
                    <a:pt x="1011168" y="133733"/>
                  </a:lnTo>
                  <a:lnTo>
                    <a:pt x="993178" y="141561"/>
                  </a:lnTo>
                  <a:lnTo>
                    <a:pt x="975768" y="149980"/>
                  </a:lnTo>
                  <a:lnTo>
                    <a:pt x="958935" y="158966"/>
                  </a:lnTo>
                  <a:lnTo>
                    <a:pt x="942668" y="168485"/>
                  </a:lnTo>
                  <a:lnTo>
                    <a:pt x="926959" y="178514"/>
                  </a:lnTo>
                  <a:lnTo>
                    <a:pt x="911801" y="189019"/>
                  </a:lnTo>
                  <a:lnTo>
                    <a:pt x="897182" y="199971"/>
                  </a:lnTo>
                  <a:lnTo>
                    <a:pt x="883096" y="211338"/>
                  </a:lnTo>
                  <a:lnTo>
                    <a:pt x="869539" y="223095"/>
                  </a:lnTo>
                  <a:lnTo>
                    <a:pt x="856496" y="235205"/>
                  </a:lnTo>
                  <a:lnTo>
                    <a:pt x="843963" y="247648"/>
                  </a:lnTo>
                  <a:lnTo>
                    <a:pt x="831929" y="260386"/>
                  </a:lnTo>
                  <a:lnTo>
                    <a:pt x="820391" y="273391"/>
                  </a:lnTo>
                  <a:lnTo>
                    <a:pt x="809334" y="286639"/>
                  </a:lnTo>
                  <a:lnTo>
                    <a:pt x="798758" y="300091"/>
                  </a:lnTo>
                  <a:lnTo>
                    <a:pt x="788643" y="313725"/>
                  </a:lnTo>
                  <a:lnTo>
                    <a:pt x="778991" y="327511"/>
                  </a:lnTo>
                  <a:lnTo>
                    <a:pt x="769791" y="341415"/>
                  </a:lnTo>
                  <a:lnTo>
                    <a:pt x="761038" y="355406"/>
                  </a:lnTo>
                  <a:lnTo>
                    <a:pt x="752714" y="369458"/>
                  </a:lnTo>
                  <a:lnTo>
                    <a:pt x="744819" y="383544"/>
                  </a:lnTo>
                  <a:lnTo>
                    <a:pt x="737343" y="397630"/>
                  </a:lnTo>
                  <a:lnTo>
                    <a:pt x="730281" y="411688"/>
                  </a:lnTo>
                  <a:lnTo>
                    <a:pt x="723619" y="425683"/>
                  </a:lnTo>
                  <a:lnTo>
                    <a:pt x="717352" y="439592"/>
                  </a:lnTo>
                  <a:lnTo>
                    <a:pt x="711466" y="453388"/>
                  </a:lnTo>
                  <a:lnTo>
                    <a:pt x="705967" y="467031"/>
                  </a:lnTo>
                  <a:lnTo>
                    <a:pt x="700833" y="480498"/>
                  </a:lnTo>
                  <a:lnTo>
                    <a:pt x="691642" y="506779"/>
                  </a:lnTo>
                  <a:lnTo>
                    <a:pt x="683828" y="531998"/>
                  </a:lnTo>
                  <a:lnTo>
                    <a:pt x="677338" y="555908"/>
                  </a:lnTo>
                  <a:lnTo>
                    <a:pt x="672090" y="578279"/>
                  </a:lnTo>
                  <a:lnTo>
                    <a:pt x="668033" y="598870"/>
                  </a:lnTo>
                  <a:lnTo>
                    <a:pt x="665090" y="617446"/>
                  </a:lnTo>
                  <a:lnTo>
                    <a:pt x="662823" y="635299"/>
                  </a:lnTo>
                  <a:lnTo>
                    <a:pt x="660885" y="653561"/>
                  </a:lnTo>
                  <a:lnTo>
                    <a:pt x="659290" y="672180"/>
                  </a:lnTo>
                  <a:lnTo>
                    <a:pt x="658033" y="691113"/>
                  </a:lnTo>
                  <a:lnTo>
                    <a:pt x="657114" y="710313"/>
                  </a:lnTo>
                  <a:lnTo>
                    <a:pt x="656547" y="729728"/>
                  </a:lnTo>
                  <a:lnTo>
                    <a:pt x="656323" y="749314"/>
                  </a:lnTo>
                  <a:lnTo>
                    <a:pt x="656452" y="769024"/>
                  </a:lnTo>
                  <a:lnTo>
                    <a:pt x="656933" y="788809"/>
                  </a:lnTo>
                  <a:lnTo>
                    <a:pt x="657771" y="808624"/>
                  </a:lnTo>
                  <a:lnTo>
                    <a:pt x="658966" y="828419"/>
                  </a:lnTo>
                  <a:lnTo>
                    <a:pt x="660528" y="848153"/>
                  </a:lnTo>
                  <a:lnTo>
                    <a:pt x="662452" y="867767"/>
                  </a:lnTo>
                  <a:lnTo>
                    <a:pt x="664742" y="887225"/>
                  </a:lnTo>
                  <a:lnTo>
                    <a:pt x="667404" y="906473"/>
                  </a:lnTo>
                  <a:lnTo>
                    <a:pt x="670438" y="925463"/>
                  </a:lnTo>
                  <a:lnTo>
                    <a:pt x="673847" y="944154"/>
                  </a:lnTo>
                  <a:lnTo>
                    <a:pt x="677638" y="962497"/>
                  </a:lnTo>
                  <a:lnTo>
                    <a:pt x="681809" y="980440"/>
                  </a:lnTo>
                  <a:lnTo>
                    <a:pt x="686366" y="997940"/>
                  </a:lnTo>
                  <a:lnTo>
                    <a:pt x="691309" y="1014950"/>
                  </a:lnTo>
                  <a:lnTo>
                    <a:pt x="696638" y="1031421"/>
                  </a:lnTo>
                  <a:lnTo>
                    <a:pt x="702367" y="1047302"/>
                  </a:lnTo>
                  <a:lnTo>
                    <a:pt x="708486" y="1062554"/>
                  </a:lnTo>
                  <a:lnTo>
                    <a:pt x="715005" y="1077126"/>
                  </a:lnTo>
                  <a:lnTo>
                    <a:pt x="721924" y="1090969"/>
                  </a:lnTo>
                  <a:lnTo>
                    <a:pt x="706938" y="1092007"/>
                  </a:lnTo>
                  <a:lnTo>
                    <a:pt x="692000" y="1092636"/>
                  </a:lnTo>
                  <a:lnTo>
                    <a:pt x="677123" y="1092840"/>
                  </a:lnTo>
                  <a:lnTo>
                    <a:pt x="662328" y="1092621"/>
                  </a:lnTo>
                  <a:lnTo>
                    <a:pt x="647623" y="1091965"/>
                  </a:lnTo>
                  <a:lnTo>
                    <a:pt x="633023" y="1090860"/>
                  </a:lnTo>
                  <a:lnTo>
                    <a:pt x="618542" y="1089302"/>
                  </a:lnTo>
                  <a:lnTo>
                    <a:pt x="604195" y="1087284"/>
                  </a:lnTo>
                  <a:lnTo>
                    <a:pt x="589989" y="1084793"/>
                  </a:lnTo>
                  <a:lnTo>
                    <a:pt x="575951" y="1081826"/>
                  </a:lnTo>
                  <a:lnTo>
                    <a:pt x="548403" y="1074417"/>
                  </a:lnTo>
                  <a:lnTo>
                    <a:pt x="521665" y="1064988"/>
                  </a:lnTo>
                  <a:lnTo>
                    <a:pt x="495846" y="1053474"/>
                  </a:lnTo>
                  <a:lnTo>
                    <a:pt x="471055" y="1039812"/>
                  </a:lnTo>
                  <a:lnTo>
                    <a:pt x="447408" y="1023926"/>
                  </a:lnTo>
                  <a:lnTo>
                    <a:pt x="436041" y="1015130"/>
                  </a:lnTo>
                  <a:lnTo>
                    <a:pt x="425003" y="1005754"/>
                  </a:lnTo>
                  <a:lnTo>
                    <a:pt x="414307" y="995788"/>
                  </a:lnTo>
                  <a:lnTo>
                    <a:pt x="403964" y="985225"/>
                  </a:lnTo>
                  <a:lnTo>
                    <a:pt x="393988" y="974059"/>
                  </a:lnTo>
                  <a:lnTo>
                    <a:pt x="384398" y="962278"/>
                  </a:lnTo>
                  <a:lnTo>
                    <a:pt x="375198" y="949873"/>
                  </a:lnTo>
                  <a:lnTo>
                    <a:pt x="366407" y="936839"/>
                  </a:lnTo>
                  <a:lnTo>
                    <a:pt x="358045" y="923163"/>
                  </a:lnTo>
                  <a:lnTo>
                    <a:pt x="350112" y="908839"/>
                  </a:lnTo>
                  <a:lnTo>
                    <a:pt x="342636" y="893863"/>
                  </a:lnTo>
                  <a:lnTo>
                    <a:pt x="335621" y="878220"/>
                  </a:lnTo>
                  <a:lnTo>
                    <a:pt x="329088" y="861905"/>
                  </a:lnTo>
                  <a:lnTo>
                    <a:pt x="323045" y="844910"/>
                  </a:lnTo>
                  <a:lnTo>
                    <a:pt x="317507" y="827224"/>
                  </a:lnTo>
                  <a:lnTo>
                    <a:pt x="312493" y="808838"/>
                  </a:lnTo>
                  <a:lnTo>
                    <a:pt x="308007" y="789748"/>
                  </a:lnTo>
                  <a:lnTo>
                    <a:pt x="304073" y="769938"/>
                  </a:lnTo>
                  <a:lnTo>
                    <a:pt x="300697" y="749409"/>
                  </a:lnTo>
                  <a:lnTo>
                    <a:pt x="297902" y="728147"/>
                  </a:lnTo>
                  <a:lnTo>
                    <a:pt x="295687" y="706147"/>
                  </a:lnTo>
                  <a:lnTo>
                    <a:pt x="294083" y="683394"/>
                  </a:lnTo>
                  <a:lnTo>
                    <a:pt x="293092" y="659884"/>
                  </a:lnTo>
                  <a:lnTo>
                    <a:pt x="292731" y="635613"/>
                  </a:lnTo>
                  <a:lnTo>
                    <a:pt x="293016" y="610565"/>
                  </a:lnTo>
                  <a:lnTo>
                    <a:pt x="271916" y="609608"/>
                  </a:lnTo>
                  <a:lnTo>
                    <a:pt x="251459" y="607641"/>
                  </a:lnTo>
                  <a:lnTo>
                    <a:pt x="231649" y="604694"/>
                  </a:lnTo>
                  <a:lnTo>
                    <a:pt x="212506" y="600779"/>
                  </a:lnTo>
                  <a:lnTo>
                    <a:pt x="194020" y="595917"/>
                  </a:lnTo>
                  <a:lnTo>
                    <a:pt x="176210" y="590132"/>
                  </a:lnTo>
                  <a:lnTo>
                    <a:pt x="159082" y="583437"/>
                  </a:lnTo>
                  <a:lnTo>
                    <a:pt x="142634" y="575860"/>
                  </a:lnTo>
                  <a:lnTo>
                    <a:pt x="126877" y="567417"/>
                  </a:lnTo>
                  <a:lnTo>
                    <a:pt x="111820" y="558127"/>
                  </a:lnTo>
                  <a:lnTo>
                    <a:pt x="97462" y="548012"/>
                  </a:lnTo>
                  <a:lnTo>
                    <a:pt x="83820" y="537093"/>
                  </a:lnTo>
                  <a:lnTo>
                    <a:pt x="70896" y="525393"/>
                  </a:lnTo>
                  <a:lnTo>
                    <a:pt x="58696" y="512922"/>
                  </a:lnTo>
                  <a:lnTo>
                    <a:pt x="47224" y="499707"/>
                  </a:lnTo>
                  <a:lnTo>
                    <a:pt x="36491" y="485769"/>
                  </a:lnTo>
                  <a:lnTo>
                    <a:pt x="26500" y="471131"/>
                  </a:lnTo>
                  <a:lnTo>
                    <a:pt x="17262" y="455802"/>
                  </a:lnTo>
                  <a:lnTo>
                    <a:pt x="8781" y="439811"/>
                  </a:lnTo>
                  <a:lnTo>
                    <a:pt x="0" y="419692"/>
                  </a:lnTo>
                  <a:lnTo>
                    <a:pt x="500" y="417887"/>
                  </a:lnTo>
                  <a:lnTo>
                    <a:pt x="11771" y="429583"/>
                  </a:lnTo>
                  <a:lnTo>
                    <a:pt x="23705" y="440735"/>
                  </a:lnTo>
                  <a:lnTo>
                    <a:pt x="36276" y="451340"/>
                  </a:lnTo>
                  <a:lnTo>
                    <a:pt x="49453" y="461373"/>
                  </a:lnTo>
                  <a:lnTo>
                    <a:pt x="63215" y="470831"/>
                  </a:lnTo>
                  <a:lnTo>
                    <a:pt x="77524" y="479693"/>
                  </a:lnTo>
                  <a:lnTo>
                    <a:pt x="92367" y="487945"/>
                  </a:lnTo>
                  <a:lnTo>
                    <a:pt x="107705" y="495579"/>
                  </a:lnTo>
                  <a:lnTo>
                    <a:pt x="123515" y="502579"/>
                  </a:lnTo>
                  <a:lnTo>
                    <a:pt x="139767" y="508931"/>
                  </a:lnTo>
                  <a:lnTo>
                    <a:pt x="156439" y="514622"/>
                  </a:lnTo>
                  <a:lnTo>
                    <a:pt x="173496" y="519636"/>
                  </a:lnTo>
                  <a:lnTo>
                    <a:pt x="190915" y="523964"/>
                  </a:lnTo>
                  <a:lnTo>
                    <a:pt x="208673" y="527593"/>
                  </a:lnTo>
                  <a:lnTo>
                    <a:pt x="226730" y="530502"/>
                  </a:lnTo>
                  <a:lnTo>
                    <a:pt x="245073" y="532688"/>
                  </a:lnTo>
                  <a:lnTo>
                    <a:pt x="263664" y="534131"/>
                  </a:lnTo>
                  <a:lnTo>
                    <a:pt x="282478" y="534817"/>
                  </a:lnTo>
                  <a:lnTo>
                    <a:pt x="301488" y="534736"/>
                  </a:lnTo>
                  <a:lnTo>
                    <a:pt x="320669" y="533869"/>
                  </a:lnTo>
                  <a:lnTo>
                    <a:pt x="339993" y="532212"/>
                  </a:lnTo>
                  <a:lnTo>
                    <a:pt x="359431" y="529741"/>
                  </a:lnTo>
                  <a:lnTo>
                    <a:pt x="378955" y="526450"/>
                  </a:lnTo>
                  <a:lnTo>
                    <a:pt x="409093" y="519712"/>
                  </a:lnTo>
                  <a:lnTo>
                    <a:pt x="429822" y="513912"/>
                  </a:lnTo>
                  <a:lnTo>
                    <a:pt x="439988" y="510722"/>
                  </a:lnTo>
                  <a:lnTo>
                    <a:pt x="433941" y="526388"/>
                  </a:lnTo>
                  <a:lnTo>
                    <a:pt x="428622" y="542650"/>
                  </a:lnTo>
                  <a:lnTo>
                    <a:pt x="424026" y="559446"/>
                  </a:lnTo>
                  <a:lnTo>
                    <a:pt x="420136" y="576722"/>
                  </a:lnTo>
                  <a:lnTo>
                    <a:pt x="416955" y="594408"/>
                  </a:lnTo>
                  <a:lnTo>
                    <a:pt x="414469" y="612451"/>
                  </a:lnTo>
                  <a:lnTo>
                    <a:pt x="412669" y="630785"/>
                  </a:lnTo>
                  <a:lnTo>
                    <a:pt x="411545" y="649351"/>
                  </a:lnTo>
                  <a:lnTo>
                    <a:pt x="411098" y="668089"/>
                  </a:lnTo>
                  <a:lnTo>
                    <a:pt x="411307" y="686942"/>
                  </a:lnTo>
                  <a:lnTo>
                    <a:pt x="412174" y="705842"/>
                  </a:lnTo>
                  <a:lnTo>
                    <a:pt x="413688" y="724733"/>
                  </a:lnTo>
                  <a:lnTo>
                    <a:pt x="415836" y="743557"/>
                  </a:lnTo>
                  <a:lnTo>
                    <a:pt x="418617" y="762243"/>
                  </a:lnTo>
                  <a:lnTo>
                    <a:pt x="422017" y="780743"/>
                  </a:lnTo>
                  <a:lnTo>
                    <a:pt x="426026" y="798986"/>
                  </a:lnTo>
                  <a:lnTo>
                    <a:pt x="430646" y="816919"/>
                  </a:lnTo>
                  <a:lnTo>
                    <a:pt x="435860" y="834481"/>
                  </a:lnTo>
                  <a:lnTo>
                    <a:pt x="441660" y="851605"/>
                  </a:lnTo>
                  <a:lnTo>
                    <a:pt x="448041" y="868234"/>
                  </a:lnTo>
                  <a:lnTo>
                    <a:pt x="454993" y="884310"/>
                  </a:lnTo>
                  <a:lnTo>
                    <a:pt x="462508" y="899768"/>
                  </a:lnTo>
                  <a:lnTo>
                    <a:pt x="470579" y="914549"/>
                  </a:lnTo>
                  <a:lnTo>
                    <a:pt x="479194" y="928597"/>
                  </a:lnTo>
                  <a:lnTo>
                    <a:pt x="488351" y="941839"/>
                  </a:lnTo>
                  <a:lnTo>
                    <a:pt x="498036" y="954230"/>
                  </a:lnTo>
                  <a:lnTo>
                    <a:pt x="508242" y="965697"/>
                  </a:lnTo>
                  <a:lnTo>
                    <a:pt x="518965" y="976187"/>
                  </a:lnTo>
                  <a:lnTo>
                    <a:pt x="530189" y="985640"/>
                  </a:lnTo>
                  <a:lnTo>
                    <a:pt x="541913" y="993987"/>
                  </a:lnTo>
                  <a:lnTo>
                    <a:pt x="566818" y="1007135"/>
                  </a:lnTo>
                  <a:lnTo>
                    <a:pt x="579980" y="1011821"/>
                  </a:lnTo>
                  <a:lnTo>
                    <a:pt x="574594" y="993825"/>
                  </a:lnTo>
                  <a:lnTo>
                    <a:pt x="569523" y="975726"/>
                  </a:lnTo>
                  <a:lnTo>
                    <a:pt x="564756" y="957535"/>
                  </a:lnTo>
                  <a:lnTo>
                    <a:pt x="560308" y="939254"/>
                  </a:lnTo>
                  <a:lnTo>
                    <a:pt x="556170" y="920901"/>
                  </a:lnTo>
                  <a:lnTo>
                    <a:pt x="552351" y="902482"/>
                  </a:lnTo>
                  <a:lnTo>
                    <a:pt x="548842" y="884010"/>
                  </a:lnTo>
                  <a:lnTo>
                    <a:pt x="545656" y="865486"/>
                  </a:lnTo>
                  <a:lnTo>
                    <a:pt x="542784" y="846929"/>
                  </a:lnTo>
                  <a:lnTo>
                    <a:pt x="540237" y="828338"/>
                  </a:lnTo>
                  <a:lnTo>
                    <a:pt x="538008" y="809734"/>
                  </a:lnTo>
                  <a:lnTo>
                    <a:pt x="536103" y="791119"/>
                  </a:lnTo>
                  <a:lnTo>
                    <a:pt x="534523" y="772504"/>
                  </a:lnTo>
                  <a:lnTo>
                    <a:pt x="533265" y="753904"/>
                  </a:lnTo>
                  <a:lnTo>
                    <a:pt x="532337" y="735319"/>
                  </a:lnTo>
                  <a:lnTo>
                    <a:pt x="531737" y="716766"/>
                  </a:lnTo>
                  <a:lnTo>
                    <a:pt x="531461" y="698252"/>
                  </a:lnTo>
                  <a:lnTo>
                    <a:pt x="531518" y="679780"/>
                  </a:lnTo>
                  <a:lnTo>
                    <a:pt x="531908" y="661370"/>
                  </a:lnTo>
                  <a:lnTo>
                    <a:pt x="532627" y="643027"/>
                  </a:lnTo>
                  <a:lnTo>
                    <a:pt x="533680" y="624760"/>
                  </a:lnTo>
                  <a:lnTo>
                    <a:pt x="535070" y="606584"/>
                  </a:lnTo>
                  <a:lnTo>
                    <a:pt x="536799" y="588498"/>
                  </a:lnTo>
                  <a:lnTo>
                    <a:pt x="538861" y="570517"/>
                  </a:lnTo>
                  <a:lnTo>
                    <a:pt x="541260" y="552655"/>
                  </a:lnTo>
                  <a:lnTo>
                    <a:pt x="544004" y="534912"/>
                  </a:lnTo>
                  <a:lnTo>
                    <a:pt x="547089" y="517307"/>
                  </a:lnTo>
                  <a:lnTo>
                    <a:pt x="550518" y="499845"/>
                  </a:lnTo>
                  <a:lnTo>
                    <a:pt x="554285" y="482531"/>
                  </a:lnTo>
                  <a:lnTo>
                    <a:pt x="558404" y="465383"/>
                  </a:lnTo>
                  <a:lnTo>
                    <a:pt x="562865" y="448407"/>
                  </a:lnTo>
                  <a:lnTo>
                    <a:pt x="567675" y="431607"/>
                  </a:lnTo>
                  <a:lnTo>
                    <a:pt x="572832" y="415002"/>
                  </a:lnTo>
                  <a:lnTo>
                    <a:pt x="578342" y="398597"/>
                  </a:lnTo>
                  <a:lnTo>
                    <a:pt x="584204" y="382402"/>
                  </a:lnTo>
                  <a:lnTo>
                    <a:pt x="590413" y="366425"/>
                  </a:lnTo>
                  <a:lnTo>
                    <a:pt x="596980" y="350677"/>
                  </a:lnTo>
                  <a:lnTo>
                    <a:pt x="603904" y="335163"/>
                  </a:lnTo>
                  <a:lnTo>
                    <a:pt x="611180" y="319901"/>
                  </a:lnTo>
                  <a:lnTo>
                    <a:pt x="618818" y="304896"/>
                  </a:lnTo>
                  <a:lnTo>
                    <a:pt x="626814" y="290158"/>
                  </a:lnTo>
                  <a:lnTo>
                    <a:pt x="635171" y="275696"/>
                  </a:lnTo>
                  <a:lnTo>
                    <a:pt x="643885" y="261515"/>
                  </a:lnTo>
                  <a:lnTo>
                    <a:pt x="652966" y="247634"/>
                  </a:lnTo>
                  <a:lnTo>
                    <a:pt x="662409" y="234057"/>
                  </a:lnTo>
                  <a:lnTo>
                    <a:pt x="672219" y="220791"/>
                  </a:lnTo>
                  <a:lnTo>
                    <a:pt x="682390" y="207852"/>
                  </a:lnTo>
                  <a:lnTo>
                    <a:pt x="692933" y="195243"/>
                  </a:lnTo>
                  <a:lnTo>
                    <a:pt x="703847" y="182976"/>
                  </a:lnTo>
                  <a:lnTo>
                    <a:pt x="715129" y="171066"/>
                  </a:lnTo>
                  <a:lnTo>
                    <a:pt x="726781" y="159514"/>
                  </a:lnTo>
                  <a:lnTo>
                    <a:pt x="738810" y="148333"/>
                  </a:lnTo>
                  <a:lnTo>
                    <a:pt x="751210" y="137533"/>
                  </a:lnTo>
                  <a:lnTo>
                    <a:pt x="763986" y="127123"/>
                  </a:lnTo>
                  <a:lnTo>
                    <a:pt x="777133" y="117114"/>
                  </a:lnTo>
                  <a:lnTo>
                    <a:pt x="790667" y="107509"/>
                  </a:lnTo>
                  <a:lnTo>
                    <a:pt x="804572" y="98328"/>
                  </a:lnTo>
                  <a:lnTo>
                    <a:pt x="818863" y="89570"/>
                  </a:lnTo>
                  <a:lnTo>
                    <a:pt x="833534" y="81256"/>
                  </a:lnTo>
                  <a:lnTo>
                    <a:pt x="848587" y="73385"/>
                  </a:lnTo>
                  <a:lnTo>
                    <a:pt x="861587" y="67061"/>
                  </a:lnTo>
                  <a:lnTo>
                    <a:pt x="874863" y="60985"/>
                  </a:lnTo>
                  <a:lnTo>
                    <a:pt x="888406" y="55161"/>
                  </a:lnTo>
                  <a:lnTo>
                    <a:pt x="902211" y="49584"/>
                  </a:lnTo>
                  <a:lnTo>
                    <a:pt x="916268" y="44275"/>
                  </a:lnTo>
                  <a:lnTo>
                    <a:pt x="930568" y="39227"/>
                  </a:lnTo>
                  <a:lnTo>
                    <a:pt x="945102" y="34451"/>
                  </a:lnTo>
                  <a:lnTo>
                    <a:pt x="959859" y="29956"/>
                  </a:lnTo>
                  <a:lnTo>
                    <a:pt x="974826" y="25736"/>
                  </a:lnTo>
                  <a:lnTo>
                    <a:pt x="990002" y="21813"/>
                  </a:lnTo>
                  <a:lnTo>
                    <a:pt x="1005374" y="18179"/>
                  </a:lnTo>
                  <a:lnTo>
                    <a:pt x="1020930" y="14846"/>
                  </a:lnTo>
                  <a:lnTo>
                    <a:pt x="1036669" y="11817"/>
                  </a:lnTo>
                  <a:lnTo>
                    <a:pt x="1052569" y="9103"/>
                  </a:lnTo>
                  <a:lnTo>
                    <a:pt x="1068636" y="6703"/>
                  </a:lnTo>
                  <a:lnTo>
                    <a:pt x="1084850" y="4627"/>
                  </a:lnTo>
                  <a:lnTo>
                    <a:pt x="1101202" y="2875"/>
                  </a:lnTo>
                  <a:lnTo>
                    <a:pt x="1117688" y="1460"/>
                  </a:lnTo>
                  <a:lnTo>
                    <a:pt x="1134298" y="379"/>
                  </a:lnTo>
                  <a:lnTo>
                    <a:pt x="114300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A5AB338-73D4-7F7B-0FB1-5445F81897B0}"/>
                </a:ext>
              </a:extLst>
            </p:cNvPr>
            <p:cNvSpPr/>
            <p:nvPr userDrawn="1"/>
          </p:nvSpPr>
          <p:spPr>
            <a:xfrm>
              <a:off x="11900272" y="5542060"/>
              <a:ext cx="291728" cy="787651"/>
            </a:xfrm>
            <a:custGeom>
              <a:avLst/>
              <a:gdLst>
                <a:gd name="connsiteX0" fmla="*/ 291728 w 291728"/>
                <a:gd name="connsiteY0" fmla="*/ 0 h 787651"/>
                <a:gd name="connsiteX1" fmla="*/ 291728 w 291728"/>
                <a:gd name="connsiteY1" fmla="*/ 79686 h 787651"/>
                <a:gd name="connsiteX2" fmla="*/ 280245 w 291728"/>
                <a:gd name="connsiteY2" fmla="*/ 87145 h 787651"/>
                <a:gd name="connsiteX3" fmla="*/ 267707 w 291728"/>
                <a:gd name="connsiteY3" fmla="*/ 96031 h 787651"/>
                <a:gd name="connsiteX4" fmla="*/ 255540 w 291728"/>
                <a:gd name="connsiteY4" fmla="*/ 105422 h 787651"/>
                <a:gd name="connsiteX5" fmla="*/ 243754 w 291728"/>
                <a:gd name="connsiteY5" fmla="*/ 115322 h 787651"/>
                <a:gd name="connsiteX6" fmla="*/ 232388 w 291728"/>
                <a:gd name="connsiteY6" fmla="*/ 125712 h 787651"/>
                <a:gd name="connsiteX7" fmla="*/ 221450 w 291728"/>
                <a:gd name="connsiteY7" fmla="*/ 136598 h 787651"/>
                <a:gd name="connsiteX8" fmla="*/ 210968 w 291728"/>
                <a:gd name="connsiteY8" fmla="*/ 147970 h 787651"/>
                <a:gd name="connsiteX9" fmla="*/ 200968 w 291728"/>
                <a:gd name="connsiteY9" fmla="*/ 159822 h 787651"/>
                <a:gd name="connsiteX10" fmla="*/ 191468 w 291728"/>
                <a:gd name="connsiteY10" fmla="*/ 172151 h 787651"/>
                <a:gd name="connsiteX11" fmla="*/ 182497 w 291728"/>
                <a:gd name="connsiteY11" fmla="*/ 184946 h 787651"/>
                <a:gd name="connsiteX12" fmla="*/ 174068 w 291728"/>
                <a:gd name="connsiteY12" fmla="*/ 198208 h 787651"/>
                <a:gd name="connsiteX13" fmla="*/ 166206 w 291728"/>
                <a:gd name="connsiteY13" fmla="*/ 211928 h 787651"/>
                <a:gd name="connsiteX14" fmla="*/ 158940 w 291728"/>
                <a:gd name="connsiteY14" fmla="*/ 226099 h 787651"/>
                <a:gd name="connsiteX15" fmla="*/ 152282 w 291728"/>
                <a:gd name="connsiteY15" fmla="*/ 240713 h 787651"/>
                <a:gd name="connsiteX16" fmla="*/ 146268 w 291728"/>
                <a:gd name="connsiteY16" fmla="*/ 255775 h 787651"/>
                <a:gd name="connsiteX17" fmla="*/ 140906 w 291728"/>
                <a:gd name="connsiteY17" fmla="*/ 271271 h 787651"/>
                <a:gd name="connsiteX18" fmla="*/ 136230 w 291728"/>
                <a:gd name="connsiteY18" fmla="*/ 287195 h 787651"/>
                <a:gd name="connsiteX19" fmla="*/ 132258 w 291728"/>
                <a:gd name="connsiteY19" fmla="*/ 303547 h 787651"/>
                <a:gd name="connsiteX20" fmla="*/ 129011 w 291728"/>
                <a:gd name="connsiteY20" fmla="*/ 320314 h 787651"/>
                <a:gd name="connsiteX21" fmla="*/ 126515 w 291728"/>
                <a:gd name="connsiteY21" fmla="*/ 337495 h 787651"/>
                <a:gd name="connsiteX22" fmla="*/ 124787 w 291728"/>
                <a:gd name="connsiteY22" fmla="*/ 355086 h 787651"/>
                <a:gd name="connsiteX23" fmla="*/ 123853 w 291728"/>
                <a:gd name="connsiteY23" fmla="*/ 373081 h 787651"/>
                <a:gd name="connsiteX24" fmla="*/ 123739 w 291728"/>
                <a:gd name="connsiteY24" fmla="*/ 391467 h 787651"/>
                <a:gd name="connsiteX25" fmla="*/ 124463 w 291728"/>
                <a:gd name="connsiteY25" fmla="*/ 410248 h 787651"/>
                <a:gd name="connsiteX26" fmla="*/ 126049 w 291728"/>
                <a:gd name="connsiteY26" fmla="*/ 429415 h 787651"/>
                <a:gd name="connsiteX27" fmla="*/ 128515 w 291728"/>
                <a:gd name="connsiteY27" fmla="*/ 448963 h 787651"/>
                <a:gd name="connsiteX28" fmla="*/ 131892 w 291728"/>
                <a:gd name="connsiteY28" fmla="*/ 468882 h 787651"/>
                <a:gd name="connsiteX29" fmla="*/ 153078 w 291728"/>
                <a:gd name="connsiteY29" fmla="*/ 570835 h 787651"/>
                <a:gd name="connsiteX30" fmla="*/ 178054 w 291728"/>
                <a:gd name="connsiteY30" fmla="*/ 634326 h 787651"/>
                <a:gd name="connsiteX31" fmla="*/ 222940 w 291728"/>
                <a:gd name="connsiteY31" fmla="*/ 685903 h 787651"/>
                <a:gd name="connsiteX32" fmla="*/ 291728 w 291728"/>
                <a:gd name="connsiteY32" fmla="*/ 751682 h 787651"/>
                <a:gd name="connsiteX33" fmla="*/ 291728 w 291728"/>
                <a:gd name="connsiteY33" fmla="*/ 758691 h 787651"/>
                <a:gd name="connsiteX34" fmla="*/ 277964 w 291728"/>
                <a:gd name="connsiteY34" fmla="*/ 765694 h 787651"/>
                <a:gd name="connsiteX35" fmla="*/ 253416 w 291728"/>
                <a:gd name="connsiteY35" fmla="*/ 775994 h 787651"/>
                <a:gd name="connsiteX36" fmla="*/ 228083 w 291728"/>
                <a:gd name="connsiteY36" fmla="*/ 782704 h 787651"/>
                <a:gd name="connsiteX37" fmla="*/ 202111 w 291728"/>
                <a:gd name="connsiteY37" fmla="*/ 786389 h 787651"/>
                <a:gd name="connsiteX38" fmla="*/ 186368 w 291728"/>
                <a:gd name="connsiteY38" fmla="*/ 787651 h 787651"/>
                <a:gd name="connsiteX39" fmla="*/ 174487 w 291728"/>
                <a:gd name="connsiteY39" fmla="*/ 786518 h 787651"/>
                <a:gd name="connsiteX40" fmla="*/ 160082 w 291728"/>
                <a:gd name="connsiteY40" fmla="*/ 783013 h 787651"/>
                <a:gd name="connsiteX41" fmla="*/ 149001 w 291728"/>
                <a:gd name="connsiteY41" fmla="*/ 771023 h 787651"/>
                <a:gd name="connsiteX42" fmla="*/ 131082 w 291728"/>
                <a:gd name="connsiteY42" fmla="*/ 750798 h 787651"/>
                <a:gd name="connsiteX43" fmla="*/ 119772 w 291728"/>
                <a:gd name="connsiteY43" fmla="*/ 736813 h 787651"/>
                <a:gd name="connsiteX44" fmla="*/ 108930 w 291728"/>
                <a:gd name="connsiteY44" fmla="*/ 722574 h 787651"/>
                <a:gd name="connsiteX45" fmla="*/ 98553 w 291728"/>
                <a:gd name="connsiteY45" fmla="*/ 708098 h 787651"/>
                <a:gd name="connsiteX46" fmla="*/ 88653 w 291728"/>
                <a:gd name="connsiteY46" fmla="*/ 693393 h 787651"/>
                <a:gd name="connsiteX47" fmla="*/ 79234 w 291728"/>
                <a:gd name="connsiteY47" fmla="*/ 678474 h 787651"/>
                <a:gd name="connsiteX48" fmla="*/ 70306 w 291728"/>
                <a:gd name="connsiteY48" fmla="*/ 663350 h 787651"/>
                <a:gd name="connsiteX49" fmla="*/ 61877 w 291728"/>
                <a:gd name="connsiteY49" fmla="*/ 648045 h 787651"/>
                <a:gd name="connsiteX50" fmla="*/ 53953 w 291728"/>
                <a:gd name="connsiteY50" fmla="*/ 632564 h 787651"/>
                <a:gd name="connsiteX51" fmla="*/ 46539 w 291728"/>
                <a:gd name="connsiteY51" fmla="*/ 616926 h 787651"/>
                <a:gd name="connsiteX52" fmla="*/ 39643 w 291728"/>
                <a:gd name="connsiteY52" fmla="*/ 601140 h 787651"/>
                <a:gd name="connsiteX53" fmla="*/ 33272 w 291728"/>
                <a:gd name="connsiteY53" fmla="*/ 585221 h 787651"/>
                <a:gd name="connsiteX54" fmla="*/ 27438 w 291728"/>
                <a:gd name="connsiteY54" fmla="*/ 569183 h 787651"/>
                <a:gd name="connsiteX55" fmla="*/ 22143 w 291728"/>
                <a:gd name="connsiteY55" fmla="*/ 553040 h 787651"/>
                <a:gd name="connsiteX56" fmla="*/ 17396 w 291728"/>
                <a:gd name="connsiteY56" fmla="*/ 536806 h 787651"/>
                <a:gd name="connsiteX57" fmla="*/ 13205 w 291728"/>
                <a:gd name="connsiteY57" fmla="*/ 520497 h 787651"/>
                <a:gd name="connsiteX58" fmla="*/ 9572 w 291728"/>
                <a:gd name="connsiteY58" fmla="*/ 504120 h 787651"/>
                <a:gd name="connsiteX59" fmla="*/ 6514 w 291728"/>
                <a:gd name="connsiteY59" fmla="*/ 487692 h 787651"/>
                <a:gd name="connsiteX60" fmla="*/ 4029 w 291728"/>
                <a:gd name="connsiteY60" fmla="*/ 471225 h 787651"/>
                <a:gd name="connsiteX61" fmla="*/ 2129 w 291728"/>
                <a:gd name="connsiteY61" fmla="*/ 454734 h 787651"/>
                <a:gd name="connsiteX62" fmla="*/ 819 w 291728"/>
                <a:gd name="connsiteY62" fmla="*/ 438234 h 787651"/>
                <a:gd name="connsiteX63" fmla="*/ 105 w 291728"/>
                <a:gd name="connsiteY63" fmla="*/ 421739 h 787651"/>
                <a:gd name="connsiteX64" fmla="*/ 0 w 291728"/>
                <a:gd name="connsiteY64" fmla="*/ 405258 h 787651"/>
                <a:gd name="connsiteX65" fmla="*/ 505 w 291728"/>
                <a:gd name="connsiteY65" fmla="*/ 388810 h 787651"/>
                <a:gd name="connsiteX66" fmla="*/ 1634 w 291728"/>
                <a:gd name="connsiteY66" fmla="*/ 372405 h 787651"/>
                <a:gd name="connsiteX67" fmla="*/ 3386 w 291728"/>
                <a:gd name="connsiteY67" fmla="*/ 356057 h 787651"/>
                <a:gd name="connsiteX68" fmla="*/ 5772 w 291728"/>
                <a:gd name="connsiteY68" fmla="*/ 339781 h 787651"/>
                <a:gd name="connsiteX69" fmla="*/ 8800 w 291728"/>
                <a:gd name="connsiteY69" fmla="*/ 323585 h 787651"/>
                <a:gd name="connsiteX70" fmla="*/ 12477 w 291728"/>
                <a:gd name="connsiteY70" fmla="*/ 307495 h 787651"/>
                <a:gd name="connsiteX71" fmla="*/ 16810 w 291728"/>
                <a:gd name="connsiteY71" fmla="*/ 291514 h 787651"/>
                <a:gd name="connsiteX72" fmla="*/ 21805 w 291728"/>
                <a:gd name="connsiteY72" fmla="*/ 275657 h 787651"/>
                <a:gd name="connsiteX73" fmla="*/ 27467 w 291728"/>
                <a:gd name="connsiteY73" fmla="*/ 259937 h 787651"/>
                <a:gd name="connsiteX74" fmla="*/ 33810 w 291728"/>
                <a:gd name="connsiteY74" fmla="*/ 244371 h 787651"/>
                <a:gd name="connsiteX75" fmla="*/ 40839 w 291728"/>
                <a:gd name="connsiteY75" fmla="*/ 228975 h 787651"/>
                <a:gd name="connsiteX76" fmla="*/ 48558 w 291728"/>
                <a:gd name="connsiteY76" fmla="*/ 213751 h 787651"/>
                <a:gd name="connsiteX77" fmla="*/ 56972 w 291728"/>
                <a:gd name="connsiteY77" fmla="*/ 198727 h 787651"/>
                <a:gd name="connsiteX78" fmla="*/ 66096 w 291728"/>
                <a:gd name="connsiteY78" fmla="*/ 183908 h 787651"/>
                <a:gd name="connsiteX79" fmla="*/ 75934 w 291728"/>
                <a:gd name="connsiteY79" fmla="*/ 169308 h 787651"/>
                <a:gd name="connsiteX80" fmla="*/ 86491 w 291728"/>
                <a:gd name="connsiteY80" fmla="*/ 154941 h 787651"/>
                <a:gd name="connsiteX81" fmla="*/ 97772 w 291728"/>
                <a:gd name="connsiteY81" fmla="*/ 140827 h 787651"/>
                <a:gd name="connsiteX82" fmla="*/ 109792 w 291728"/>
                <a:gd name="connsiteY82" fmla="*/ 126970 h 787651"/>
                <a:gd name="connsiteX83" fmla="*/ 122554 w 291728"/>
                <a:gd name="connsiteY83" fmla="*/ 113388 h 787651"/>
                <a:gd name="connsiteX84" fmla="*/ 136063 w 291728"/>
                <a:gd name="connsiteY84" fmla="*/ 100093 h 787651"/>
                <a:gd name="connsiteX85" fmla="*/ 150330 w 291728"/>
                <a:gd name="connsiteY85" fmla="*/ 87102 h 787651"/>
                <a:gd name="connsiteX86" fmla="*/ 165363 w 291728"/>
                <a:gd name="connsiteY86" fmla="*/ 74426 h 787651"/>
                <a:gd name="connsiteX87" fmla="*/ 176763 w 291728"/>
                <a:gd name="connsiteY87" fmla="*/ 65460 h 787651"/>
                <a:gd name="connsiteX88" fmla="*/ 188754 w 291728"/>
                <a:gd name="connsiteY88" fmla="*/ 56621 h 787651"/>
                <a:gd name="connsiteX89" fmla="*/ 201321 w 291728"/>
                <a:gd name="connsiteY89" fmla="*/ 47950 h 787651"/>
                <a:gd name="connsiteX90" fmla="*/ 214450 w 291728"/>
                <a:gd name="connsiteY90" fmla="*/ 39478 h 787651"/>
                <a:gd name="connsiteX91" fmla="*/ 228135 w 291728"/>
                <a:gd name="connsiteY91" fmla="*/ 31245 h 787651"/>
                <a:gd name="connsiteX92" fmla="*/ 242354 w 291728"/>
                <a:gd name="connsiteY92" fmla="*/ 23288 h 787651"/>
                <a:gd name="connsiteX93" fmla="*/ 257097 w 291728"/>
                <a:gd name="connsiteY93" fmla="*/ 15645 h 787651"/>
                <a:gd name="connsiteX94" fmla="*/ 272350 w 291728"/>
                <a:gd name="connsiteY94" fmla="*/ 8350 h 787651"/>
                <a:gd name="connsiteX95" fmla="*/ 288107 w 291728"/>
                <a:gd name="connsiteY95" fmla="*/ 1445 h 787651"/>
                <a:gd name="connsiteX96" fmla="*/ 291728 w 291728"/>
                <a:gd name="connsiteY96" fmla="*/ 0 h 78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291728" h="787651">
                  <a:moveTo>
                    <a:pt x="291728" y="0"/>
                  </a:moveTo>
                  <a:lnTo>
                    <a:pt x="291728" y="79686"/>
                  </a:lnTo>
                  <a:lnTo>
                    <a:pt x="280245" y="87145"/>
                  </a:lnTo>
                  <a:lnTo>
                    <a:pt x="267707" y="96031"/>
                  </a:lnTo>
                  <a:lnTo>
                    <a:pt x="255540" y="105422"/>
                  </a:lnTo>
                  <a:lnTo>
                    <a:pt x="243754" y="115322"/>
                  </a:lnTo>
                  <a:lnTo>
                    <a:pt x="232388" y="125712"/>
                  </a:lnTo>
                  <a:lnTo>
                    <a:pt x="221450" y="136598"/>
                  </a:lnTo>
                  <a:lnTo>
                    <a:pt x="210968" y="147970"/>
                  </a:lnTo>
                  <a:lnTo>
                    <a:pt x="200968" y="159822"/>
                  </a:lnTo>
                  <a:lnTo>
                    <a:pt x="191468" y="172151"/>
                  </a:lnTo>
                  <a:lnTo>
                    <a:pt x="182497" y="184946"/>
                  </a:lnTo>
                  <a:lnTo>
                    <a:pt x="174068" y="198208"/>
                  </a:lnTo>
                  <a:lnTo>
                    <a:pt x="166206" y="211928"/>
                  </a:lnTo>
                  <a:lnTo>
                    <a:pt x="158940" y="226099"/>
                  </a:lnTo>
                  <a:lnTo>
                    <a:pt x="152282" y="240713"/>
                  </a:lnTo>
                  <a:lnTo>
                    <a:pt x="146268" y="255775"/>
                  </a:lnTo>
                  <a:lnTo>
                    <a:pt x="140906" y="271271"/>
                  </a:lnTo>
                  <a:lnTo>
                    <a:pt x="136230" y="287195"/>
                  </a:lnTo>
                  <a:lnTo>
                    <a:pt x="132258" y="303547"/>
                  </a:lnTo>
                  <a:lnTo>
                    <a:pt x="129011" y="320314"/>
                  </a:lnTo>
                  <a:lnTo>
                    <a:pt x="126515" y="337495"/>
                  </a:lnTo>
                  <a:lnTo>
                    <a:pt x="124787" y="355086"/>
                  </a:lnTo>
                  <a:lnTo>
                    <a:pt x="123853" y="373081"/>
                  </a:lnTo>
                  <a:lnTo>
                    <a:pt x="123739" y="391467"/>
                  </a:lnTo>
                  <a:lnTo>
                    <a:pt x="124463" y="410248"/>
                  </a:lnTo>
                  <a:lnTo>
                    <a:pt x="126049" y="429415"/>
                  </a:lnTo>
                  <a:lnTo>
                    <a:pt x="128515" y="448963"/>
                  </a:lnTo>
                  <a:lnTo>
                    <a:pt x="131892" y="468882"/>
                  </a:lnTo>
                  <a:lnTo>
                    <a:pt x="153078" y="570835"/>
                  </a:lnTo>
                  <a:lnTo>
                    <a:pt x="178054" y="634326"/>
                  </a:lnTo>
                  <a:lnTo>
                    <a:pt x="222940" y="685903"/>
                  </a:lnTo>
                  <a:lnTo>
                    <a:pt x="291728" y="751682"/>
                  </a:lnTo>
                  <a:lnTo>
                    <a:pt x="291728" y="758691"/>
                  </a:lnTo>
                  <a:lnTo>
                    <a:pt x="277964" y="765694"/>
                  </a:lnTo>
                  <a:lnTo>
                    <a:pt x="253416" y="775994"/>
                  </a:lnTo>
                  <a:lnTo>
                    <a:pt x="228083" y="782704"/>
                  </a:lnTo>
                  <a:lnTo>
                    <a:pt x="202111" y="786389"/>
                  </a:lnTo>
                  <a:lnTo>
                    <a:pt x="186368" y="787651"/>
                  </a:lnTo>
                  <a:lnTo>
                    <a:pt x="174487" y="786518"/>
                  </a:lnTo>
                  <a:lnTo>
                    <a:pt x="160082" y="783013"/>
                  </a:lnTo>
                  <a:lnTo>
                    <a:pt x="149001" y="771023"/>
                  </a:lnTo>
                  <a:lnTo>
                    <a:pt x="131082" y="750798"/>
                  </a:lnTo>
                  <a:lnTo>
                    <a:pt x="119772" y="736813"/>
                  </a:lnTo>
                  <a:lnTo>
                    <a:pt x="108930" y="722574"/>
                  </a:lnTo>
                  <a:lnTo>
                    <a:pt x="98553" y="708098"/>
                  </a:lnTo>
                  <a:lnTo>
                    <a:pt x="88653" y="693393"/>
                  </a:lnTo>
                  <a:lnTo>
                    <a:pt x="79234" y="678474"/>
                  </a:lnTo>
                  <a:lnTo>
                    <a:pt x="70306" y="663350"/>
                  </a:lnTo>
                  <a:lnTo>
                    <a:pt x="61877" y="648045"/>
                  </a:lnTo>
                  <a:lnTo>
                    <a:pt x="53953" y="632564"/>
                  </a:lnTo>
                  <a:lnTo>
                    <a:pt x="46539" y="616926"/>
                  </a:lnTo>
                  <a:lnTo>
                    <a:pt x="39643" y="601140"/>
                  </a:lnTo>
                  <a:lnTo>
                    <a:pt x="33272" y="585221"/>
                  </a:lnTo>
                  <a:lnTo>
                    <a:pt x="27438" y="569183"/>
                  </a:lnTo>
                  <a:lnTo>
                    <a:pt x="22143" y="553040"/>
                  </a:lnTo>
                  <a:lnTo>
                    <a:pt x="17396" y="536806"/>
                  </a:lnTo>
                  <a:lnTo>
                    <a:pt x="13205" y="520497"/>
                  </a:lnTo>
                  <a:lnTo>
                    <a:pt x="9572" y="504120"/>
                  </a:lnTo>
                  <a:lnTo>
                    <a:pt x="6514" y="487692"/>
                  </a:lnTo>
                  <a:lnTo>
                    <a:pt x="4029" y="471225"/>
                  </a:lnTo>
                  <a:lnTo>
                    <a:pt x="2129" y="454734"/>
                  </a:lnTo>
                  <a:lnTo>
                    <a:pt x="819" y="438234"/>
                  </a:lnTo>
                  <a:lnTo>
                    <a:pt x="105" y="421739"/>
                  </a:lnTo>
                  <a:lnTo>
                    <a:pt x="0" y="405258"/>
                  </a:lnTo>
                  <a:lnTo>
                    <a:pt x="505" y="388810"/>
                  </a:lnTo>
                  <a:lnTo>
                    <a:pt x="1634" y="372405"/>
                  </a:lnTo>
                  <a:lnTo>
                    <a:pt x="3386" y="356057"/>
                  </a:lnTo>
                  <a:lnTo>
                    <a:pt x="5772" y="339781"/>
                  </a:lnTo>
                  <a:lnTo>
                    <a:pt x="8800" y="323585"/>
                  </a:lnTo>
                  <a:lnTo>
                    <a:pt x="12477" y="307495"/>
                  </a:lnTo>
                  <a:lnTo>
                    <a:pt x="16810" y="291514"/>
                  </a:lnTo>
                  <a:lnTo>
                    <a:pt x="21805" y="275657"/>
                  </a:lnTo>
                  <a:lnTo>
                    <a:pt x="27467" y="259937"/>
                  </a:lnTo>
                  <a:lnTo>
                    <a:pt x="33810" y="244371"/>
                  </a:lnTo>
                  <a:lnTo>
                    <a:pt x="40839" y="228975"/>
                  </a:lnTo>
                  <a:lnTo>
                    <a:pt x="48558" y="213751"/>
                  </a:lnTo>
                  <a:lnTo>
                    <a:pt x="56972" y="198727"/>
                  </a:lnTo>
                  <a:lnTo>
                    <a:pt x="66096" y="183908"/>
                  </a:lnTo>
                  <a:lnTo>
                    <a:pt x="75934" y="169308"/>
                  </a:lnTo>
                  <a:lnTo>
                    <a:pt x="86491" y="154941"/>
                  </a:lnTo>
                  <a:lnTo>
                    <a:pt x="97772" y="140827"/>
                  </a:lnTo>
                  <a:lnTo>
                    <a:pt x="109792" y="126970"/>
                  </a:lnTo>
                  <a:lnTo>
                    <a:pt x="122554" y="113388"/>
                  </a:lnTo>
                  <a:lnTo>
                    <a:pt x="136063" y="100093"/>
                  </a:lnTo>
                  <a:lnTo>
                    <a:pt x="150330" y="87102"/>
                  </a:lnTo>
                  <a:lnTo>
                    <a:pt x="165363" y="74426"/>
                  </a:lnTo>
                  <a:lnTo>
                    <a:pt x="176763" y="65460"/>
                  </a:lnTo>
                  <a:lnTo>
                    <a:pt x="188754" y="56621"/>
                  </a:lnTo>
                  <a:lnTo>
                    <a:pt x="201321" y="47950"/>
                  </a:lnTo>
                  <a:lnTo>
                    <a:pt x="214450" y="39478"/>
                  </a:lnTo>
                  <a:lnTo>
                    <a:pt x="228135" y="31245"/>
                  </a:lnTo>
                  <a:lnTo>
                    <a:pt x="242354" y="23288"/>
                  </a:lnTo>
                  <a:lnTo>
                    <a:pt x="257097" y="15645"/>
                  </a:lnTo>
                  <a:lnTo>
                    <a:pt x="272350" y="8350"/>
                  </a:lnTo>
                  <a:lnTo>
                    <a:pt x="288107" y="1445"/>
                  </a:lnTo>
                  <a:lnTo>
                    <a:pt x="291728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1181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25B72A-002C-4B66-4319-6DCC4F7EAC7F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2939A65-C057-4305-B746-2B3D4F93F3B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15900" y="3505200"/>
            <a:ext cx="3831979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6C9248-82BC-428C-8FF6-0B7A5C55D20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78142" y="3505200"/>
            <a:ext cx="3831979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DEF6E91-1B2D-F095-B0E4-5D3CB7BAE45C}"/>
              </a:ext>
            </a:extLst>
          </p:cNvPr>
          <p:cNvGrpSpPr/>
          <p:nvPr userDrawn="1"/>
        </p:nvGrpSpPr>
        <p:grpSpPr>
          <a:xfrm>
            <a:off x="11049000" y="1371600"/>
            <a:ext cx="1147784" cy="1400164"/>
            <a:chOff x="11049000" y="4929548"/>
            <a:chExt cx="1147784" cy="1400163"/>
          </a:xfrm>
          <a:solidFill>
            <a:schemeClr val="accent5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885E1-57F6-FCB7-F6AC-8E08BE7E61BD}"/>
                </a:ext>
              </a:extLst>
            </p:cNvPr>
            <p:cNvSpPr/>
            <p:nvPr userDrawn="1"/>
          </p:nvSpPr>
          <p:spPr>
            <a:xfrm>
              <a:off x="12192000" y="6293742"/>
              <a:ext cx="4784" cy="7009"/>
            </a:xfrm>
            <a:custGeom>
              <a:avLst/>
              <a:gdLst>
                <a:gd name="connsiteX0" fmla="*/ 0 w 4784"/>
                <a:gd name="connsiteY0" fmla="*/ 0 h 7009"/>
                <a:gd name="connsiteX1" fmla="*/ 4784 w 4784"/>
                <a:gd name="connsiteY1" fmla="*/ 4574 h 7009"/>
                <a:gd name="connsiteX2" fmla="*/ 0 w 4784"/>
                <a:gd name="connsiteY2" fmla="*/ 7009 h 7009"/>
                <a:gd name="connsiteX3" fmla="*/ 0 w 4784"/>
                <a:gd name="connsiteY3" fmla="*/ 0 h 7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84" h="7009">
                  <a:moveTo>
                    <a:pt x="0" y="0"/>
                  </a:moveTo>
                  <a:lnTo>
                    <a:pt x="4784" y="4574"/>
                  </a:lnTo>
                  <a:lnTo>
                    <a:pt x="0" y="70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3A51C61-3A97-4D39-5068-939E937E6208}"/>
                </a:ext>
              </a:extLst>
            </p:cNvPr>
            <p:cNvSpPr/>
            <p:nvPr userDrawn="1"/>
          </p:nvSpPr>
          <p:spPr>
            <a:xfrm>
              <a:off x="11049000" y="4929548"/>
              <a:ext cx="1143000" cy="1092840"/>
            </a:xfrm>
            <a:custGeom>
              <a:avLst/>
              <a:gdLst>
                <a:gd name="connsiteX0" fmla="*/ 1143000 w 1143000"/>
                <a:gd name="connsiteY0" fmla="*/ 0 h 1092840"/>
                <a:gd name="connsiteX1" fmla="*/ 1143000 w 1143000"/>
                <a:gd name="connsiteY1" fmla="*/ 99531 h 1092840"/>
                <a:gd name="connsiteX2" fmla="*/ 1131798 w 1143000"/>
                <a:gd name="connsiteY2" fmla="*/ 100952 h 1092840"/>
                <a:gd name="connsiteX3" fmla="*/ 1110140 w 1143000"/>
                <a:gd name="connsiteY3" fmla="*/ 104580 h 1092840"/>
                <a:gd name="connsiteX4" fmla="*/ 1089117 w 1143000"/>
                <a:gd name="connsiteY4" fmla="*/ 108980 h 1092840"/>
                <a:gd name="connsiteX5" fmla="*/ 1068712 w 1143000"/>
                <a:gd name="connsiteY5" fmla="*/ 114128 h 1092840"/>
                <a:gd name="connsiteX6" fmla="*/ 1048926 w 1143000"/>
                <a:gd name="connsiteY6" fmla="*/ 119990 h 1092840"/>
                <a:gd name="connsiteX7" fmla="*/ 1029745 w 1143000"/>
                <a:gd name="connsiteY7" fmla="*/ 126533 h 1092840"/>
                <a:gd name="connsiteX8" fmla="*/ 1011168 w 1143000"/>
                <a:gd name="connsiteY8" fmla="*/ 133733 h 1092840"/>
                <a:gd name="connsiteX9" fmla="*/ 993178 w 1143000"/>
                <a:gd name="connsiteY9" fmla="*/ 141561 h 1092840"/>
                <a:gd name="connsiteX10" fmla="*/ 975768 w 1143000"/>
                <a:gd name="connsiteY10" fmla="*/ 149980 h 1092840"/>
                <a:gd name="connsiteX11" fmla="*/ 958935 w 1143000"/>
                <a:gd name="connsiteY11" fmla="*/ 158966 h 1092840"/>
                <a:gd name="connsiteX12" fmla="*/ 942668 w 1143000"/>
                <a:gd name="connsiteY12" fmla="*/ 168485 h 1092840"/>
                <a:gd name="connsiteX13" fmla="*/ 926959 w 1143000"/>
                <a:gd name="connsiteY13" fmla="*/ 178514 h 1092840"/>
                <a:gd name="connsiteX14" fmla="*/ 911801 w 1143000"/>
                <a:gd name="connsiteY14" fmla="*/ 189019 h 1092840"/>
                <a:gd name="connsiteX15" fmla="*/ 897182 w 1143000"/>
                <a:gd name="connsiteY15" fmla="*/ 199971 h 1092840"/>
                <a:gd name="connsiteX16" fmla="*/ 883096 w 1143000"/>
                <a:gd name="connsiteY16" fmla="*/ 211338 h 1092840"/>
                <a:gd name="connsiteX17" fmla="*/ 869539 w 1143000"/>
                <a:gd name="connsiteY17" fmla="*/ 223095 h 1092840"/>
                <a:gd name="connsiteX18" fmla="*/ 856496 w 1143000"/>
                <a:gd name="connsiteY18" fmla="*/ 235205 h 1092840"/>
                <a:gd name="connsiteX19" fmla="*/ 843963 w 1143000"/>
                <a:gd name="connsiteY19" fmla="*/ 247648 h 1092840"/>
                <a:gd name="connsiteX20" fmla="*/ 831929 w 1143000"/>
                <a:gd name="connsiteY20" fmla="*/ 260386 h 1092840"/>
                <a:gd name="connsiteX21" fmla="*/ 820391 w 1143000"/>
                <a:gd name="connsiteY21" fmla="*/ 273391 h 1092840"/>
                <a:gd name="connsiteX22" fmla="*/ 809334 w 1143000"/>
                <a:gd name="connsiteY22" fmla="*/ 286639 h 1092840"/>
                <a:gd name="connsiteX23" fmla="*/ 798758 w 1143000"/>
                <a:gd name="connsiteY23" fmla="*/ 300091 h 1092840"/>
                <a:gd name="connsiteX24" fmla="*/ 788643 w 1143000"/>
                <a:gd name="connsiteY24" fmla="*/ 313725 h 1092840"/>
                <a:gd name="connsiteX25" fmla="*/ 778991 w 1143000"/>
                <a:gd name="connsiteY25" fmla="*/ 327511 h 1092840"/>
                <a:gd name="connsiteX26" fmla="*/ 769791 w 1143000"/>
                <a:gd name="connsiteY26" fmla="*/ 341415 h 1092840"/>
                <a:gd name="connsiteX27" fmla="*/ 761038 w 1143000"/>
                <a:gd name="connsiteY27" fmla="*/ 355406 h 1092840"/>
                <a:gd name="connsiteX28" fmla="*/ 752714 w 1143000"/>
                <a:gd name="connsiteY28" fmla="*/ 369458 h 1092840"/>
                <a:gd name="connsiteX29" fmla="*/ 744819 w 1143000"/>
                <a:gd name="connsiteY29" fmla="*/ 383544 h 1092840"/>
                <a:gd name="connsiteX30" fmla="*/ 737343 w 1143000"/>
                <a:gd name="connsiteY30" fmla="*/ 397630 h 1092840"/>
                <a:gd name="connsiteX31" fmla="*/ 730281 w 1143000"/>
                <a:gd name="connsiteY31" fmla="*/ 411688 h 1092840"/>
                <a:gd name="connsiteX32" fmla="*/ 723619 w 1143000"/>
                <a:gd name="connsiteY32" fmla="*/ 425683 h 1092840"/>
                <a:gd name="connsiteX33" fmla="*/ 717352 w 1143000"/>
                <a:gd name="connsiteY33" fmla="*/ 439592 h 1092840"/>
                <a:gd name="connsiteX34" fmla="*/ 711466 w 1143000"/>
                <a:gd name="connsiteY34" fmla="*/ 453388 h 1092840"/>
                <a:gd name="connsiteX35" fmla="*/ 705967 w 1143000"/>
                <a:gd name="connsiteY35" fmla="*/ 467031 h 1092840"/>
                <a:gd name="connsiteX36" fmla="*/ 700833 w 1143000"/>
                <a:gd name="connsiteY36" fmla="*/ 480498 h 1092840"/>
                <a:gd name="connsiteX37" fmla="*/ 691642 w 1143000"/>
                <a:gd name="connsiteY37" fmla="*/ 506779 h 1092840"/>
                <a:gd name="connsiteX38" fmla="*/ 683828 w 1143000"/>
                <a:gd name="connsiteY38" fmla="*/ 531998 h 1092840"/>
                <a:gd name="connsiteX39" fmla="*/ 677338 w 1143000"/>
                <a:gd name="connsiteY39" fmla="*/ 555908 h 1092840"/>
                <a:gd name="connsiteX40" fmla="*/ 672090 w 1143000"/>
                <a:gd name="connsiteY40" fmla="*/ 578279 h 1092840"/>
                <a:gd name="connsiteX41" fmla="*/ 668033 w 1143000"/>
                <a:gd name="connsiteY41" fmla="*/ 598870 h 1092840"/>
                <a:gd name="connsiteX42" fmla="*/ 665090 w 1143000"/>
                <a:gd name="connsiteY42" fmla="*/ 617446 h 1092840"/>
                <a:gd name="connsiteX43" fmla="*/ 662823 w 1143000"/>
                <a:gd name="connsiteY43" fmla="*/ 635299 h 1092840"/>
                <a:gd name="connsiteX44" fmla="*/ 660885 w 1143000"/>
                <a:gd name="connsiteY44" fmla="*/ 653561 h 1092840"/>
                <a:gd name="connsiteX45" fmla="*/ 659290 w 1143000"/>
                <a:gd name="connsiteY45" fmla="*/ 672180 h 1092840"/>
                <a:gd name="connsiteX46" fmla="*/ 658033 w 1143000"/>
                <a:gd name="connsiteY46" fmla="*/ 691113 h 1092840"/>
                <a:gd name="connsiteX47" fmla="*/ 657114 w 1143000"/>
                <a:gd name="connsiteY47" fmla="*/ 710313 h 1092840"/>
                <a:gd name="connsiteX48" fmla="*/ 656547 w 1143000"/>
                <a:gd name="connsiteY48" fmla="*/ 729728 h 1092840"/>
                <a:gd name="connsiteX49" fmla="*/ 656323 w 1143000"/>
                <a:gd name="connsiteY49" fmla="*/ 749314 h 1092840"/>
                <a:gd name="connsiteX50" fmla="*/ 656452 w 1143000"/>
                <a:gd name="connsiteY50" fmla="*/ 769024 h 1092840"/>
                <a:gd name="connsiteX51" fmla="*/ 656933 w 1143000"/>
                <a:gd name="connsiteY51" fmla="*/ 788809 h 1092840"/>
                <a:gd name="connsiteX52" fmla="*/ 657771 w 1143000"/>
                <a:gd name="connsiteY52" fmla="*/ 808624 h 1092840"/>
                <a:gd name="connsiteX53" fmla="*/ 658966 w 1143000"/>
                <a:gd name="connsiteY53" fmla="*/ 828419 h 1092840"/>
                <a:gd name="connsiteX54" fmla="*/ 660528 w 1143000"/>
                <a:gd name="connsiteY54" fmla="*/ 848153 h 1092840"/>
                <a:gd name="connsiteX55" fmla="*/ 662452 w 1143000"/>
                <a:gd name="connsiteY55" fmla="*/ 867767 h 1092840"/>
                <a:gd name="connsiteX56" fmla="*/ 664742 w 1143000"/>
                <a:gd name="connsiteY56" fmla="*/ 887225 h 1092840"/>
                <a:gd name="connsiteX57" fmla="*/ 667404 w 1143000"/>
                <a:gd name="connsiteY57" fmla="*/ 906473 h 1092840"/>
                <a:gd name="connsiteX58" fmla="*/ 670438 w 1143000"/>
                <a:gd name="connsiteY58" fmla="*/ 925463 h 1092840"/>
                <a:gd name="connsiteX59" fmla="*/ 673847 w 1143000"/>
                <a:gd name="connsiteY59" fmla="*/ 944154 h 1092840"/>
                <a:gd name="connsiteX60" fmla="*/ 677638 w 1143000"/>
                <a:gd name="connsiteY60" fmla="*/ 962497 h 1092840"/>
                <a:gd name="connsiteX61" fmla="*/ 681809 w 1143000"/>
                <a:gd name="connsiteY61" fmla="*/ 980440 h 1092840"/>
                <a:gd name="connsiteX62" fmla="*/ 686366 w 1143000"/>
                <a:gd name="connsiteY62" fmla="*/ 997940 h 1092840"/>
                <a:gd name="connsiteX63" fmla="*/ 691309 w 1143000"/>
                <a:gd name="connsiteY63" fmla="*/ 1014950 h 1092840"/>
                <a:gd name="connsiteX64" fmla="*/ 696638 w 1143000"/>
                <a:gd name="connsiteY64" fmla="*/ 1031421 h 1092840"/>
                <a:gd name="connsiteX65" fmla="*/ 702367 w 1143000"/>
                <a:gd name="connsiteY65" fmla="*/ 1047302 h 1092840"/>
                <a:gd name="connsiteX66" fmla="*/ 708486 w 1143000"/>
                <a:gd name="connsiteY66" fmla="*/ 1062554 h 1092840"/>
                <a:gd name="connsiteX67" fmla="*/ 715005 w 1143000"/>
                <a:gd name="connsiteY67" fmla="*/ 1077126 h 1092840"/>
                <a:gd name="connsiteX68" fmla="*/ 721924 w 1143000"/>
                <a:gd name="connsiteY68" fmla="*/ 1090969 h 1092840"/>
                <a:gd name="connsiteX69" fmla="*/ 706938 w 1143000"/>
                <a:gd name="connsiteY69" fmla="*/ 1092007 h 1092840"/>
                <a:gd name="connsiteX70" fmla="*/ 692000 w 1143000"/>
                <a:gd name="connsiteY70" fmla="*/ 1092636 h 1092840"/>
                <a:gd name="connsiteX71" fmla="*/ 677123 w 1143000"/>
                <a:gd name="connsiteY71" fmla="*/ 1092840 h 1092840"/>
                <a:gd name="connsiteX72" fmla="*/ 662328 w 1143000"/>
                <a:gd name="connsiteY72" fmla="*/ 1092621 h 1092840"/>
                <a:gd name="connsiteX73" fmla="*/ 647623 w 1143000"/>
                <a:gd name="connsiteY73" fmla="*/ 1091965 h 1092840"/>
                <a:gd name="connsiteX74" fmla="*/ 633023 w 1143000"/>
                <a:gd name="connsiteY74" fmla="*/ 1090860 h 1092840"/>
                <a:gd name="connsiteX75" fmla="*/ 618542 w 1143000"/>
                <a:gd name="connsiteY75" fmla="*/ 1089302 h 1092840"/>
                <a:gd name="connsiteX76" fmla="*/ 604195 w 1143000"/>
                <a:gd name="connsiteY76" fmla="*/ 1087284 h 1092840"/>
                <a:gd name="connsiteX77" fmla="*/ 589989 w 1143000"/>
                <a:gd name="connsiteY77" fmla="*/ 1084793 h 1092840"/>
                <a:gd name="connsiteX78" fmla="*/ 575951 w 1143000"/>
                <a:gd name="connsiteY78" fmla="*/ 1081826 h 1092840"/>
                <a:gd name="connsiteX79" fmla="*/ 548403 w 1143000"/>
                <a:gd name="connsiteY79" fmla="*/ 1074417 h 1092840"/>
                <a:gd name="connsiteX80" fmla="*/ 521665 w 1143000"/>
                <a:gd name="connsiteY80" fmla="*/ 1064988 h 1092840"/>
                <a:gd name="connsiteX81" fmla="*/ 495846 w 1143000"/>
                <a:gd name="connsiteY81" fmla="*/ 1053474 h 1092840"/>
                <a:gd name="connsiteX82" fmla="*/ 471055 w 1143000"/>
                <a:gd name="connsiteY82" fmla="*/ 1039812 h 1092840"/>
                <a:gd name="connsiteX83" fmla="*/ 447408 w 1143000"/>
                <a:gd name="connsiteY83" fmla="*/ 1023926 h 1092840"/>
                <a:gd name="connsiteX84" fmla="*/ 436041 w 1143000"/>
                <a:gd name="connsiteY84" fmla="*/ 1015130 h 1092840"/>
                <a:gd name="connsiteX85" fmla="*/ 425003 w 1143000"/>
                <a:gd name="connsiteY85" fmla="*/ 1005754 h 1092840"/>
                <a:gd name="connsiteX86" fmla="*/ 414307 w 1143000"/>
                <a:gd name="connsiteY86" fmla="*/ 995788 h 1092840"/>
                <a:gd name="connsiteX87" fmla="*/ 403964 w 1143000"/>
                <a:gd name="connsiteY87" fmla="*/ 985225 h 1092840"/>
                <a:gd name="connsiteX88" fmla="*/ 393988 w 1143000"/>
                <a:gd name="connsiteY88" fmla="*/ 974059 h 1092840"/>
                <a:gd name="connsiteX89" fmla="*/ 384398 w 1143000"/>
                <a:gd name="connsiteY89" fmla="*/ 962278 h 1092840"/>
                <a:gd name="connsiteX90" fmla="*/ 375198 w 1143000"/>
                <a:gd name="connsiteY90" fmla="*/ 949873 h 1092840"/>
                <a:gd name="connsiteX91" fmla="*/ 366407 w 1143000"/>
                <a:gd name="connsiteY91" fmla="*/ 936839 h 1092840"/>
                <a:gd name="connsiteX92" fmla="*/ 358045 w 1143000"/>
                <a:gd name="connsiteY92" fmla="*/ 923163 h 1092840"/>
                <a:gd name="connsiteX93" fmla="*/ 350112 w 1143000"/>
                <a:gd name="connsiteY93" fmla="*/ 908839 h 1092840"/>
                <a:gd name="connsiteX94" fmla="*/ 342636 w 1143000"/>
                <a:gd name="connsiteY94" fmla="*/ 893863 h 1092840"/>
                <a:gd name="connsiteX95" fmla="*/ 335621 w 1143000"/>
                <a:gd name="connsiteY95" fmla="*/ 878220 h 1092840"/>
                <a:gd name="connsiteX96" fmla="*/ 329088 w 1143000"/>
                <a:gd name="connsiteY96" fmla="*/ 861905 h 1092840"/>
                <a:gd name="connsiteX97" fmla="*/ 323045 w 1143000"/>
                <a:gd name="connsiteY97" fmla="*/ 844910 h 1092840"/>
                <a:gd name="connsiteX98" fmla="*/ 317507 w 1143000"/>
                <a:gd name="connsiteY98" fmla="*/ 827224 h 1092840"/>
                <a:gd name="connsiteX99" fmla="*/ 312493 w 1143000"/>
                <a:gd name="connsiteY99" fmla="*/ 808838 h 1092840"/>
                <a:gd name="connsiteX100" fmla="*/ 308007 w 1143000"/>
                <a:gd name="connsiteY100" fmla="*/ 789748 h 1092840"/>
                <a:gd name="connsiteX101" fmla="*/ 304073 w 1143000"/>
                <a:gd name="connsiteY101" fmla="*/ 769938 h 1092840"/>
                <a:gd name="connsiteX102" fmla="*/ 300697 w 1143000"/>
                <a:gd name="connsiteY102" fmla="*/ 749409 h 1092840"/>
                <a:gd name="connsiteX103" fmla="*/ 297902 w 1143000"/>
                <a:gd name="connsiteY103" fmla="*/ 728147 h 1092840"/>
                <a:gd name="connsiteX104" fmla="*/ 295687 w 1143000"/>
                <a:gd name="connsiteY104" fmla="*/ 706147 h 1092840"/>
                <a:gd name="connsiteX105" fmla="*/ 294083 w 1143000"/>
                <a:gd name="connsiteY105" fmla="*/ 683394 h 1092840"/>
                <a:gd name="connsiteX106" fmla="*/ 293092 w 1143000"/>
                <a:gd name="connsiteY106" fmla="*/ 659884 h 1092840"/>
                <a:gd name="connsiteX107" fmla="*/ 292731 w 1143000"/>
                <a:gd name="connsiteY107" fmla="*/ 635613 h 1092840"/>
                <a:gd name="connsiteX108" fmla="*/ 293016 w 1143000"/>
                <a:gd name="connsiteY108" fmla="*/ 610565 h 1092840"/>
                <a:gd name="connsiteX109" fmla="*/ 271916 w 1143000"/>
                <a:gd name="connsiteY109" fmla="*/ 609608 h 1092840"/>
                <a:gd name="connsiteX110" fmla="*/ 251459 w 1143000"/>
                <a:gd name="connsiteY110" fmla="*/ 607641 h 1092840"/>
                <a:gd name="connsiteX111" fmla="*/ 231649 w 1143000"/>
                <a:gd name="connsiteY111" fmla="*/ 604694 h 1092840"/>
                <a:gd name="connsiteX112" fmla="*/ 212506 w 1143000"/>
                <a:gd name="connsiteY112" fmla="*/ 600779 h 1092840"/>
                <a:gd name="connsiteX113" fmla="*/ 194020 w 1143000"/>
                <a:gd name="connsiteY113" fmla="*/ 595917 h 1092840"/>
                <a:gd name="connsiteX114" fmla="*/ 176210 w 1143000"/>
                <a:gd name="connsiteY114" fmla="*/ 590132 h 1092840"/>
                <a:gd name="connsiteX115" fmla="*/ 159082 w 1143000"/>
                <a:gd name="connsiteY115" fmla="*/ 583437 h 1092840"/>
                <a:gd name="connsiteX116" fmla="*/ 142634 w 1143000"/>
                <a:gd name="connsiteY116" fmla="*/ 575860 h 1092840"/>
                <a:gd name="connsiteX117" fmla="*/ 126877 w 1143000"/>
                <a:gd name="connsiteY117" fmla="*/ 567417 h 1092840"/>
                <a:gd name="connsiteX118" fmla="*/ 111820 w 1143000"/>
                <a:gd name="connsiteY118" fmla="*/ 558127 h 1092840"/>
                <a:gd name="connsiteX119" fmla="*/ 97462 w 1143000"/>
                <a:gd name="connsiteY119" fmla="*/ 548012 h 1092840"/>
                <a:gd name="connsiteX120" fmla="*/ 83820 w 1143000"/>
                <a:gd name="connsiteY120" fmla="*/ 537093 h 1092840"/>
                <a:gd name="connsiteX121" fmla="*/ 70896 w 1143000"/>
                <a:gd name="connsiteY121" fmla="*/ 525393 h 1092840"/>
                <a:gd name="connsiteX122" fmla="*/ 58696 w 1143000"/>
                <a:gd name="connsiteY122" fmla="*/ 512922 h 1092840"/>
                <a:gd name="connsiteX123" fmla="*/ 47224 w 1143000"/>
                <a:gd name="connsiteY123" fmla="*/ 499707 h 1092840"/>
                <a:gd name="connsiteX124" fmla="*/ 36491 w 1143000"/>
                <a:gd name="connsiteY124" fmla="*/ 485769 h 1092840"/>
                <a:gd name="connsiteX125" fmla="*/ 26500 w 1143000"/>
                <a:gd name="connsiteY125" fmla="*/ 471131 h 1092840"/>
                <a:gd name="connsiteX126" fmla="*/ 17262 w 1143000"/>
                <a:gd name="connsiteY126" fmla="*/ 455802 h 1092840"/>
                <a:gd name="connsiteX127" fmla="*/ 8781 w 1143000"/>
                <a:gd name="connsiteY127" fmla="*/ 439811 h 1092840"/>
                <a:gd name="connsiteX128" fmla="*/ 0 w 1143000"/>
                <a:gd name="connsiteY128" fmla="*/ 419692 h 1092840"/>
                <a:gd name="connsiteX129" fmla="*/ 500 w 1143000"/>
                <a:gd name="connsiteY129" fmla="*/ 417887 h 1092840"/>
                <a:gd name="connsiteX130" fmla="*/ 11771 w 1143000"/>
                <a:gd name="connsiteY130" fmla="*/ 429583 h 1092840"/>
                <a:gd name="connsiteX131" fmla="*/ 23705 w 1143000"/>
                <a:gd name="connsiteY131" fmla="*/ 440735 h 1092840"/>
                <a:gd name="connsiteX132" fmla="*/ 36276 w 1143000"/>
                <a:gd name="connsiteY132" fmla="*/ 451340 h 1092840"/>
                <a:gd name="connsiteX133" fmla="*/ 49453 w 1143000"/>
                <a:gd name="connsiteY133" fmla="*/ 461373 h 1092840"/>
                <a:gd name="connsiteX134" fmla="*/ 63215 w 1143000"/>
                <a:gd name="connsiteY134" fmla="*/ 470831 h 1092840"/>
                <a:gd name="connsiteX135" fmla="*/ 77524 w 1143000"/>
                <a:gd name="connsiteY135" fmla="*/ 479693 h 1092840"/>
                <a:gd name="connsiteX136" fmla="*/ 92367 w 1143000"/>
                <a:gd name="connsiteY136" fmla="*/ 487945 h 1092840"/>
                <a:gd name="connsiteX137" fmla="*/ 107705 w 1143000"/>
                <a:gd name="connsiteY137" fmla="*/ 495579 h 1092840"/>
                <a:gd name="connsiteX138" fmla="*/ 123515 w 1143000"/>
                <a:gd name="connsiteY138" fmla="*/ 502579 h 1092840"/>
                <a:gd name="connsiteX139" fmla="*/ 139767 w 1143000"/>
                <a:gd name="connsiteY139" fmla="*/ 508931 h 1092840"/>
                <a:gd name="connsiteX140" fmla="*/ 156439 w 1143000"/>
                <a:gd name="connsiteY140" fmla="*/ 514622 h 1092840"/>
                <a:gd name="connsiteX141" fmla="*/ 173496 w 1143000"/>
                <a:gd name="connsiteY141" fmla="*/ 519636 h 1092840"/>
                <a:gd name="connsiteX142" fmla="*/ 190915 w 1143000"/>
                <a:gd name="connsiteY142" fmla="*/ 523964 h 1092840"/>
                <a:gd name="connsiteX143" fmla="*/ 208673 w 1143000"/>
                <a:gd name="connsiteY143" fmla="*/ 527593 h 1092840"/>
                <a:gd name="connsiteX144" fmla="*/ 226730 w 1143000"/>
                <a:gd name="connsiteY144" fmla="*/ 530502 h 1092840"/>
                <a:gd name="connsiteX145" fmla="*/ 245073 w 1143000"/>
                <a:gd name="connsiteY145" fmla="*/ 532688 h 1092840"/>
                <a:gd name="connsiteX146" fmla="*/ 263664 w 1143000"/>
                <a:gd name="connsiteY146" fmla="*/ 534131 h 1092840"/>
                <a:gd name="connsiteX147" fmla="*/ 282478 w 1143000"/>
                <a:gd name="connsiteY147" fmla="*/ 534817 h 1092840"/>
                <a:gd name="connsiteX148" fmla="*/ 301488 w 1143000"/>
                <a:gd name="connsiteY148" fmla="*/ 534736 h 1092840"/>
                <a:gd name="connsiteX149" fmla="*/ 320669 w 1143000"/>
                <a:gd name="connsiteY149" fmla="*/ 533869 h 1092840"/>
                <a:gd name="connsiteX150" fmla="*/ 339993 w 1143000"/>
                <a:gd name="connsiteY150" fmla="*/ 532212 h 1092840"/>
                <a:gd name="connsiteX151" fmla="*/ 359431 w 1143000"/>
                <a:gd name="connsiteY151" fmla="*/ 529741 h 1092840"/>
                <a:gd name="connsiteX152" fmla="*/ 378955 w 1143000"/>
                <a:gd name="connsiteY152" fmla="*/ 526450 h 1092840"/>
                <a:gd name="connsiteX153" fmla="*/ 409093 w 1143000"/>
                <a:gd name="connsiteY153" fmla="*/ 519712 h 1092840"/>
                <a:gd name="connsiteX154" fmla="*/ 429822 w 1143000"/>
                <a:gd name="connsiteY154" fmla="*/ 513912 h 1092840"/>
                <a:gd name="connsiteX155" fmla="*/ 439988 w 1143000"/>
                <a:gd name="connsiteY155" fmla="*/ 510722 h 1092840"/>
                <a:gd name="connsiteX156" fmla="*/ 433941 w 1143000"/>
                <a:gd name="connsiteY156" fmla="*/ 526388 h 1092840"/>
                <a:gd name="connsiteX157" fmla="*/ 428622 w 1143000"/>
                <a:gd name="connsiteY157" fmla="*/ 542650 h 1092840"/>
                <a:gd name="connsiteX158" fmla="*/ 424026 w 1143000"/>
                <a:gd name="connsiteY158" fmla="*/ 559446 h 1092840"/>
                <a:gd name="connsiteX159" fmla="*/ 420136 w 1143000"/>
                <a:gd name="connsiteY159" fmla="*/ 576722 h 1092840"/>
                <a:gd name="connsiteX160" fmla="*/ 416955 w 1143000"/>
                <a:gd name="connsiteY160" fmla="*/ 594408 h 1092840"/>
                <a:gd name="connsiteX161" fmla="*/ 414469 w 1143000"/>
                <a:gd name="connsiteY161" fmla="*/ 612451 h 1092840"/>
                <a:gd name="connsiteX162" fmla="*/ 412669 w 1143000"/>
                <a:gd name="connsiteY162" fmla="*/ 630785 h 1092840"/>
                <a:gd name="connsiteX163" fmla="*/ 411545 w 1143000"/>
                <a:gd name="connsiteY163" fmla="*/ 649351 h 1092840"/>
                <a:gd name="connsiteX164" fmla="*/ 411098 w 1143000"/>
                <a:gd name="connsiteY164" fmla="*/ 668089 h 1092840"/>
                <a:gd name="connsiteX165" fmla="*/ 411307 w 1143000"/>
                <a:gd name="connsiteY165" fmla="*/ 686942 h 1092840"/>
                <a:gd name="connsiteX166" fmla="*/ 412174 w 1143000"/>
                <a:gd name="connsiteY166" fmla="*/ 705842 h 1092840"/>
                <a:gd name="connsiteX167" fmla="*/ 413688 w 1143000"/>
                <a:gd name="connsiteY167" fmla="*/ 724733 h 1092840"/>
                <a:gd name="connsiteX168" fmla="*/ 415836 w 1143000"/>
                <a:gd name="connsiteY168" fmla="*/ 743557 h 1092840"/>
                <a:gd name="connsiteX169" fmla="*/ 418617 w 1143000"/>
                <a:gd name="connsiteY169" fmla="*/ 762243 h 1092840"/>
                <a:gd name="connsiteX170" fmla="*/ 422017 w 1143000"/>
                <a:gd name="connsiteY170" fmla="*/ 780743 h 1092840"/>
                <a:gd name="connsiteX171" fmla="*/ 426026 w 1143000"/>
                <a:gd name="connsiteY171" fmla="*/ 798986 h 1092840"/>
                <a:gd name="connsiteX172" fmla="*/ 430646 w 1143000"/>
                <a:gd name="connsiteY172" fmla="*/ 816919 h 1092840"/>
                <a:gd name="connsiteX173" fmla="*/ 435860 w 1143000"/>
                <a:gd name="connsiteY173" fmla="*/ 834481 h 1092840"/>
                <a:gd name="connsiteX174" fmla="*/ 441660 w 1143000"/>
                <a:gd name="connsiteY174" fmla="*/ 851605 h 1092840"/>
                <a:gd name="connsiteX175" fmla="*/ 448041 w 1143000"/>
                <a:gd name="connsiteY175" fmla="*/ 868234 h 1092840"/>
                <a:gd name="connsiteX176" fmla="*/ 454993 w 1143000"/>
                <a:gd name="connsiteY176" fmla="*/ 884310 h 1092840"/>
                <a:gd name="connsiteX177" fmla="*/ 462508 w 1143000"/>
                <a:gd name="connsiteY177" fmla="*/ 899768 h 1092840"/>
                <a:gd name="connsiteX178" fmla="*/ 470579 w 1143000"/>
                <a:gd name="connsiteY178" fmla="*/ 914549 h 1092840"/>
                <a:gd name="connsiteX179" fmla="*/ 479194 w 1143000"/>
                <a:gd name="connsiteY179" fmla="*/ 928597 h 1092840"/>
                <a:gd name="connsiteX180" fmla="*/ 488351 w 1143000"/>
                <a:gd name="connsiteY180" fmla="*/ 941839 h 1092840"/>
                <a:gd name="connsiteX181" fmla="*/ 498036 w 1143000"/>
                <a:gd name="connsiteY181" fmla="*/ 954230 h 1092840"/>
                <a:gd name="connsiteX182" fmla="*/ 508242 w 1143000"/>
                <a:gd name="connsiteY182" fmla="*/ 965697 h 1092840"/>
                <a:gd name="connsiteX183" fmla="*/ 518965 w 1143000"/>
                <a:gd name="connsiteY183" fmla="*/ 976187 h 1092840"/>
                <a:gd name="connsiteX184" fmla="*/ 530189 w 1143000"/>
                <a:gd name="connsiteY184" fmla="*/ 985640 h 1092840"/>
                <a:gd name="connsiteX185" fmla="*/ 541913 w 1143000"/>
                <a:gd name="connsiteY185" fmla="*/ 993987 h 1092840"/>
                <a:gd name="connsiteX186" fmla="*/ 566818 w 1143000"/>
                <a:gd name="connsiteY186" fmla="*/ 1007135 h 1092840"/>
                <a:gd name="connsiteX187" fmla="*/ 579980 w 1143000"/>
                <a:gd name="connsiteY187" fmla="*/ 1011821 h 1092840"/>
                <a:gd name="connsiteX188" fmla="*/ 574594 w 1143000"/>
                <a:gd name="connsiteY188" fmla="*/ 993825 h 1092840"/>
                <a:gd name="connsiteX189" fmla="*/ 569523 w 1143000"/>
                <a:gd name="connsiteY189" fmla="*/ 975726 h 1092840"/>
                <a:gd name="connsiteX190" fmla="*/ 564756 w 1143000"/>
                <a:gd name="connsiteY190" fmla="*/ 957535 h 1092840"/>
                <a:gd name="connsiteX191" fmla="*/ 560308 w 1143000"/>
                <a:gd name="connsiteY191" fmla="*/ 939254 h 1092840"/>
                <a:gd name="connsiteX192" fmla="*/ 556170 w 1143000"/>
                <a:gd name="connsiteY192" fmla="*/ 920901 h 1092840"/>
                <a:gd name="connsiteX193" fmla="*/ 552351 w 1143000"/>
                <a:gd name="connsiteY193" fmla="*/ 902482 h 1092840"/>
                <a:gd name="connsiteX194" fmla="*/ 548842 w 1143000"/>
                <a:gd name="connsiteY194" fmla="*/ 884010 h 1092840"/>
                <a:gd name="connsiteX195" fmla="*/ 545656 w 1143000"/>
                <a:gd name="connsiteY195" fmla="*/ 865486 h 1092840"/>
                <a:gd name="connsiteX196" fmla="*/ 542784 w 1143000"/>
                <a:gd name="connsiteY196" fmla="*/ 846929 h 1092840"/>
                <a:gd name="connsiteX197" fmla="*/ 540237 w 1143000"/>
                <a:gd name="connsiteY197" fmla="*/ 828338 h 1092840"/>
                <a:gd name="connsiteX198" fmla="*/ 538008 w 1143000"/>
                <a:gd name="connsiteY198" fmla="*/ 809734 h 1092840"/>
                <a:gd name="connsiteX199" fmla="*/ 536103 w 1143000"/>
                <a:gd name="connsiteY199" fmla="*/ 791119 h 1092840"/>
                <a:gd name="connsiteX200" fmla="*/ 534523 w 1143000"/>
                <a:gd name="connsiteY200" fmla="*/ 772504 h 1092840"/>
                <a:gd name="connsiteX201" fmla="*/ 533265 w 1143000"/>
                <a:gd name="connsiteY201" fmla="*/ 753904 h 1092840"/>
                <a:gd name="connsiteX202" fmla="*/ 532337 w 1143000"/>
                <a:gd name="connsiteY202" fmla="*/ 735319 h 1092840"/>
                <a:gd name="connsiteX203" fmla="*/ 531737 w 1143000"/>
                <a:gd name="connsiteY203" fmla="*/ 716766 h 1092840"/>
                <a:gd name="connsiteX204" fmla="*/ 531461 w 1143000"/>
                <a:gd name="connsiteY204" fmla="*/ 698252 h 1092840"/>
                <a:gd name="connsiteX205" fmla="*/ 531518 w 1143000"/>
                <a:gd name="connsiteY205" fmla="*/ 679780 h 1092840"/>
                <a:gd name="connsiteX206" fmla="*/ 531908 w 1143000"/>
                <a:gd name="connsiteY206" fmla="*/ 661370 h 1092840"/>
                <a:gd name="connsiteX207" fmla="*/ 532627 w 1143000"/>
                <a:gd name="connsiteY207" fmla="*/ 643027 h 1092840"/>
                <a:gd name="connsiteX208" fmla="*/ 533680 w 1143000"/>
                <a:gd name="connsiteY208" fmla="*/ 624760 h 1092840"/>
                <a:gd name="connsiteX209" fmla="*/ 535070 w 1143000"/>
                <a:gd name="connsiteY209" fmla="*/ 606584 h 1092840"/>
                <a:gd name="connsiteX210" fmla="*/ 536799 w 1143000"/>
                <a:gd name="connsiteY210" fmla="*/ 588498 h 1092840"/>
                <a:gd name="connsiteX211" fmla="*/ 538861 w 1143000"/>
                <a:gd name="connsiteY211" fmla="*/ 570517 h 1092840"/>
                <a:gd name="connsiteX212" fmla="*/ 541260 w 1143000"/>
                <a:gd name="connsiteY212" fmla="*/ 552655 h 1092840"/>
                <a:gd name="connsiteX213" fmla="*/ 544004 w 1143000"/>
                <a:gd name="connsiteY213" fmla="*/ 534912 h 1092840"/>
                <a:gd name="connsiteX214" fmla="*/ 547089 w 1143000"/>
                <a:gd name="connsiteY214" fmla="*/ 517307 h 1092840"/>
                <a:gd name="connsiteX215" fmla="*/ 550518 w 1143000"/>
                <a:gd name="connsiteY215" fmla="*/ 499845 h 1092840"/>
                <a:gd name="connsiteX216" fmla="*/ 554285 w 1143000"/>
                <a:gd name="connsiteY216" fmla="*/ 482531 h 1092840"/>
                <a:gd name="connsiteX217" fmla="*/ 558404 w 1143000"/>
                <a:gd name="connsiteY217" fmla="*/ 465383 h 1092840"/>
                <a:gd name="connsiteX218" fmla="*/ 562865 w 1143000"/>
                <a:gd name="connsiteY218" fmla="*/ 448407 h 1092840"/>
                <a:gd name="connsiteX219" fmla="*/ 567675 w 1143000"/>
                <a:gd name="connsiteY219" fmla="*/ 431607 h 1092840"/>
                <a:gd name="connsiteX220" fmla="*/ 572832 w 1143000"/>
                <a:gd name="connsiteY220" fmla="*/ 415002 h 1092840"/>
                <a:gd name="connsiteX221" fmla="*/ 578342 w 1143000"/>
                <a:gd name="connsiteY221" fmla="*/ 398597 h 1092840"/>
                <a:gd name="connsiteX222" fmla="*/ 584204 w 1143000"/>
                <a:gd name="connsiteY222" fmla="*/ 382402 h 1092840"/>
                <a:gd name="connsiteX223" fmla="*/ 590413 w 1143000"/>
                <a:gd name="connsiteY223" fmla="*/ 366425 h 1092840"/>
                <a:gd name="connsiteX224" fmla="*/ 596980 w 1143000"/>
                <a:gd name="connsiteY224" fmla="*/ 350677 h 1092840"/>
                <a:gd name="connsiteX225" fmla="*/ 603904 w 1143000"/>
                <a:gd name="connsiteY225" fmla="*/ 335163 h 1092840"/>
                <a:gd name="connsiteX226" fmla="*/ 611180 w 1143000"/>
                <a:gd name="connsiteY226" fmla="*/ 319901 h 1092840"/>
                <a:gd name="connsiteX227" fmla="*/ 618818 w 1143000"/>
                <a:gd name="connsiteY227" fmla="*/ 304896 h 1092840"/>
                <a:gd name="connsiteX228" fmla="*/ 626814 w 1143000"/>
                <a:gd name="connsiteY228" fmla="*/ 290158 h 1092840"/>
                <a:gd name="connsiteX229" fmla="*/ 635171 w 1143000"/>
                <a:gd name="connsiteY229" fmla="*/ 275696 h 1092840"/>
                <a:gd name="connsiteX230" fmla="*/ 643885 w 1143000"/>
                <a:gd name="connsiteY230" fmla="*/ 261515 h 1092840"/>
                <a:gd name="connsiteX231" fmla="*/ 652966 w 1143000"/>
                <a:gd name="connsiteY231" fmla="*/ 247634 h 1092840"/>
                <a:gd name="connsiteX232" fmla="*/ 662409 w 1143000"/>
                <a:gd name="connsiteY232" fmla="*/ 234057 h 1092840"/>
                <a:gd name="connsiteX233" fmla="*/ 672219 w 1143000"/>
                <a:gd name="connsiteY233" fmla="*/ 220791 h 1092840"/>
                <a:gd name="connsiteX234" fmla="*/ 682390 w 1143000"/>
                <a:gd name="connsiteY234" fmla="*/ 207852 h 1092840"/>
                <a:gd name="connsiteX235" fmla="*/ 692933 w 1143000"/>
                <a:gd name="connsiteY235" fmla="*/ 195243 h 1092840"/>
                <a:gd name="connsiteX236" fmla="*/ 703847 w 1143000"/>
                <a:gd name="connsiteY236" fmla="*/ 182976 h 1092840"/>
                <a:gd name="connsiteX237" fmla="*/ 715129 w 1143000"/>
                <a:gd name="connsiteY237" fmla="*/ 171066 h 1092840"/>
                <a:gd name="connsiteX238" fmla="*/ 726781 w 1143000"/>
                <a:gd name="connsiteY238" fmla="*/ 159514 h 1092840"/>
                <a:gd name="connsiteX239" fmla="*/ 738810 w 1143000"/>
                <a:gd name="connsiteY239" fmla="*/ 148333 h 1092840"/>
                <a:gd name="connsiteX240" fmla="*/ 751210 w 1143000"/>
                <a:gd name="connsiteY240" fmla="*/ 137533 h 1092840"/>
                <a:gd name="connsiteX241" fmla="*/ 763986 w 1143000"/>
                <a:gd name="connsiteY241" fmla="*/ 127123 h 1092840"/>
                <a:gd name="connsiteX242" fmla="*/ 777133 w 1143000"/>
                <a:gd name="connsiteY242" fmla="*/ 117114 h 1092840"/>
                <a:gd name="connsiteX243" fmla="*/ 790667 w 1143000"/>
                <a:gd name="connsiteY243" fmla="*/ 107509 h 1092840"/>
                <a:gd name="connsiteX244" fmla="*/ 804572 w 1143000"/>
                <a:gd name="connsiteY244" fmla="*/ 98328 h 1092840"/>
                <a:gd name="connsiteX245" fmla="*/ 818863 w 1143000"/>
                <a:gd name="connsiteY245" fmla="*/ 89570 h 1092840"/>
                <a:gd name="connsiteX246" fmla="*/ 833534 w 1143000"/>
                <a:gd name="connsiteY246" fmla="*/ 81256 h 1092840"/>
                <a:gd name="connsiteX247" fmla="*/ 848587 w 1143000"/>
                <a:gd name="connsiteY247" fmla="*/ 73385 h 1092840"/>
                <a:gd name="connsiteX248" fmla="*/ 861587 w 1143000"/>
                <a:gd name="connsiteY248" fmla="*/ 67061 h 1092840"/>
                <a:gd name="connsiteX249" fmla="*/ 874863 w 1143000"/>
                <a:gd name="connsiteY249" fmla="*/ 60985 h 1092840"/>
                <a:gd name="connsiteX250" fmla="*/ 888406 w 1143000"/>
                <a:gd name="connsiteY250" fmla="*/ 55161 h 1092840"/>
                <a:gd name="connsiteX251" fmla="*/ 902211 w 1143000"/>
                <a:gd name="connsiteY251" fmla="*/ 49584 h 1092840"/>
                <a:gd name="connsiteX252" fmla="*/ 916268 w 1143000"/>
                <a:gd name="connsiteY252" fmla="*/ 44275 h 1092840"/>
                <a:gd name="connsiteX253" fmla="*/ 930568 w 1143000"/>
                <a:gd name="connsiteY253" fmla="*/ 39227 h 1092840"/>
                <a:gd name="connsiteX254" fmla="*/ 945102 w 1143000"/>
                <a:gd name="connsiteY254" fmla="*/ 34451 h 1092840"/>
                <a:gd name="connsiteX255" fmla="*/ 959859 w 1143000"/>
                <a:gd name="connsiteY255" fmla="*/ 29956 h 1092840"/>
                <a:gd name="connsiteX256" fmla="*/ 974826 w 1143000"/>
                <a:gd name="connsiteY256" fmla="*/ 25736 h 1092840"/>
                <a:gd name="connsiteX257" fmla="*/ 990002 w 1143000"/>
                <a:gd name="connsiteY257" fmla="*/ 21813 h 1092840"/>
                <a:gd name="connsiteX258" fmla="*/ 1005374 w 1143000"/>
                <a:gd name="connsiteY258" fmla="*/ 18179 h 1092840"/>
                <a:gd name="connsiteX259" fmla="*/ 1020930 w 1143000"/>
                <a:gd name="connsiteY259" fmla="*/ 14846 h 1092840"/>
                <a:gd name="connsiteX260" fmla="*/ 1036669 w 1143000"/>
                <a:gd name="connsiteY260" fmla="*/ 11817 h 1092840"/>
                <a:gd name="connsiteX261" fmla="*/ 1052569 w 1143000"/>
                <a:gd name="connsiteY261" fmla="*/ 9103 h 1092840"/>
                <a:gd name="connsiteX262" fmla="*/ 1068636 w 1143000"/>
                <a:gd name="connsiteY262" fmla="*/ 6703 h 1092840"/>
                <a:gd name="connsiteX263" fmla="*/ 1084850 w 1143000"/>
                <a:gd name="connsiteY263" fmla="*/ 4627 h 1092840"/>
                <a:gd name="connsiteX264" fmla="*/ 1101202 w 1143000"/>
                <a:gd name="connsiteY264" fmla="*/ 2875 h 1092840"/>
                <a:gd name="connsiteX265" fmla="*/ 1117688 w 1143000"/>
                <a:gd name="connsiteY265" fmla="*/ 1460 h 1092840"/>
                <a:gd name="connsiteX266" fmla="*/ 1134298 w 1143000"/>
                <a:gd name="connsiteY266" fmla="*/ 379 h 1092840"/>
                <a:gd name="connsiteX267" fmla="*/ 1143000 w 1143000"/>
                <a:gd name="connsiteY267" fmla="*/ 0 h 1092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143000" h="1092840">
                  <a:moveTo>
                    <a:pt x="1143000" y="0"/>
                  </a:moveTo>
                  <a:lnTo>
                    <a:pt x="1143000" y="99531"/>
                  </a:lnTo>
                  <a:lnTo>
                    <a:pt x="1131798" y="100952"/>
                  </a:lnTo>
                  <a:lnTo>
                    <a:pt x="1110140" y="104580"/>
                  </a:lnTo>
                  <a:lnTo>
                    <a:pt x="1089117" y="108980"/>
                  </a:lnTo>
                  <a:lnTo>
                    <a:pt x="1068712" y="114128"/>
                  </a:lnTo>
                  <a:lnTo>
                    <a:pt x="1048926" y="119990"/>
                  </a:lnTo>
                  <a:lnTo>
                    <a:pt x="1029745" y="126533"/>
                  </a:lnTo>
                  <a:lnTo>
                    <a:pt x="1011168" y="133733"/>
                  </a:lnTo>
                  <a:lnTo>
                    <a:pt x="993178" y="141561"/>
                  </a:lnTo>
                  <a:lnTo>
                    <a:pt x="975768" y="149980"/>
                  </a:lnTo>
                  <a:lnTo>
                    <a:pt x="958935" y="158966"/>
                  </a:lnTo>
                  <a:lnTo>
                    <a:pt x="942668" y="168485"/>
                  </a:lnTo>
                  <a:lnTo>
                    <a:pt x="926959" y="178514"/>
                  </a:lnTo>
                  <a:lnTo>
                    <a:pt x="911801" y="189019"/>
                  </a:lnTo>
                  <a:lnTo>
                    <a:pt x="897182" y="199971"/>
                  </a:lnTo>
                  <a:lnTo>
                    <a:pt x="883096" y="211338"/>
                  </a:lnTo>
                  <a:lnTo>
                    <a:pt x="869539" y="223095"/>
                  </a:lnTo>
                  <a:lnTo>
                    <a:pt x="856496" y="235205"/>
                  </a:lnTo>
                  <a:lnTo>
                    <a:pt x="843963" y="247648"/>
                  </a:lnTo>
                  <a:lnTo>
                    <a:pt x="831929" y="260386"/>
                  </a:lnTo>
                  <a:lnTo>
                    <a:pt x="820391" y="273391"/>
                  </a:lnTo>
                  <a:lnTo>
                    <a:pt x="809334" y="286639"/>
                  </a:lnTo>
                  <a:lnTo>
                    <a:pt x="798758" y="300091"/>
                  </a:lnTo>
                  <a:lnTo>
                    <a:pt x="788643" y="313725"/>
                  </a:lnTo>
                  <a:lnTo>
                    <a:pt x="778991" y="327511"/>
                  </a:lnTo>
                  <a:lnTo>
                    <a:pt x="769791" y="341415"/>
                  </a:lnTo>
                  <a:lnTo>
                    <a:pt x="761038" y="355406"/>
                  </a:lnTo>
                  <a:lnTo>
                    <a:pt x="752714" y="369458"/>
                  </a:lnTo>
                  <a:lnTo>
                    <a:pt x="744819" y="383544"/>
                  </a:lnTo>
                  <a:lnTo>
                    <a:pt x="737343" y="397630"/>
                  </a:lnTo>
                  <a:lnTo>
                    <a:pt x="730281" y="411688"/>
                  </a:lnTo>
                  <a:lnTo>
                    <a:pt x="723619" y="425683"/>
                  </a:lnTo>
                  <a:lnTo>
                    <a:pt x="717352" y="439592"/>
                  </a:lnTo>
                  <a:lnTo>
                    <a:pt x="711466" y="453388"/>
                  </a:lnTo>
                  <a:lnTo>
                    <a:pt x="705967" y="467031"/>
                  </a:lnTo>
                  <a:lnTo>
                    <a:pt x="700833" y="480498"/>
                  </a:lnTo>
                  <a:lnTo>
                    <a:pt x="691642" y="506779"/>
                  </a:lnTo>
                  <a:lnTo>
                    <a:pt x="683828" y="531998"/>
                  </a:lnTo>
                  <a:lnTo>
                    <a:pt x="677338" y="555908"/>
                  </a:lnTo>
                  <a:lnTo>
                    <a:pt x="672090" y="578279"/>
                  </a:lnTo>
                  <a:lnTo>
                    <a:pt x="668033" y="598870"/>
                  </a:lnTo>
                  <a:lnTo>
                    <a:pt x="665090" y="617446"/>
                  </a:lnTo>
                  <a:lnTo>
                    <a:pt x="662823" y="635299"/>
                  </a:lnTo>
                  <a:lnTo>
                    <a:pt x="660885" y="653561"/>
                  </a:lnTo>
                  <a:lnTo>
                    <a:pt x="659290" y="672180"/>
                  </a:lnTo>
                  <a:lnTo>
                    <a:pt x="658033" y="691113"/>
                  </a:lnTo>
                  <a:lnTo>
                    <a:pt x="657114" y="710313"/>
                  </a:lnTo>
                  <a:lnTo>
                    <a:pt x="656547" y="729728"/>
                  </a:lnTo>
                  <a:lnTo>
                    <a:pt x="656323" y="749314"/>
                  </a:lnTo>
                  <a:lnTo>
                    <a:pt x="656452" y="769024"/>
                  </a:lnTo>
                  <a:lnTo>
                    <a:pt x="656933" y="788809"/>
                  </a:lnTo>
                  <a:lnTo>
                    <a:pt x="657771" y="808624"/>
                  </a:lnTo>
                  <a:lnTo>
                    <a:pt x="658966" y="828419"/>
                  </a:lnTo>
                  <a:lnTo>
                    <a:pt x="660528" y="848153"/>
                  </a:lnTo>
                  <a:lnTo>
                    <a:pt x="662452" y="867767"/>
                  </a:lnTo>
                  <a:lnTo>
                    <a:pt x="664742" y="887225"/>
                  </a:lnTo>
                  <a:lnTo>
                    <a:pt x="667404" y="906473"/>
                  </a:lnTo>
                  <a:lnTo>
                    <a:pt x="670438" y="925463"/>
                  </a:lnTo>
                  <a:lnTo>
                    <a:pt x="673847" y="944154"/>
                  </a:lnTo>
                  <a:lnTo>
                    <a:pt x="677638" y="962497"/>
                  </a:lnTo>
                  <a:lnTo>
                    <a:pt x="681809" y="980440"/>
                  </a:lnTo>
                  <a:lnTo>
                    <a:pt x="686366" y="997940"/>
                  </a:lnTo>
                  <a:lnTo>
                    <a:pt x="691309" y="1014950"/>
                  </a:lnTo>
                  <a:lnTo>
                    <a:pt x="696638" y="1031421"/>
                  </a:lnTo>
                  <a:lnTo>
                    <a:pt x="702367" y="1047302"/>
                  </a:lnTo>
                  <a:lnTo>
                    <a:pt x="708486" y="1062554"/>
                  </a:lnTo>
                  <a:lnTo>
                    <a:pt x="715005" y="1077126"/>
                  </a:lnTo>
                  <a:lnTo>
                    <a:pt x="721924" y="1090969"/>
                  </a:lnTo>
                  <a:lnTo>
                    <a:pt x="706938" y="1092007"/>
                  </a:lnTo>
                  <a:lnTo>
                    <a:pt x="692000" y="1092636"/>
                  </a:lnTo>
                  <a:lnTo>
                    <a:pt x="677123" y="1092840"/>
                  </a:lnTo>
                  <a:lnTo>
                    <a:pt x="662328" y="1092621"/>
                  </a:lnTo>
                  <a:lnTo>
                    <a:pt x="647623" y="1091965"/>
                  </a:lnTo>
                  <a:lnTo>
                    <a:pt x="633023" y="1090860"/>
                  </a:lnTo>
                  <a:lnTo>
                    <a:pt x="618542" y="1089302"/>
                  </a:lnTo>
                  <a:lnTo>
                    <a:pt x="604195" y="1087284"/>
                  </a:lnTo>
                  <a:lnTo>
                    <a:pt x="589989" y="1084793"/>
                  </a:lnTo>
                  <a:lnTo>
                    <a:pt x="575951" y="1081826"/>
                  </a:lnTo>
                  <a:lnTo>
                    <a:pt x="548403" y="1074417"/>
                  </a:lnTo>
                  <a:lnTo>
                    <a:pt x="521665" y="1064988"/>
                  </a:lnTo>
                  <a:lnTo>
                    <a:pt x="495846" y="1053474"/>
                  </a:lnTo>
                  <a:lnTo>
                    <a:pt x="471055" y="1039812"/>
                  </a:lnTo>
                  <a:lnTo>
                    <a:pt x="447408" y="1023926"/>
                  </a:lnTo>
                  <a:lnTo>
                    <a:pt x="436041" y="1015130"/>
                  </a:lnTo>
                  <a:lnTo>
                    <a:pt x="425003" y="1005754"/>
                  </a:lnTo>
                  <a:lnTo>
                    <a:pt x="414307" y="995788"/>
                  </a:lnTo>
                  <a:lnTo>
                    <a:pt x="403964" y="985225"/>
                  </a:lnTo>
                  <a:lnTo>
                    <a:pt x="393988" y="974059"/>
                  </a:lnTo>
                  <a:lnTo>
                    <a:pt x="384398" y="962278"/>
                  </a:lnTo>
                  <a:lnTo>
                    <a:pt x="375198" y="949873"/>
                  </a:lnTo>
                  <a:lnTo>
                    <a:pt x="366407" y="936839"/>
                  </a:lnTo>
                  <a:lnTo>
                    <a:pt x="358045" y="923163"/>
                  </a:lnTo>
                  <a:lnTo>
                    <a:pt x="350112" y="908839"/>
                  </a:lnTo>
                  <a:lnTo>
                    <a:pt x="342636" y="893863"/>
                  </a:lnTo>
                  <a:lnTo>
                    <a:pt x="335621" y="878220"/>
                  </a:lnTo>
                  <a:lnTo>
                    <a:pt x="329088" y="861905"/>
                  </a:lnTo>
                  <a:lnTo>
                    <a:pt x="323045" y="844910"/>
                  </a:lnTo>
                  <a:lnTo>
                    <a:pt x="317507" y="827224"/>
                  </a:lnTo>
                  <a:lnTo>
                    <a:pt x="312493" y="808838"/>
                  </a:lnTo>
                  <a:lnTo>
                    <a:pt x="308007" y="789748"/>
                  </a:lnTo>
                  <a:lnTo>
                    <a:pt x="304073" y="769938"/>
                  </a:lnTo>
                  <a:lnTo>
                    <a:pt x="300697" y="749409"/>
                  </a:lnTo>
                  <a:lnTo>
                    <a:pt x="297902" y="728147"/>
                  </a:lnTo>
                  <a:lnTo>
                    <a:pt x="295687" y="706147"/>
                  </a:lnTo>
                  <a:lnTo>
                    <a:pt x="294083" y="683394"/>
                  </a:lnTo>
                  <a:lnTo>
                    <a:pt x="293092" y="659884"/>
                  </a:lnTo>
                  <a:lnTo>
                    <a:pt x="292731" y="635613"/>
                  </a:lnTo>
                  <a:lnTo>
                    <a:pt x="293016" y="610565"/>
                  </a:lnTo>
                  <a:lnTo>
                    <a:pt x="271916" y="609608"/>
                  </a:lnTo>
                  <a:lnTo>
                    <a:pt x="251459" y="607641"/>
                  </a:lnTo>
                  <a:lnTo>
                    <a:pt x="231649" y="604694"/>
                  </a:lnTo>
                  <a:lnTo>
                    <a:pt x="212506" y="600779"/>
                  </a:lnTo>
                  <a:lnTo>
                    <a:pt x="194020" y="595917"/>
                  </a:lnTo>
                  <a:lnTo>
                    <a:pt x="176210" y="590132"/>
                  </a:lnTo>
                  <a:lnTo>
                    <a:pt x="159082" y="583437"/>
                  </a:lnTo>
                  <a:lnTo>
                    <a:pt x="142634" y="575860"/>
                  </a:lnTo>
                  <a:lnTo>
                    <a:pt x="126877" y="567417"/>
                  </a:lnTo>
                  <a:lnTo>
                    <a:pt x="111820" y="558127"/>
                  </a:lnTo>
                  <a:lnTo>
                    <a:pt x="97462" y="548012"/>
                  </a:lnTo>
                  <a:lnTo>
                    <a:pt x="83820" y="537093"/>
                  </a:lnTo>
                  <a:lnTo>
                    <a:pt x="70896" y="525393"/>
                  </a:lnTo>
                  <a:lnTo>
                    <a:pt x="58696" y="512922"/>
                  </a:lnTo>
                  <a:lnTo>
                    <a:pt x="47224" y="499707"/>
                  </a:lnTo>
                  <a:lnTo>
                    <a:pt x="36491" y="485769"/>
                  </a:lnTo>
                  <a:lnTo>
                    <a:pt x="26500" y="471131"/>
                  </a:lnTo>
                  <a:lnTo>
                    <a:pt x="17262" y="455802"/>
                  </a:lnTo>
                  <a:lnTo>
                    <a:pt x="8781" y="439811"/>
                  </a:lnTo>
                  <a:lnTo>
                    <a:pt x="0" y="419692"/>
                  </a:lnTo>
                  <a:lnTo>
                    <a:pt x="500" y="417887"/>
                  </a:lnTo>
                  <a:lnTo>
                    <a:pt x="11771" y="429583"/>
                  </a:lnTo>
                  <a:lnTo>
                    <a:pt x="23705" y="440735"/>
                  </a:lnTo>
                  <a:lnTo>
                    <a:pt x="36276" y="451340"/>
                  </a:lnTo>
                  <a:lnTo>
                    <a:pt x="49453" y="461373"/>
                  </a:lnTo>
                  <a:lnTo>
                    <a:pt x="63215" y="470831"/>
                  </a:lnTo>
                  <a:lnTo>
                    <a:pt x="77524" y="479693"/>
                  </a:lnTo>
                  <a:lnTo>
                    <a:pt x="92367" y="487945"/>
                  </a:lnTo>
                  <a:lnTo>
                    <a:pt x="107705" y="495579"/>
                  </a:lnTo>
                  <a:lnTo>
                    <a:pt x="123515" y="502579"/>
                  </a:lnTo>
                  <a:lnTo>
                    <a:pt x="139767" y="508931"/>
                  </a:lnTo>
                  <a:lnTo>
                    <a:pt x="156439" y="514622"/>
                  </a:lnTo>
                  <a:lnTo>
                    <a:pt x="173496" y="519636"/>
                  </a:lnTo>
                  <a:lnTo>
                    <a:pt x="190915" y="523964"/>
                  </a:lnTo>
                  <a:lnTo>
                    <a:pt x="208673" y="527593"/>
                  </a:lnTo>
                  <a:lnTo>
                    <a:pt x="226730" y="530502"/>
                  </a:lnTo>
                  <a:lnTo>
                    <a:pt x="245073" y="532688"/>
                  </a:lnTo>
                  <a:lnTo>
                    <a:pt x="263664" y="534131"/>
                  </a:lnTo>
                  <a:lnTo>
                    <a:pt x="282478" y="534817"/>
                  </a:lnTo>
                  <a:lnTo>
                    <a:pt x="301488" y="534736"/>
                  </a:lnTo>
                  <a:lnTo>
                    <a:pt x="320669" y="533869"/>
                  </a:lnTo>
                  <a:lnTo>
                    <a:pt x="339993" y="532212"/>
                  </a:lnTo>
                  <a:lnTo>
                    <a:pt x="359431" y="529741"/>
                  </a:lnTo>
                  <a:lnTo>
                    <a:pt x="378955" y="526450"/>
                  </a:lnTo>
                  <a:lnTo>
                    <a:pt x="409093" y="519712"/>
                  </a:lnTo>
                  <a:lnTo>
                    <a:pt x="429822" y="513912"/>
                  </a:lnTo>
                  <a:lnTo>
                    <a:pt x="439988" y="510722"/>
                  </a:lnTo>
                  <a:lnTo>
                    <a:pt x="433941" y="526388"/>
                  </a:lnTo>
                  <a:lnTo>
                    <a:pt x="428622" y="542650"/>
                  </a:lnTo>
                  <a:lnTo>
                    <a:pt x="424026" y="559446"/>
                  </a:lnTo>
                  <a:lnTo>
                    <a:pt x="420136" y="576722"/>
                  </a:lnTo>
                  <a:lnTo>
                    <a:pt x="416955" y="594408"/>
                  </a:lnTo>
                  <a:lnTo>
                    <a:pt x="414469" y="612451"/>
                  </a:lnTo>
                  <a:lnTo>
                    <a:pt x="412669" y="630785"/>
                  </a:lnTo>
                  <a:lnTo>
                    <a:pt x="411545" y="649351"/>
                  </a:lnTo>
                  <a:lnTo>
                    <a:pt x="411098" y="668089"/>
                  </a:lnTo>
                  <a:lnTo>
                    <a:pt x="411307" y="686942"/>
                  </a:lnTo>
                  <a:lnTo>
                    <a:pt x="412174" y="705842"/>
                  </a:lnTo>
                  <a:lnTo>
                    <a:pt x="413688" y="724733"/>
                  </a:lnTo>
                  <a:lnTo>
                    <a:pt x="415836" y="743557"/>
                  </a:lnTo>
                  <a:lnTo>
                    <a:pt x="418617" y="762243"/>
                  </a:lnTo>
                  <a:lnTo>
                    <a:pt x="422017" y="780743"/>
                  </a:lnTo>
                  <a:lnTo>
                    <a:pt x="426026" y="798986"/>
                  </a:lnTo>
                  <a:lnTo>
                    <a:pt x="430646" y="816919"/>
                  </a:lnTo>
                  <a:lnTo>
                    <a:pt x="435860" y="834481"/>
                  </a:lnTo>
                  <a:lnTo>
                    <a:pt x="441660" y="851605"/>
                  </a:lnTo>
                  <a:lnTo>
                    <a:pt x="448041" y="868234"/>
                  </a:lnTo>
                  <a:lnTo>
                    <a:pt x="454993" y="884310"/>
                  </a:lnTo>
                  <a:lnTo>
                    <a:pt x="462508" y="899768"/>
                  </a:lnTo>
                  <a:lnTo>
                    <a:pt x="470579" y="914549"/>
                  </a:lnTo>
                  <a:lnTo>
                    <a:pt x="479194" y="928597"/>
                  </a:lnTo>
                  <a:lnTo>
                    <a:pt x="488351" y="941839"/>
                  </a:lnTo>
                  <a:lnTo>
                    <a:pt x="498036" y="954230"/>
                  </a:lnTo>
                  <a:lnTo>
                    <a:pt x="508242" y="965697"/>
                  </a:lnTo>
                  <a:lnTo>
                    <a:pt x="518965" y="976187"/>
                  </a:lnTo>
                  <a:lnTo>
                    <a:pt x="530189" y="985640"/>
                  </a:lnTo>
                  <a:lnTo>
                    <a:pt x="541913" y="993987"/>
                  </a:lnTo>
                  <a:lnTo>
                    <a:pt x="566818" y="1007135"/>
                  </a:lnTo>
                  <a:lnTo>
                    <a:pt x="579980" y="1011821"/>
                  </a:lnTo>
                  <a:lnTo>
                    <a:pt x="574594" y="993825"/>
                  </a:lnTo>
                  <a:lnTo>
                    <a:pt x="569523" y="975726"/>
                  </a:lnTo>
                  <a:lnTo>
                    <a:pt x="564756" y="957535"/>
                  </a:lnTo>
                  <a:lnTo>
                    <a:pt x="560308" y="939254"/>
                  </a:lnTo>
                  <a:lnTo>
                    <a:pt x="556170" y="920901"/>
                  </a:lnTo>
                  <a:lnTo>
                    <a:pt x="552351" y="902482"/>
                  </a:lnTo>
                  <a:lnTo>
                    <a:pt x="548842" y="884010"/>
                  </a:lnTo>
                  <a:lnTo>
                    <a:pt x="545656" y="865486"/>
                  </a:lnTo>
                  <a:lnTo>
                    <a:pt x="542784" y="846929"/>
                  </a:lnTo>
                  <a:lnTo>
                    <a:pt x="540237" y="828338"/>
                  </a:lnTo>
                  <a:lnTo>
                    <a:pt x="538008" y="809734"/>
                  </a:lnTo>
                  <a:lnTo>
                    <a:pt x="536103" y="791119"/>
                  </a:lnTo>
                  <a:lnTo>
                    <a:pt x="534523" y="772504"/>
                  </a:lnTo>
                  <a:lnTo>
                    <a:pt x="533265" y="753904"/>
                  </a:lnTo>
                  <a:lnTo>
                    <a:pt x="532337" y="735319"/>
                  </a:lnTo>
                  <a:lnTo>
                    <a:pt x="531737" y="716766"/>
                  </a:lnTo>
                  <a:lnTo>
                    <a:pt x="531461" y="698252"/>
                  </a:lnTo>
                  <a:lnTo>
                    <a:pt x="531518" y="679780"/>
                  </a:lnTo>
                  <a:lnTo>
                    <a:pt x="531908" y="661370"/>
                  </a:lnTo>
                  <a:lnTo>
                    <a:pt x="532627" y="643027"/>
                  </a:lnTo>
                  <a:lnTo>
                    <a:pt x="533680" y="624760"/>
                  </a:lnTo>
                  <a:lnTo>
                    <a:pt x="535070" y="606584"/>
                  </a:lnTo>
                  <a:lnTo>
                    <a:pt x="536799" y="588498"/>
                  </a:lnTo>
                  <a:lnTo>
                    <a:pt x="538861" y="570517"/>
                  </a:lnTo>
                  <a:lnTo>
                    <a:pt x="541260" y="552655"/>
                  </a:lnTo>
                  <a:lnTo>
                    <a:pt x="544004" y="534912"/>
                  </a:lnTo>
                  <a:lnTo>
                    <a:pt x="547089" y="517307"/>
                  </a:lnTo>
                  <a:lnTo>
                    <a:pt x="550518" y="499845"/>
                  </a:lnTo>
                  <a:lnTo>
                    <a:pt x="554285" y="482531"/>
                  </a:lnTo>
                  <a:lnTo>
                    <a:pt x="558404" y="465383"/>
                  </a:lnTo>
                  <a:lnTo>
                    <a:pt x="562865" y="448407"/>
                  </a:lnTo>
                  <a:lnTo>
                    <a:pt x="567675" y="431607"/>
                  </a:lnTo>
                  <a:lnTo>
                    <a:pt x="572832" y="415002"/>
                  </a:lnTo>
                  <a:lnTo>
                    <a:pt x="578342" y="398597"/>
                  </a:lnTo>
                  <a:lnTo>
                    <a:pt x="584204" y="382402"/>
                  </a:lnTo>
                  <a:lnTo>
                    <a:pt x="590413" y="366425"/>
                  </a:lnTo>
                  <a:lnTo>
                    <a:pt x="596980" y="350677"/>
                  </a:lnTo>
                  <a:lnTo>
                    <a:pt x="603904" y="335163"/>
                  </a:lnTo>
                  <a:lnTo>
                    <a:pt x="611180" y="319901"/>
                  </a:lnTo>
                  <a:lnTo>
                    <a:pt x="618818" y="304896"/>
                  </a:lnTo>
                  <a:lnTo>
                    <a:pt x="626814" y="290158"/>
                  </a:lnTo>
                  <a:lnTo>
                    <a:pt x="635171" y="275696"/>
                  </a:lnTo>
                  <a:lnTo>
                    <a:pt x="643885" y="261515"/>
                  </a:lnTo>
                  <a:lnTo>
                    <a:pt x="652966" y="247634"/>
                  </a:lnTo>
                  <a:lnTo>
                    <a:pt x="662409" y="234057"/>
                  </a:lnTo>
                  <a:lnTo>
                    <a:pt x="672219" y="220791"/>
                  </a:lnTo>
                  <a:lnTo>
                    <a:pt x="682390" y="207852"/>
                  </a:lnTo>
                  <a:lnTo>
                    <a:pt x="692933" y="195243"/>
                  </a:lnTo>
                  <a:lnTo>
                    <a:pt x="703847" y="182976"/>
                  </a:lnTo>
                  <a:lnTo>
                    <a:pt x="715129" y="171066"/>
                  </a:lnTo>
                  <a:lnTo>
                    <a:pt x="726781" y="159514"/>
                  </a:lnTo>
                  <a:lnTo>
                    <a:pt x="738810" y="148333"/>
                  </a:lnTo>
                  <a:lnTo>
                    <a:pt x="751210" y="137533"/>
                  </a:lnTo>
                  <a:lnTo>
                    <a:pt x="763986" y="127123"/>
                  </a:lnTo>
                  <a:lnTo>
                    <a:pt x="777133" y="117114"/>
                  </a:lnTo>
                  <a:lnTo>
                    <a:pt x="790667" y="107509"/>
                  </a:lnTo>
                  <a:lnTo>
                    <a:pt x="804572" y="98328"/>
                  </a:lnTo>
                  <a:lnTo>
                    <a:pt x="818863" y="89570"/>
                  </a:lnTo>
                  <a:lnTo>
                    <a:pt x="833534" y="81256"/>
                  </a:lnTo>
                  <a:lnTo>
                    <a:pt x="848587" y="73385"/>
                  </a:lnTo>
                  <a:lnTo>
                    <a:pt x="861587" y="67061"/>
                  </a:lnTo>
                  <a:lnTo>
                    <a:pt x="874863" y="60985"/>
                  </a:lnTo>
                  <a:lnTo>
                    <a:pt x="888406" y="55161"/>
                  </a:lnTo>
                  <a:lnTo>
                    <a:pt x="902211" y="49584"/>
                  </a:lnTo>
                  <a:lnTo>
                    <a:pt x="916268" y="44275"/>
                  </a:lnTo>
                  <a:lnTo>
                    <a:pt x="930568" y="39227"/>
                  </a:lnTo>
                  <a:lnTo>
                    <a:pt x="945102" y="34451"/>
                  </a:lnTo>
                  <a:lnTo>
                    <a:pt x="959859" y="29956"/>
                  </a:lnTo>
                  <a:lnTo>
                    <a:pt x="974826" y="25736"/>
                  </a:lnTo>
                  <a:lnTo>
                    <a:pt x="990002" y="21813"/>
                  </a:lnTo>
                  <a:lnTo>
                    <a:pt x="1005374" y="18179"/>
                  </a:lnTo>
                  <a:lnTo>
                    <a:pt x="1020930" y="14846"/>
                  </a:lnTo>
                  <a:lnTo>
                    <a:pt x="1036669" y="11817"/>
                  </a:lnTo>
                  <a:lnTo>
                    <a:pt x="1052569" y="9103"/>
                  </a:lnTo>
                  <a:lnTo>
                    <a:pt x="1068636" y="6703"/>
                  </a:lnTo>
                  <a:lnTo>
                    <a:pt x="1084850" y="4627"/>
                  </a:lnTo>
                  <a:lnTo>
                    <a:pt x="1101202" y="2875"/>
                  </a:lnTo>
                  <a:lnTo>
                    <a:pt x="1117688" y="1460"/>
                  </a:lnTo>
                  <a:lnTo>
                    <a:pt x="1134298" y="379"/>
                  </a:lnTo>
                  <a:lnTo>
                    <a:pt x="1143000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013073C-E6AA-D014-8C72-B6D9DA83815C}"/>
                </a:ext>
              </a:extLst>
            </p:cNvPr>
            <p:cNvSpPr/>
            <p:nvPr userDrawn="1"/>
          </p:nvSpPr>
          <p:spPr>
            <a:xfrm>
              <a:off x="11900272" y="5542060"/>
              <a:ext cx="291728" cy="787651"/>
            </a:xfrm>
            <a:custGeom>
              <a:avLst/>
              <a:gdLst>
                <a:gd name="connsiteX0" fmla="*/ 291728 w 291728"/>
                <a:gd name="connsiteY0" fmla="*/ 0 h 787651"/>
                <a:gd name="connsiteX1" fmla="*/ 291728 w 291728"/>
                <a:gd name="connsiteY1" fmla="*/ 79686 h 787651"/>
                <a:gd name="connsiteX2" fmla="*/ 280245 w 291728"/>
                <a:gd name="connsiteY2" fmla="*/ 87145 h 787651"/>
                <a:gd name="connsiteX3" fmla="*/ 267707 w 291728"/>
                <a:gd name="connsiteY3" fmla="*/ 96031 h 787651"/>
                <a:gd name="connsiteX4" fmla="*/ 255540 w 291728"/>
                <a:gd name="connsiteY4" fmla="*/ 105422 h 787651"/>
                <a:gd name="connsiteX5" fmla="*/ 243754 w 291728"/>
                <a:gd name="connsiteY5" fmla="*/ 115322 h 787651"/>
                <a:gd name="connsiteX6" fmla="*/ 232388 w 291728"/>
                <a:gd name="connsiteY6" fmla="*/ 125712 h 787651"/>
                <a:gd name="connsiteX7" fmla="*/ 221450 w 291728"/>
                <a:gd name="connsiteY7" fmla="*/ 136598 h 787651"/>
                <a:gd name="connsiteX8" fmla="*/ 210968 w 291728"/>
                <a:gd name="connsiteY8" fmla="*/ 147970 h 787651"/>
                <a:gd name="connsiteX9" fmla="*/ 200968 w 291728"/>
                <a:gd name="connsiteY9" fmla="*/ 159822 h 787651"/>
                <a:gd name="connsiteX10" fmla="*/ 191468 w 291728"/>
                <a:gd name="connsiteY10" fmla="*/ 172151 h 787651"/>
                <a:gd name="connsiteX11" fmla="*/ 182497 w 291728"/>
                <a:gd name="connsiteY11" fmla="*/ 184946 h 787651"/>
                <a:gd name="connsiteX12" fmla="*/ 174068 w 291728"/>
                <a:gd name="connsiteY12" fmla="*/ 198208 h 787651"/>
                <a:gd name="connsiteX13" fmla="*/ 166206 w 291728"/>
                <a:gd name="connsiteY13" fmla="*/ 211928 h 787651"/>
                <a:gd name="connsiteX14" fmla="*/ 158940 w 291728"/>
                <a:gd name="connsiteY14" fmla="*/ 226099 h 787651"/>
                <a:gd name="connsiteX15" fmla="*/ 152282 w 291728"/>
                <a:gd name="connsiteY15" fmla="*/ 240713 h 787651"/>
                <a:gd name="connsiteX16" fmla="*/ 146268 w 291728"/>
                <a:gd name="connsiteY16" fmla="*/ 255775 h 787651"/>
                <a:gd name="connsiteX17" fmla="*/ 140906 w 291728"/>
                <a:gd name="connsiteY17" fmla="*/ 271271 h 787651"/>
                <a:gd name="connsiteX18" fmla="*/ 136230 w 291728"/>
                <a:gd name="connsiteY18" fmla="*/ 287195 h 787651"/>
                <a:gd name="connsiteX19" fmla="*/ 132258 w 291728"/>
                <a:gd name="connsiteY19" fmla="*/ 303547 h 787651"/>
                <a:gd name="connsiteX20" fmla="*/ 129011 w 291728"/>
                <a:gd name="connsiteY20" fmla="*/ 320314 h 787651"/>
                <a:gd name="connsiteX21" fmla="*/ 126515 w 291728"/>
                <a:gd name="connsiteY21" fmla="*/ 337495 h 787651"/>
                <a:gd name="connsiteX22" fmla="*/ 124787 w 291728"/>
                <a:gd name="connsiteY22" fmla="*/ 355086 h 787651"/>
                <a:gd name="connsiteX23" fmla="*/ 123853 w 291728"/>
                <a:gd name="connsiteY23" fmla="*/ 373081 h 787651"/>
                <a:gd name="connsiteX24" fmla="*/ 123739 w 291728"/>
                <a:gd name="connsiteY24" fmla="*/ 391467 h 787651"/>
                <a:gd name="connsiteX25" fmla="*/ 124463 w 291728"/>
                <a:gd name="connsiteY25" fmla="*/ 410248 h 787651"/>
                <a:gd name="connsiteX26" fmla="*/ 126049 w 291728"/>
                <a:gd name="connsiteY26" fmla="*/ 429415 h 787651"/>
                <a:gd name="connsiteX27" fmla="*/ 128515 w 291728"/>
                <a:gd name="connsiteY27" fmla="*/ 448963 h 787651"/>
                <a:gd name="connsiteX28" fmla="*/ 131892 w 291728"/>
                <a:gd name="connsiteY28" fmla="*/ 468882 h 787651"/>
                <a:gd name="connsiteX29" fmla="*/ 153078 w 291728"/>
                <a:gd name="connsiteY29" fmla="*/ 570835 h 787651"/>
                <a:gd name="connsiteX30" fmla="*/ 178054 w 291728"/>
                <a:gd name="connsiteY30" fmla="*/ 634326 h 787651"/>
                <a:gd name="connsiteX31" fmla="*/ 222940 w 291728"/>
                <a:gd name="connsiteY31" fmla="*/ 685903 h 787651"/>
                <a:gd name="connsiteX32" fmla="*/ 291728 w 291728"/>
                <a:gd name="connsiteY32" fmla="*/ 751682 h 787651"/>
                <a:gd name="connsiteX33" fmla="*/ 291728 w 291728"/>
                <a:gd name="connsiteY33" fmla="*/ 758691 h 787651"/>
                <a:gd name="connsiteX34" fmla="*/ 277964 w 291728"/>
                <a:gd name="connsiteY34" fmla="*/ 765694 h 787651"/>
                <a:gd name="connsiteX35" fmla="*/ 253416 w 291728"/>
                <a:gd name="connsiteY35" fmla="*/ 775994 h 787651"/>
                <a:gd name="connsiteX36" fmla="*/ 228083 w 291728"/>
                <a:gd name="connsiteY36" fmla="*/ 782704 h 787651"/>
                <a:gd name="connsiteX37" fmla="*/ 202111 w 291728"/>
                <a:gd name="connsiteY37" fmla="*/ 786389 h 787651"/>
                <a:gd name="connsiteX38" fmla="*/ 186368 w 291728"/>
                <a:gd name="connsiteY38" fmla="*/ 787651 h 787651"/>
                <a:gd name="connsiteX39" fmla="*/ 174487 w 291728"/>
                <a:gd name="connsiteY39" fmla="*/ 786518 h 787651"/>
                <a:gd name="connsiteX40" fmla="*/ 160082 w 291728"/>
                <a:gd name="connsiteY40" fmla="*/ 783013 h 787651"/>
                <a:gd name="connsiteX41" fmla="*/ 149001 w 291728"/>
                <a:gd name="connsiteY41" fmla="*/ 771023 h 787651"/>
                <a:gd name="connsiteX42" fmla="*/ 131082 w 291728"/>
                <a:gd name="connsiteY42" fmla="*/ 750798 h 787651"/>
                <a:gd name="connsiteX43" fmla="*/ 119772 w 291728"/>
                <a:gd name="connsiteY43" fmla="*/ 736813 h 787651"/>
                <a:gd name="connsiteX44" fmla="*/ 108930 w 291728"/>
                <a:gd name="connsiteY44" fmla="*/ 722574 h 787651"/>
                <a:gd name="connsiteX45" fmla="*/ 98553 w 291728"/>
                <a:gd name="connsiteY45" fmla="*/ 708098 h 787651"/>
                <a:gd name="connsiteX46" fmla="*/ 88653 w 291728"/>
                <a:gd name="connsiteY46" fmla="*/ 693393 h 787651"/>
                <a:gd name="connsiteX47" fmla="*/ 79234 w 291728"/>
                <a:gd name="connsiteY47" fmla="*/ 678474 h 787651"/>
                <a:gd name="connsiteX48" fmla="*/ 70306 w 291728"/>
                <a:gd name="connsiteY48" fmla="*/ 663350 h 787651"/>
                <a:gd name="connsiteX49" fmla="*/ 61877 w 291728"/>
                <a:gd name="connsiteY49" fmla="*/ 648045 h 787651"/>
                <a:gd name="connsiteX50" fmla="*/ 53953 w 291728"/>
                <a:gd name="connsiteY50" fmla="*/ 632564 h 787651"/>
                <a:gd name="connsiteX51" fmla="*/ 46539 w 291728"/>
                <a:gd name="connsiteY51" fmla="*/ 616926 h 787651"/>
                <a:gd name="connsiteX52" fmla="*/ 39643 w 291728"/>
                <a:gd name="connsiteY52" fmla="*/ 601140 h 787651"/>
                <a:gd name="connsiteX53" fmla="*/ 33272 w 291728"/>
                <a:gd name="connsiteY53" fmla="*/ 585221 h 787651"/>
                <a:gd name="connsiteX54" fmla="*/ 27438 w 291728"/>
                <a:gd name="connsiteY54" fmla="*/ 569183 h 787651"/>
                <a:gd name="connsiteX55" fmla="*/ 22143 w 291728"/>
                <a:gd name="connsiteY55" fmla="*/ 553040 h 787651"/>
                <a:gd name="connsiteX56" fmla="*/ 17396 w 291728"/>
                <a:gd name="connsiteY56" fmla="*/ 536806 h 787651"/>
                <a:gd name="connsiteX57" fmla="*/ 13205 w 291728"/>
                <a:gd name="connsiteY57" fmla="*/ 520497 h 787651"/>
                <a:gd name="connsiteX58" fmla="*/ 9572 w 291728"/>
                <a:gd name="connsiteY58" fmla="*/ 504120 h 787651"/>
                <a:gd name="connsiteX59" fmla="*/ 6514 w 291728"/>
                <a:gd name="connsiteY59" fmla="*/ 487692 h 787651"/>
                <a:gd name="connsiteX60" fmla="*/ 4029 w 291728"/>
                <a:gd name="connsiteY60" fmla="*/ 471225 h 787651"/>
                <a:gd name="connsiteX61" fmla="*/ 2129 w 291728"/>
                <a:gd name="connsiteY61" fmla="*/ 454734 h 787651"/>
                <a:gd name="connsiteX62" fmla="*/ 819 w 291728"/>
                <a:gd name="connsiteY62" fmla="*/ 438234 h 787651"/>
                <a:gd name="connsiteX63" fmla="*/ 105 w 291728"/>
                <a:gd name="connsiteY63" fmla="*/ 421739 h 787651"/>
                <a:gd name="connsiteX64" fmla="*/ 0 w 291728"/>
                <a:gd name="connsiteY64" fmla="*/ 405258 h 787651"/>
                <a:gd name="connsiteX65" fmla="*/ 505 w 291728"/>
                <a:gd name="connsiteY65" fmla="*/ 388810 h 787651"/>
                <a:gd name="connsiteX66" fmla="*/ 1634 w 291728"/>
                <a:gd name="connsiteY66" fmla="*/ 372405 h 787651"/>
                <a:gd name="connsiteX67" fmla="*/ 3386 w 291728"/>
                <a:gd name="connsiteY67" fmla="*/ 356057 h 787651"/>
                <a:gd name="connsiteX68" fmla="*/ 5772 w 291728"/>
                <a:gd name="connsiteY68" fmla="*/ 339781 h 787651"/>
                <a:gd name="connsiteX69" fmla="*/ 8800 w 291728"/>
                <a:gd name="connsiteY69" fmla="*/ 323585 h 787651"/>
                <a:gd name="connsiteX70" fmla="*/ 12477 w 291728"/>
                <a:gd name="connsiteY70" fmla="*/ 307495 h 787651"/>
                <a:gd name="connsiteX71" fmla="*/ 16810 w 291728"/>
                <a:gd name="connsiteY71" fmla="*/ 291514 h 787651"/>
                <a:gd name="connsiteX72" fmla="*/ 21805 w 291728"/>
                <a:gd name="connsiteY72" fmla="*/ 275657 h 787651"/>
                <a:gd name="connsiteX73" fmla="*/ 27467 w 291728"/>
                <a:gd name="connsiteY73" fmla="*/ 259937 h 787651"/>
                <a:gd name="connsiteX74" fmla="*/ 33810 w 291728"/>
                <a:gd name="connsiteY74" fmla="*/ 244371 h 787651"/>
                <a:gd name="connsiteX75" fmla="*/ 40839 w 291728"/>
                <a:gd name="connsiteY75" fmla="*/ 228975 h 787651"/>
                <a:gd name="connsiteX76" fmla="*/ 48558 w 291728"/>
                <a:gd name="connsiteY76" fmla="*/ 213751 h 787651"/>
                <a:gd name="connsiteX77" fmla="*/ 56972 w 291728"/>
                <a:gd name="connsiteY77" fmla="*/ 198727 h 787651"/>
                <a:gd name="connsiteX78" fmla="*/ 66096 w 291728"/>
                <a:gd name="connsiteY78" fmla="*/ 183908 h 787651"/>
                <a:gd name="connsiteX79" fmla="*/ 75934 w 291728"/>
                <a:gd name="connsiteY79" fmla="*/ 169308 h 787651"/>
                <a:gd name="connsiteX80" fmla="*/ 86491 w 291728"/>
                <a:gd name="connsiteY80" fmla="*/ 154941 h 787651"/>
                <a:gd name="connsiteX81" fmla="*/ 97772 w 291728"/>
                <a:gd name="connsiteY81" fmla="*/ 140827 h 787651"/>
                <a:gd name="connsiteX82" fmla="*/ 109792 w 291728"/>
                <a:gd name="connsiteY82" fmla="*/ 126970 h 787651"/>
                <a:gd name="connsiteX83" fmla="*/ 122554 w 291728"/>
                <a:gd name="connsiteY83" fmla="*/ 113388 h 787651"/>
                <a:gd name="connsiteX84" fmla="*/ 136063 w 291728"/>
                <a:gd name="connsiteY84" fmla="*/ 100093 h 787651"/>
                <a:gd name="connsiteX85" fmla="*/ 150330 w 291728"/>
                <a:gd name="connsiteY85" fmla="*/ 87102 h 787651"/>
                <a:gd name="connsiteX86" fmla="*/ 165363 w 291728"/>
                <a:gd name="connsiteY86" fmla="*/ 74426 h 787651"/>
                <a:gd name="connsiteX87" fmla="*/ 176763 w 291728"/>
                <a:gd name="connsiteY87" fmla="*/ 65460 h 787651"/>
                <a:gd name="connsiteX88" fmla="*/ 188754 w 291728"/>
                <a:gd name="connsiteY88" fmla="*/ 56621 h 787651"/>
                <a:gd name="connsiteX89" fmla="*/ 201321 w 291728"/>
                <a:gd name="connsiteY89" fmla="*/ 47950 h 787651"/>
                <a:gd name="connsiteX90" fmla="*/ 214450 w 291728"/>
                <a:gd name="connsiteY90" fmla="*/ 39478 h 787651"/>
                <a:gd name="connsiteX91" fmla="*/ 228135 w 291728"/>
                <a:gd name="connsiteY91" fmla="*/ 31245 h 787651"/>
                <a:gd name="connsiteX92" fmla="*/ 242354 w 291728"/>
                <a:gd name="connsiteY92" fmla="*/ 23288 h 787651"/>
                <a:gd name="connsiteX93" fmla="*/ 257097 w 291728"/>
                <a:gd name="connsiteY93" fmla="*/ 15645 h 787651"/>
                <a:gd name="connsiteX94" fmla="*/ 272350 w 291728"/>
                <a:gd name="connsiteY94" fmla="*/ 8350 h 787651"/>
                <a:gd name="connsiteX95" fmla="*/ 288107 w 291728"/>
                <a:gd name="connsiteY95" fmla="*/ 1445 h 787651"/>
                <a:gd name="connsiteX96" fmla="*/ 291728 w 291728"/>
                <a:gd name="connsiteY96" fmla="*/ 0 h 787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291728" h="787651">
                  <a:moveTo>
                    <a:pt x="291728" y="0"/>
                  </a:moveTo>
                  <a:lnTo>
                    <a:pt x="291728" y="79686"/>
                  </a:lnTo>
                  <a:lnTo>
                    <a:pt x="280245" y="87145"/>
                  </a:lnTo>
                  <a:lnTo>
                    <a:pt x="267707" y="96031"/>
                  </a:lnTo>
                  <a:lnTo>
                    <a:pt x="255540" y="105422"/>
                  </a:lnTo>
                  <a:lnTo>
                    <a:pt x="243754" y="115322"/>
                  </a:lnTo>
                  <a:lnTo>
                    <a:pt x="232388" y="125712"/>
                  </a:lnTo>
                  <a:lnTo>
                    <a:pt x="221450" y="136598"/>
                  </a:lnTo>
                  <a:lnTo>
                    <a:pt x="210968" y="147970"/>
                  </a:lnTo>
                  <a:lnTo>
                    <a:pt x="200968" y="159822"/>
                  </a:lnTo>
                  <a:lnTo>
                    <a:pt x="191468" y="172151"/>
                  </a:lnTo>
                  <a:lnTo>
                    <a:pt x="182497" y="184946"/>
                  </a:lnTo>
                  <a:lnTo>
                    <a:pt x="174068" y="198208"/>
                  </a:lnTo>
                  <a:lnTo>
                    <a:pt x="166206" y="211928"/>
                  </a:lnTo>
                  <a:lnTo>
                    <a:pt x="158940" y="226099"/>
                  </a:lnTo>
                  <a:lnTo>
                    <a:pt x="152282" y="240713"/>
                  </a:lnTo>
                  <a:lnTo>
                    <a:pt x="146268" y="255775"/>
                  </a:lnTo>
                  <a:lnTo>
                    <a:pt x="140906" y="271271"/>
                  </a:lnTo>
                  <a:lnTo>
                    <a:pt x="136230" y="287195"/>
                  </a:lnTo>
                  <a:lnTo>
                    <a:pt x="132258" y="303547"/>
                  </a:lnTo>
                  <a:lnTo>
                    <a:pt x="129011" y="320314"/>
                  </a:lnTo>
                  <a:lnTo>
                    <a:pt x="126515" y="337495"/>
                  </a:lnTo>
                  <a:lnTo>
                    <a:pt x="124787" y="355086"/>
                  </a:lnTo>
                  <a:lnTo>
                    <a:pt x="123853" y="373081"/>
                  </a:lnTo>
                  <a:lnTo>
                    <a:pt x="123739" y="391467"/>
                  </a:lnTo>
                  <a:lnTo>
                    <a:pt x="124463" y="410248"/>
                  </a:lnTo>
                  <a:lnTo>
                    <a:pt x="126049" y="429415"/>
                  </a:lnTo>
                  <a:lnTo>
                    <a:pt x="128515" y="448963"/>
                  </a:lnTo>
                  <a:lnTo>
                    <a:pt x="131892" y="468882"/>
                  </a:lnTo>
                  <a:lnTo>
                    <a:pt x="153078" y="570835"/>
                  </a:lnTo>
                  <a:lnTo>
                    <a:pt x="178054" y="634326"/>
                  </a:lnTo>
                  <a:lnTo>
                    <a:pt x="222940" y="685903"/>
                  </a:lnTo>
                  <a:lnTo>
                    <a:pt x="291728" y="751682"/>
                  </a:lnTo>
                  <a:lnTo>
                    <a:pt x="291728" y="758691"/>
                  </a:lnTo>
                  <a:lnTo>
                    <a:pt x="277964" y="765694"/>
                  </a:lnTo>
                  <a:lnTo>
                    <a:pt x="253416" y="775994"/>
                  </a:lnTo>
                  <a:lnTo>
                    <a:pt x="228083" y="782704"/>
                  </a:lnTo>
                  <a:lnTo>
                    <a:pt x="202111" y="786389"/>
                  </a:lnTo>
                  <a:lnTo>
                    <a:pt x="186368" y="787651"/>
                  </a:lnTo>
                  <a:lnTo>
                    <a:pt x="174487" y="786518"/>
                  </a:lnTo>
                  <a:lnTo>
                    <a:pt x="160082" y="783013"/>
                  </a:lnTo>
                  <a:lnTo>
                    <a:pt x="149001" y="771023"/>
                  </a:lnTo>
                  <a:lnTo>
                    <a:pt x="131082" y="750798"/>
                  </a:lnTo>
                  <a:lnTo>
                    <a:pt x="119772" y="736813"/>
                  </a:lnTo>
                  <a:lnTo>
                    <a:pt x="108930" y="722574"/>
                  </a:lnTo>
                  <a:lnTo>
                    <a:pt x="98553" y="708098"/>
                  </a:lnTo>
                  <a:lnTo>
                    <a:pt x="88653" y="693393"/>
                  </a:lnTo>
                  <a:lnTo>
                    <a:pt x="79234" y="678474"/>
                  </a:lnTo>
                  <a:lnTo>
                    <a:pt x="70306" y="663350"/>
                  </a:lnTo>
                  <a:lnTo>
                    <a:pt x="61877" y="648045"/>
                  </a:lnTo>
                  <a:lnTo>
                    <a:pt x="53953" y="632564"/>
                  </a:lnTo>
                  <a:lnTo>
                    <a:pt x="46539" y="616926"/>
                  </a:lnTo>
                  <a:lnTo>
                    <a:pt x="39643" y="601140"/>
                  </a:lnTo>
                  <a:lnTo>
                    <a:pt x="33272" y="585221"/>
                  </a:lnTo>
                  <a:lnTo>
                    <a:pt x="27438" y="569183"/>
                  </a:lnTo>
                  <a:lnTo>
                    <a:pt x="22143" y="553040"/>
                  </a:lnTo>
                  <a:lnTo>
                    <a:pt x="17396" y="536806"/>
                  </a:lnTo>
                  <a:lnTo>
                    <a:pt x="13205" y="520497"/>
                  </a:lnTo>
                  <a:lnTo>
                    <a:pt x="9572" y="504120"/>
                  </a:lnTo>
                  <a:lnTo>
                    <a:pt x="6514" y="487692"/>
                  </a:lnTo>
                  <a:lnTo>
                    <a:pt x="4029" y="471225"/>
                  </a:lnTo>
                  <a:lnTo>
                    <a:pt x="2129" y="454734"/>
                  </a:lnTo>
                  <a:lnTo>
                    <a:pt x="819" y="438234"/>
                  </a:lnTo>
                  <a:lnTo>
                    <a:pt x="105" y="421739"/>
                  </a:lnTo>
                  <a:lnTo>
                    <a:pt x="0" y="405258"/>
                  </a:lnTo>
                  <a:lnTo>
                    <a:pt x="505" y="388810"/>
                  </a:lnTo>
                  <a:lnTo>
                    <a:pt x="1634" y="372405"/>
                  </a:lnTo>
                  <a:lnTo>
                    <a:pt x="3386" y="356057"/>
                  </a:lnTo>
                  <a:lnTo>
                    <a:pt x="5772" y="339781"/>
                  </a:lnTo>
                  <a:lnTo>
                    <a:pt x="8800" y="323585"/>
                  </a:lnTo>
                  <a:lnTo>
                    <a:pt x="12477" y="307495"/>
                  </a:lnTo>
                  <a:lnTo>
                    <a:pt x="16810" y="291514"/>
                  </a:lnTo>
                  <a:lnTo>
                    <a:pt x="21805" y="275657"/>
                  </a:lnTo>
                  <a:lnTo>
                    <a:pt x="27467" y="259937"/>
                  </a:lnTo>
                  <a:lnTo>
                    <a:pt x="33810" y="244371"/>
                  </a:lnTo>
                  <a:lnTo>
                    <a:pt x="40839" y="228975"/>
                  </a:lnTo>
                  <a:lnTo>
                    <a:pt x="48558" y="213751"/>
                  </a:lnTo>
                  <a:lnTo>
                    <a:pt x="56972" y="198727"/>
                  </a:lnTo>
                  <a:lnTo>
                    <a:pt x="66096" y="183908"/>
                  </a:lnTo>
                  <a:lnTo>
                    <a:pt x="75934" y="169308"/>
                  </a:lnTo>
                  <a:lnTo>
                    <a:pt x="86491" y="154941"/>
                  </a:lnTo>
                  <a:lnTo>
                    <a:pt x="97772" y="140827"/>
                  </a:lnTo>
                  <a:lnTo>
                    <a:pt x="109792" y="126970"/>
                  </a:lnTo>
                  <a:lnTo>
                    <a:pt x="122554" y="113388"/>
                  </a:lnTo>
                  <a:lnTo>
                    <a:pt x="136063" y="100093"/>
                  </a:lnTo>
                  <a:lnTo>
                    <a:pt x="150330" y="87102"/>
                  </a:lnTo>
                  <a:lnTo>
                    <a:pt x="165363" y="74426"/>
                  </a:lnTo>
                  <a:lnTo>
                    <a:pt x="176763" y="65460"/>
                  </a:lnTo>
                  <a:lnTo>
                    <a:pt x="188754" y="56621"/>
                  </a:lnTo>
                  <a:lnTo>
                    <a:pt x="201321" y="47950"/>
                  </a:lnTo>
                  <a:lnTo>
                    <a:pt x="214450" y="39478"/>
                  </a:lnTo>
                  <a:lnTo>
                    <a:pt x="228135" y="31245"/>
                  </a:lnTo>
                  <a:lnTo>
                    <a:pt x="242354" y="23288"/>
                  </a:lnTo>
                  <a:lnTo>
                    <a:pt x="257097" y="15645"/>
                  </a:lnTo>
                  <a:lnTo>
                    <a:pt x="272350" y="8350"/>
                  </a:lnTo>
                  <a:lnTo>
                    <a:pt x="288107" y="1445"/>
                  </a:lnTo>
                  <a:lnTo>
                    <a:pt x="291728" y="0"/>
                  </a:lnTo>
                  <a:close/>
                </a:path>
              </a:pathLst>
            </a:custGeom>
            <a:solidFill>
              <a:srgbClr val="FFFFFF">
                <a:alpha val="25098"/>
              </a:srgbClr>
            </a:solidFill>
          </p:spPr>
          <p:txBody>
            <a:bodyPr wrap="square" lIns="0" tIns="0" rIns="0" bIns="0" rtlCol="0"/>
            <a:lstStyle/>
            <a:p>
              <a:pPr lvl="0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1CF3090-F5C5-2BCA-EF46-2EFE4597FE63}"/>
              </a:ext>
            </a:extLst>
          </p:cNvPr>
          <p:cNvSpPr/>
          <p:nvPr userDrawn="1"/>
        </p:nvSpPr>
        <p:spPr>
          <a:xfrm>
            <a:off x="0" y="1313468"/>
            <a:ext cx="12192000" cy="119176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CC684487-180B-46EB-9A00-CB18D4E3934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15900" y="1366838"/>
            <a:ext cx="3831979" cy="4949825"/>
          </a:xfrm>
          <a:noFill/>
          <a:ln>
            <a:solidFill>
              <a:srgbClr val="CAB9A7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8" name="Chart Placeholder 4">
            <a:extLst>
              <a:ext uri="{FF2B5EF4-FFF2-40B4-BE49-F238E27FC236}">
                <a16:creationId xmlns:a16="http://schemas.microsoft.com/office/drawing/2014/main" id="{A913ABE9-59F7-4560-9008-D9F30916F6A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180413" y="1366838"/>
            <a:ext cx="3831979" cy="4949825"/>
          </a:xfrm>
          <a:noFill/>
          <a:ln>
            <a:solidFill>
              <a:srgbClr val="CAB9A7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9C9A723-4DDD-A0CF-1A80-E4AD440AC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40385" y="3505200"/>
            <a:ext cx="3831979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5" name="Chart Placeholder 4">
            <a:extLst>
              <a:ext uri="{FF2B5EF4-FFF2-40B4-BE49-F238E27FC236}">
                <a16:creationId xmlns:a16="http://schemas.microsoft.com/office/drawing/2014/main" id="{4D9F40CA-4119-56BC-6730-FFD1502DBA5A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8140385" y="1366838"/>
            <a:ext cx="3831979" cy="4949825"/>
          </a:xfrm>
          <a:noFill/>
          <a:ln>
            <a:solidFill>
              <a:srgbClr val="CAB9A7"/>
            </a:solidFill>
          </a:ln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6460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5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71FD87-5928-0183-0336-DB49FAEA68AF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2686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526">
          <p15:clr>
            <a:srgbClr val="FBAE40"/>
          </p15:clr>
        </p15:guide>
        <p15:guide id="5" pos="1640">
          <p15:clr>
            <a:srgbClr val="FBAE40"/>
          </p15:clr>
        </p15:guide>
        <p15:guide id="6" pos="3031">
          <p15:clr>
            <a:srgbClr val="FBAE40"/>
          </p15:clr>
        </p15:guide>
        <p15:guide id="7" pos="3144">
          <p15:clr>
            <a:srgbClr val="FBAE40"/>
          </p15:clr>
        </p15:guide>
        <p15:guide id="8" pos="4535">
          <p15:clr>
            <a:srgbClr val="FBAE40"/>
          </p15:clr>
        </p15:guide>
        <p15:guide id="9" pos="4648">
          <p15:clr>
            <a:srgbClr val="FBAE40"/>
          </p15:clr>
        </p15:guide>
        <p15:guide id="10" pos="6039">
          <p15:clr>
            <a:srgbClr val="FBAE40"/>
          </p15:clr>
        </p15:guide>
        <p15:guide id="11" pos="6153">
          <p15:clr>
            <a:srgbClr val="FBAE40"/>
          </p15:clr>
        </p15:guide>
        <p15:guide id="12" pos="7543">
          <p15:clr>
            <a:srgbClr val="FBAE40"/>
          </p15:clr>
        </p15:guide>
        <p15:guide id="13" orient="horz">
          <p15:clr>
            <a:srgbClr val="FBAE40"/>
          </p15:clr>
        </p15:guide>
        <p15:guide id="14" orient="horz" pos="4320">
          <p15:clr>
            <a:srgbClr val="FBAE40"/>
          </p15:clr>
        </p15:guide>
        <p15:guide id="15" orient="horz" pos="861">
          <p15:clr>
            <a:srgbClr val="FBAE40"/>
          </p15:clr>
        </p15:guide>
        <p15:guide id="16" orient="horz" pos="1296">
          <p15:clr>
            <a:srgbClr val="FBAE40"/>
          </p15:clr>
        </p15:guide>
        <p15:guide id="17" orient="horz" pos="1392">
          <p15:clr>
            <a:srgbClr val="FBAE40"/>
          </p15:clr>
        </p15:guide>
        <p15:guide id="18" orient="horz" pos="1824">
          <p15:clr>
            <a:srgbClr val="FBAE40"/>
          </p15:clr>
        </p15:guide>
        <p15:guide id="19" orient="horz" pos="1938">
          <p15:clr>
            <a:srgbClr val="FBAE40"/>
          </p15:clr>
        </p15:guide>
        <p15:guide id="20" orient="horz" pos="2364">
          <p15:clr>
            <a:srgbClr val="FBAE40"/>
          </p15:clr>
        </p15:guide>
        <p15:guide id="21" orient="horz" pos="2477">
          <p15:clr>
            <a:srgbClr val="FBAE40"/>
          </p15:clr>
        </p15:guide>
        <p15:guide id="22" orient="horz" pos="2902">
          <p15:clr>
            <a:srgbClr val="FBAE40"/>
          </p15:clr>
        </p15:guide>
        <p15:guide id="23" orient="horz" pos="3016">
          <p15:clr>
            <a:srgbClr val="FBAE40"/>
          </p15:clr>
        </p15:guide>
        <p15:guide id="24" orient="horz" pos="3441">
          <p15:clr>
            <a:srgbClr val="FBAE40"/>
          </p15:clr>
        </p15:guide>
        <p15:guide id="25" orient="horz" pos="3554">
          <p15:clr>
            <a:srgbClr val="FBAE40"/>
          </p15:clr>
        </p15:guide>
        <p15:guide id="26" orient="horz" pos="397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6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71FD87-5928-0183-0336-DB49FAEA68AF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31">
            <a:extLst>
              <a:ext uri="{FF2B5EF4-FFF2-40B4-BE49-F238E27FC236}">
                <a16:creationId xmlns:a16="http://schemas.microsoft.com/office/drawing/2014/main" id="{47F95401-A1B4-A3CF-8A08-9CAAA4CA3E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05007" y="2228103"/>
            <a:ext cx="1805829" cy="982309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72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1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2">
            <a:extLst>
              <a:ext uri="{FF2B5EF4-FFF2-40B4-BE49-F238E27FC236}">
                <a16:creationId xmlns:a16="http://schemas.microsoft.com/office/drawing/2014/main" id="{252A4834-A35D-F7C5-0715-5198E4CD88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93677" y="2228103"/>
            <a:ext cx="1805829" cy="982309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72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1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33">
            <a:extLst>
              <a:ext uri="{FF2B5EF4-FFF2-40B4-BE49-F238E27FC236}">
                <a16:creationId xmlns:a16="http://schemas.microsoft.com/office/drawing/2014/main" id="{EC1B9738-74C5-36D9-5D6D-B242053146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82347" y="2228103"/>
            <a:ext cx="1805829" cy="982309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72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1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34">
            <a:extLst>
              <a:ext uri="{FF2B5EF4-FFF2-40B4-BE49-F238E27FC236}">
                <a16:creationId xmlns:a16="http://schemas.microsoft.com/office/drawing/2014/main" id="{8F9902E5-35E8-B332-8B64-C9179BED1D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171017" y="2228103"/>
            <a:ext cx="1805829" cy="982309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72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1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F505F689-C9AB-9072-106C-1914D04F04F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05007" y="3785197"/>
            <a:ext cx="1805829" cy="982309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72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1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36">
            <a:extLst>
              <a:ext uri="{FF2B5EF4-FFF2-40B4-BE49-F238E27FC236}">
                <a16:creationId xmlns:a16="http://schemas.microsoft.com/office/drawing/2014/main" id="{614CFFE3-F6C8-D8D3-0F8B-303699A6F2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3677" y="3785197"/>
            <a:ext cx="1805829" cy="982309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72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1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7656F77B-E18C-EF40-8F7D-66D3130CF7B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82347" y="3785197"/>
            <a:ext cx="1805829" cy="982309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72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1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38">
            <a:extLst>
              <a:ext uri="{FF2B5EF4-FFF2-40B4-BE49-F238E27FC236}">
                <a16:creationId xmlns:a16="http://schemas.microsoft.com/office/drawing/2014/main" id="{623D1CAC-A37F-A74B-BA85-BDA2E9276D2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171017" y="3785197"/>
            <a:ext cx="1805829" cy="982309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72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1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9">
            <a:extLst>
              <a:ext uri="{FF2B5EF4-FFF2-40B4-BE49-F238E27FC236}">
                <a16:creationId xmlns:a16="http://schemas.microsoft.com/office/drawing/2014/main" id="{FD322338-6B1D-45D4-CA07-FB4B191D8B5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05007" y="5342291"/>
            <a:ext cx="1805829" cy="982309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72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1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40">
            <a:extLst>
              <a:ext uri="{FF2B5EF4-FFF2-40B4-BE49-F238E27FC236}">
                <a16:creationId xmlns:a16="http://schemas.microsoft.com/office/drawing/2014/main" id="{2F68356D-CB00-D09A-B548-7F77E465F13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93677" y="5342291"/>
            <a:ext cx="1805829" cy="982309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72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1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41">
            <a:extLst>
              <a:ext uri="{FF2B5EF4-FFF2-40B4-BE49-F238E27FC236}">
                <a16:creationId xmlns:a16="http://schemas.microsoft.com/office/drawing/2014/main" id="{7DC45955-BCCD-E170-BB6A-979C3296B2E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82347" y="5342291"/>
            <a:ext cx="1805829" cy="982309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72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1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42">
            <a:extLst>
              <a:ext uri="{FF2B5EF4-FFF2-40B4-BE49-F238E27FC236}">
                <a16:creationId xmlns:a16="http://schemas.microsoft.com/office/drawing/2014/main" id="{B2F01B5A-F367-3A5E-FC80-FB89836AAE7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171017" y="5342291"/>
            <a:ext cx="1805829" cy="982309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72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1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4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39107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36" userDrawn="1">
          <p15:clr>
            <a:srgbClr val="FBAE40"/>
          </p15:clr>
        </p15:guide>
        <p15:guide id="4" pos="1276" userDrawn="1">
          <p15:clr>
            <a:srgbClr val="FBAE40"/>
          </p15:clr>
        </p15:guide>
        <p15:guide id="5" pos="1389" userDrawn="1">
          <p15:clr>
            <a:srgbClr val="FBAE40"/>
          </p15:clr>
        </p15:guide>
        <p15:guide id="6" pos="2529" userDrawn="1">
          <p15:clr>
            <a:srgbClr val="FBAE40"/>
          </p15:clr>
        </p15:guide>
        <p15:guide id="7" pos="2643" userDrawn="1">
          <p15:clr>
            <a:srgbClr val="FBAE40"/>
          </p15:clr>
        </p15:guide>
        <p15:guide id="8" pos="3783" userDrawn="1">
          <p15:clr>
            <a:srgbClr val="FBAE40"/>
          </p15:clr>
        </p15:guide>
        <p15:guide id="9" pos="3896" userDrawn="1">
          <p15:clr>
            <a:srgbClr val="FBAE40"/>
          </p15:clr>
        </p15:guide>
        <p15:guide id="10" pos="5036" userDrawn="1">
          <p15:clr>
            <a:srgbClr val="FBAE40"/>
          </p15:clr>
        </p15:guide>
        <p15:guide id="11" pos="5150" userDrawn="1">
          <p15:clr>
            <a:srgbClr val="FBAE40"/>
          </p15:clr>
        </p15:guide>
        <p15:guide id="12" pos="6290" userDrawn="1">
          <p15:clr>
            <a:srgbClr val="FBAE40"/>
          </p15:clr>
        </p15:guide>
        <p15:guide id="13" pos="6403" userDrawn="1">
          <p15:clr>
            <a:srgbClr val="FBAE40"/>
          </p15:clr>
        </p15:guide>
        <p15:guide id="14" pos="7543" userDrawn="1">
          <p15:clr>
            <a:srgbClr val="FBAE40"/>
          </p15:clr>
        </p15:guide>
        <p15:guide id="15" orient="horz" userDrawn="1">
          <p15:clr>
            <a:srgbClr val="FBAE40"/>
          </p15:clr>
        </p15:guide>
        <p15:guide id="16" orient="horz" pos="4320" userDrawn="1">
          <p15:clr>
            <a:srgbClr val="FBAE40"/>
          </p15:clr>
        </p15:guide>
        <p15:guide id="17" orient="horz" pos="861" userDrawn="1">
          <p15:clr>
            <a:srgbClr val="FBAE40"/>
          </p15:clr>
        </p15:guide>
        <p15:guide id="18" orient="horz" pos="1286" userDrawn="1">
          <p15:clr>
            <a:srgbClr val="FBAE40"/>
          </p15:clr>
        </p15:guide>
        <p15:guide id="19" orient="horz" pos="1400" userDrawn="1">
          <p15:clr>
            <a:srgbClr val="FBAE40"/>
          </p15:clr>
        </p15:guide>
        <p15:guide id="20" orient="horz" pos="1825" userDrawn="1">
          <p15:clr>
            <a:srgbClr val="FBAE40"/>
          </p15:clr>
        </p15:guide>
        <p15:guide id="21" orient="horz" pos="1938" userDrawn="1">
          <p15:clr>
            <a:srgbClr val="FBAE40"/>
          </p15:clr>
        </p15:guide>
        <p15:guide id="22" orient="horz" pos="2364" userDrawn="1">
          <p15:clr>
            <a:srgbClr val="FBAE40"/>
          </p15:clr>
        </p15:guide>
        <p15:guide id="23" orient="horz" pos="2477" userDrawn="1">
          <p15:clr>
            <a:srgbClr val="FBAE40"/>
          </p15:clr>
        </p15:guide>
        <p15:guide id="24" orient="horz" pos="2902" userDrawn="1">
          <p15:clr>
            <a:srgbClr val="FBAE40"/>
          </p15:clr>
        </p15:guide>
        <p15:guide id="25" orient="horz" pos="3016" userDrawn="1">
          <p15:clr>
            <a:srgbClr val="FBAE40"/>
          </p15:clr>
        </p15:guide>
        <p15:guide id="26" orient="horz" pos="3441" userDrawn="1">
          <p15:clr>
            <a:srgbClr val="FBAE40"/>
          </p15:clr>
        </p15:guide>
        <p15:guide id="27" orient="horz" pos="3554" userDrawn="1">
          <p15:clr>
            <a:srgbClr val="FBAE40"/>
          </p15:clr>
        </p15:guide>
        <p15:guide id="28" orient="horz" pos="397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4">
            <a:extLst>
              <a:ext uri="{FF2B5EF4-FFF2-40B4-BE49-F238E27FC236}">
                <a16:creationId xmlns:a16="http://schemas.microsoft.com/office/drawing/2014/main" id="{8487ACB0-2DC1-F9FD-E55A-A84298B13F7C}"/>
              </a:ext>
            </a:extLst>
          </p:cNvPr>
          <p:cNvSpPr/>
          <p:nvPr userDrawn="1"/>
        </p:nvSpPr>
        <p:spPr>
          <a:xfrm>
            <a:off x="215900" y="621404"/>
            <a:ext cx="5880101" cy="2121796"/>
          </a:xfrm>
          <a:custGeom>
            <a:avLst/>
            <a:gdLst/>
            <a:ahLst/>
            <a:cxnLst/>
            <a:rect l="l" t="t" r="r" b="b"/>
            <a:pathLst>
              <a:path w="3493135" h="1260475">
                <a:moveTo>
                  <a:pt x="3312985" y="0"/>
                </a:moveTo>
                <a:lnTo>
                  <a:pt x="0" y="0"/>
                </a:lnTo>
                <a:lnTo>
                  <a:pt x="0" y="1260005"/>
                </a:lnTo>
                <a:lnTo>
                  <a:pt x="3492982" y="1260005"/>
                </a:lnTo>
                <a:lnTo>
                  <a:pt x="3492982" y="179997"/>
                </a:lnTo>
                <a:lnTo>
                  <a:pt x="3486552" y="132149"/>
                </a:lnTo>
                <a:lnTo>
                  <a:pt x="3468406" y="89152"/>
                </a:lnTo>
                <a:lnTo>
                  <a:pt x="3440260" y="52722"/>
                </a:lnTo>
                <a:lnTo>
                  <a:pt x="3403830" y="24576"/>
                </a:lnTo>
                <a:lnTo>
                  <a:pt x="3360833" y="6430"/>
                </a:lnTo>
                <a:lnTo>
                  <a:pt x="331298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5" name="Picture 4" descr="A group of people standing on a hill looking at a landscape&#10;&#10;Description automatically generated">
            <a:extLst>
              <a:ext uri="{FF2B5EF4-FFF2-40B4-BE49-F238E27FC236}">
                <a16:creationId xmlns:a16="http://schemas.microsoft.com/office/drawing/2014/main" id="{67A32924-C16A-85FC-3F24-2649F13213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" t="17474" b="7212"/>
          <a:stretch/>
        </p:blipFill>
        <p:spPr>
          <a:xfrm>
            <a:off x="215900" y="1370060"/>
            <a:ext cx="11758613" cy="5008346"/>
          </a:xfrm>
          <a:prstGeom prst="rect">
            <a:avLst/>
          </a:prstGeom>
        </p:spPr>
      </p:pic>
      <p:sp>
        <p:nvSpPr>
          <p:cNvPr id="8" name="AutoShape 3">
            <a:extLst>
              <a:ext uri="{FF2B5EF4-FFF2-40B4-BE49-F238E27FC236}">
                <a16:creationId xmlns:a16="http://schemas.microsoft.com/office/drawing/2014/main" id="{4DE338AA-2CF0-71A1-E224-4E059CAE8F8D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8001000" y="0"/>
            <a:ext cx="4191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C06BAA58-04E3-4F58-86C4-DEB4C7D1D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043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C06BAA58-04E3-4F58-86C4-DEB4C7D1DF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Group 70" hidden="1">
            <a:extLst>
              <a:ext uri="{FF2B5EF4-FFF2-40B4-BE49-F238E27FC236}">
                <a16:creationId xmlns:a16="http://schemas.microsoft.com/office/drawing/2014/main" id="{E4688A3A-498A-48BD-ABA5-7195E98C670F}"/>
              </a:ext>
            </a:extLst>
          </p:cNvPr>
          <p:cNvGrpSpPr/>
          <p:nvPr userDrawn="1"/>
        </p:nvGrpSpPr>
        <p:grpSpPr>
          <a:xfrm>
            <a:off x="9467620" y="3429000"/>
            <a:ext cx="2724380" cy="2236765"/>
            <a:chOff x="9467620" y="3429000"/>
            <a:chExt cx="2724380" cy="2236765"/>
          </a:xfrm>
        </p:grpSpPr>
        <p:sp>
          <p:nvSpPr>
            <p:cNvPr id="72" name="Freeform 491">
              <a:extLst>
                <a:ext uri="{FF2B5EF4-FFF2-40B4-BE49-F238E27FC236}">
                  <a16:creationId xmlns:a16="http://schemas.microsoft.com/office/drawing/2014/main" id="{E71360B6-DC8F-403F-A732-5D9FF3776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7620" y="3475348"/>
              <a:ext cx="514988" cy="817115"/>
            </a:xfrm>
            <a:custGeom>
              <a:avLst/>
              <a:gdLst>
                <a:gd name="T0" fmla="*/ 661 w 1323"/>
                <a:gd name="T1" fmla="*/ 2091 h 2091"/>
                <a:gd name="T2" fmla="*/ 0 w 1323"/>
                <a:gd name="T3" fmla="*/ 1382 h 2091"/>
                <a:gd name="T4" fmla="*/ 867 w 1323"/>
                <a:gd name="T5" fmla="*/ 0 h 2091"/>
                <a:gd name="T6" fmla="*/ 366 w 1323"/>
                <a:gd name="T7" fmla="*/ 702 h 2091"/>
                <a:gd name="T8" fmla="*/ 661 w 1323"/>
                <a:gd name="T9" fmla="*/ 624 h 2091"/>
                <a:gd name="T10" fmla="*/ 1323 w 1323"/>
                <a:gd name="T11" fmla="*/ 1354 h 2091"/>
                <a:gd name="T12" fmla="*/ 661 w 1323"/>
                <a:gd name="T13" fmla="*/ 2091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3" h="2091">
                  <a:moveTo>
                    <a:pt x="661" y="2091"/>
                  </a:moveTo>
                  <a:cubicBezTo>
                    <a:pt x="276" y="2091"/>
                    <a:pt x="0" y="1730"/>
                    <a:pt x="0" y="1382"/>
                  </a:cubicBezTo>
                  <a:cubicBezTo>
                    <a:pt x="0" y="361"/>
                    <a:pt x="867" y="0"/>
                    <a:pt x="867" y="0"/>
                  </a:cubicBezTo>
                  <a:cubicBezTo>
                    <a:pt x="867" y="0"/>
                    <a:pt x="443" y="290"/>
                    <a:pt x="366" y="702"/>
                  </a:cubicBezTo>
                  <a:cubicBezTo>
                    <a:pt x="456" y="652"/>
                    <a:pt x="559" y="624"/>
                    <a:pt x="661" y="624"/>
                  </a:cubicBezTo>
                  <a:cubicBezTo>
                    <a:pt x="1028" y="624"/>
                    <a:pt x="1323" y="957"/>
                    <a:pt x="1323" y="1354"/>
                  </a:cubicBezTo>
                  <a:cubicBezTo>
                    <a:pt x="1323" y="1779"/>
                    <a:pt x="1002" y="2091"/>
                    <a:pt x="661" y="209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2">
              <a:extLst>
                <a:ext uri="{FF2B5EF4-FFF2-40B4-BE49-F238E27FC236}">
                  <a16:creationId xmlns:a16="http://schemas.microsoft.com/office/drawing/2014/main" id="{8F7CC2B7-3C11-49CC-9AA3-B778B0F2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5114" y="3429000"/>
              <a:ext cx="1055726" cy="1560415"/>
            </a:xfrm>
            <a:custGeom>
              <a:avLst/>
              <a:gdLst>
                <a:gd name="T0" fmla="*/ 2467 w 2705"/>
                <a:gd name="T1" fmla="*/ 823 h 3992"/>
                <a:gd name="T2" fmla="*/ 701 w 2705"/>
                <a:gd name="T3" fmla="*/ 0 h 3992"/>
                <a:gd name="T4" fmla="*/ 1324 w 2705"/>
                <a:gd name="T5" fmla="*/ 1709 h 3992"/>
                <a:gd name="T6" fmla="*/ 0 w 2705"/>
                <a:gd name="T7" fmla="*/ 3992 h 3992"/>
                <a:gd name="T8" fmla="*/ 2326 w 2705"/>
                <a:gd name="T9" fmla="*/ 2298 h 3992"/>
                <a:gd name="T10" fmla="*/ 2467 w 2705"/>
                <a:gd name="T11" fmla="*/ 823 h 3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05" h="3992">
                  <a:moveTo>
                    <a:pt x="2467" y="823"/>
                  </a:moveTo>
                  <a:cubicBezTo>
                    <a:pt x="2268" y="426"/>
                    <a:pt x="1729" y="0"/>
                    <a:pt x="701" y="0"/>
                  </a:cubicBezTo>
                  <a:cubicBezTo>
                    <a:pt x="1337" y="177"/>
                    <a:pt x="1472" y="1120"/>
                    <a:pt x="1324" y="1709"/>
                  </a:cubicBezTo>
                  <a:cubicBezTo>
                    <a:pt x="1137" y="2446"/>
                    <a:pt x="84" y="3638"/>
                    <a:pt x="0" y="3992"/>
                  </a:cubicBezTo>
                  <a:cubicBezTo>
                    <a:pt x="424" y="3418"/>
                    <a:pt x="1934" y="2766"/>
                    <a:pt x="2326" y="2298"/>
                  </a:cubicBezTo>
                  <a:cubicBezTo>
                    <a:pt x="2686" y="1858"/>
                    <a:pt x="2705" y="1291"/>
                    <a:pt x="2467" y="82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93">
              <a:extLst>
                <a:ext uri="{FF2B5EF4-FFF2-40B4-BE49-F238E27FC236}">
                  <a16:creationId xmlns:a16="http://schemas.microsoft.com/office/drawing/2014/main" id="{50EB8D1F-8C10-470C-A1E0-842F0CBBD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4786" y="5003147"/>
              <a:ext cx="1282321" cy="662618"/>
            </a:xfrm>
            <a:custGeom>
              <a:avLst/>
              <a:gdLst>
                <a:gd name="T0" fmla="*/ 3257 w 3289"/>
                <a:gd name="T1" fmla="*/ 0 h 1694"/>
                <a:gd name="T2" fmla="*/ 2608 w 3289"/>
                <a:gd name="T3" fmla="*/ 411 h 1694"/>
                <a:gd name="T4" fmla="*/ 1464 w 3289"/>
                <a:gd name="T5" fmla="*/ 347 h 1694"/>
                <a:gd name="T6" fmla="*/ 559 w 3289"/>
                <a:gd name="T7" fmla="*/ 468 h 1694"/>
                <a:gd name="T8" fmla="*/ 0 w 3289"/>
                <a:gd name="T9" fmla="*/ 1014 h 1694"/>
                <a:gd name="T10" fmla="*/ 38 w 3289"/>
                <a:gd name="T11" fmla="*/ 971 h 1694"/>
                <a:gd name="T12" fmla="*/ 430 w 3289"/>
                <a:gd name="T13" fmla="*/ 787 h 1694"/>
                <a:gd name="T14" fmla="*/ 1201 w 3289"/>
                <a:gd name="T15" fmla="*/ 1141 h 1694"/>
                <a:gd name="T16" fmla="*/ 2235 w 3289"/>
                <a:gd name="T17" fmla="*/ 1631 h 1694"/>
                <a:gd name="T18" fmla="*/ 3180 w 3289"/>
                <a:gd name="T19" fmla="*/ 780 h 1694"/>
                <a:gd name="T20" fmla="*/ 3257 w 3289"/>
                <a:gd name="T21" fmla="*/ 0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89" h="1694">
                  <a:moveTo>
                    <a:pt x="3257" y="0"/>
                  </a:moveTo>
                  <a:cubicBezTo>
                    <a:pt x="3173" y="241"/>
                    <a:pt x="2993" y="411"/>
                    <a:pt x="2608" y="411"/>
                  </a:cubicBezTo>
                  <a:cubicBezTo>
                    <a:pt x="2222" y="411"/>
                    <a:pt x="1843" y="368"/>
                    <a:pt x="1464" y="347"/>
                  </a:cubicBezTo>
                  <a:cubicBezTo>
                    <a:pt x="1156" y="326"/>
                    <a:pt x="841" y="333"/>
                    <a:pt x="559" y="468"/>
                  </a:cubicBezTo>
                  <a:cubicBezTo>
                    <a:pt x="308" y="588"/>
                    <a:pt x="122" y="773"/>
                    <a:pt x="0" y="1014"/>
                  </a:cubicBezTo>
                  <a:cubicBezTo>
                    <a:pt x="12" y="1000"/>
                    <a:pt x="19" y="985"/>
                    <a:pt x="38" y="971"/>
                  </a:cubicBezTo>
                  <a:cubicBezTo>
                    <a:pt x="141" y="858"/>
                    <a:pt x="282" y="787"/>
                    <a:pt x="430" y="787"/>
                  </a:cubicBezTo>
                  <a:cubicBezTo>
                    <a:pt x="726" y="787"/>
                    <a:pt x="957" y="922"/>
                    <a:pt x="1201" y="1141"/>
                  </a:cubicBezTo>
                  <a:cubicBezTo>
                    <a:pt x="1497" y="1411"/>
                    <a:pt x="1818" y="1694"/>
                    <a:pt x="2235" y="1631"/>
                  </a:cubicBezTo>
                  <a:cubicBezTo>
                    <a:pt x="2679" y="1560"/>
                    <a:pt x="3032" y="1219"/>
                    <a:pt x="3180" y="780"/>
                  </a:cubicBezTo>
                  <a:cubicBezTo>
                    <a:pt x="3289" y="489"/>
                    <a:pt x="3250" y="283"/>
                    <a:pt x="325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95">
              <a:extLst>
                <a:ext uri="{FF2B5EF4-FFF2-40B4-BE49-F238E27FC236}">
                  <a16:creationId xmlns:a16="http://schemas.microsoft.com/office/drawing/2014/main" id="{A1A272E9-3F1D-4409-B858-A311BC59A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1686" y="3429000"/>
              <a:ext cx="715834" cy="2212733"/>
            </a:xfrm>
            <a:custGeom>
              <a:avLst/>
              <a:gdLst>
                <a:gd name="T0" fmla="*/ 1838 w 1838"/>
                <a:gd name="T1" fmla="*/ 0 h 5659"/>
                <a:gd name="T2" fmla="*/ 1221 w 1838"/>
                <a:gd name="T3" fmla="*/ 1645 h 5659"/>
                <a:gd name="T4" fmla="*/ 1201 w 1838"/>
                <a:gd name="T5" fmla="*/ 2829 h 5659"/>
                <a:gd name="T6" fmla="*/ 1221 w 1838"/>
                <a:gd name="T7" fmla="*/ 3985 h 5659"/>
                <a:gd name="T8" fmla="*/ 1831 w 1838"/>
                <a:gd name="T9" fmla="*/ 5659 h 5659"/>
                <a:gd name="T10" fmla="*/ 0 w 1838"/>
                <a:gd name="T11" fmla="*/ 2829 h 5659"/>
                <a:gd name="T12" fmla="*/ 1838 w 1838"/>
                <a:gd name="T13" fmla="*/ 0 h 5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8" h="5659">
                  <a:moveTo>
                    <a:pt x="1838" y="0"/>
                  </a:moveTo>
                  <a:cubicBezTo>
                    <a:pt x="1703" y="121"/>
                    <a:pt x="1253" y="326"/>
                    <a:pt x="1221" y="1645"/>
                  </a:cubicBezTo>
                  <a:cubicBezTo>
                    <a:pt x="1221" y="1645"/>
                    <a:pt x="1201" y="2283"/>
                    <a:pt x="1201" y="2829"/>
                  </a:cubicBezTo>
                  <a:cubicBezTo>
                    <a:pt x="1201" y="3390"/>
                    <a:pt x="1221" y="3985"/>
                    <a:pt x="1221" y="3985"/>
                  </a:cubicBezTo>
                  <a:cubicBezTo>
                    <a:pt x="1259" y="5339"/>
                    <a:pt x="1658" y="5510"/>
                    <a:pt x="1831" y="5659"/>
                  </a:cubicBezTo>
                  <a:cubicBezTo>
                    <a:pt x="1433" y="5659"/>
                    <a:pt x="0" y="5269"/>
                    <a:pt x="0" y="2829"/>
                  </a:cubicBezTo>
                  <a:cubicBezTo>
                    <a:pt x="0" y="348"/>
                    <a:pt x="1433" y="0"/>
                    <a:pt x="183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8CBC56C-39D9-4CCD-927C-1C413FCA287F}"/>
                </a:ext>
              </a:extLst>
            </p:cNvPr>
            <p:cNvSpPr/>
            <p:nvPr userDrawn="1"/>
          </p:nvSpPr>
          <p:spPr>
            <a:xfrm>
              <a:off x="11855450" y="3429001"/>
              <a:ext cx="336550" cy="2212733"/>
            </a:xfrm>
            <a:custGeom>
              <a:avLst/>
              <a:gdLst>
                <a:gd name="connsiteX0" fmla="*/ 0 w 336550"/>
                <a:gd name="connsiteY0" fmla="*/ 0 h 2212733"/>
                <a:gd name="connsiteX1" fmla="*/ 296520 w 336550"/>
                <a:gd name="connsiteY1" fmla="*/ 94212 h 2212733"/>
                <a:gd name="connsiteX2" fmla="*/ 336550 w 336550"/>
                <a:gd name="connsiteY2" fmla="*/ 122018 h 2212733"/>
                <a:gd name="connsiteX3" fmla="*/ 336550 w 336550"/>
                <a:gd name="connsiteY3" fmla="*/ 2086108 h 2212733"/>
                <a:gd name="connsiteX4" fmla="*/ 297187 w 336550"/>
                <a:gd name="connsiteY4" fmla="*/ 2114171 h 2212733"/>
                <a:gd name="connsiteX5" fmla="*/ 2733 w 336550"/>
                <a:gd name="connsiteY5" fmla="*/ 2212733 h 2212733"/>
                <a:gd name="connsiteX6" fmla="*/ 238533 w 336550"/>
                <a:gd name="connsiteY6" fmla="*/ 1558180 h 2212733"/>
                <a:gd name="connsiteX7" fmla="*/ 248293 w 336550"/>
                <a:gd name="connsiteY7" fmla="*/ 1106171 h 2212733"/>
                <a:gd name="connsiteX8" fmla="*/ 238533 w 336550"/>
                <a:gd name="connsiteY8" fmla="*/ 643214 h 2212733"/>
                <a:gd name="connsiteX9" fmla="*/ 0 w 336550"/>
                <a:gd name="connsiteY9" fmla="*/ 0 h 2212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6550" h="2212733">
                  <a:moveTo>
                    <a:pt x="0" y="0"/>
                  </a:moveTo>
                  <a:cubicBezTo>
                    <a:pt x="59292" y="0"/>
                    <a:pt x="175020" y="19135"/>
                    <a:pt x="296520" y="94212"/>
                  </a:cubicBezTo>
                  <a:lnTo>
                    <a:pt x="336550" y="122018"/>
                  </a:lnTo>
                  <a:lnTo>
                    <a:pt x="336550" y="2086108"/>
                  </a:lnTo>
                  <a:lnTo>
                    <a:pt x="297187" y="2114171"/>
                  </a:lnTo>
                  <a:cubicBezTo>
                    <a:pt x="176088" y="2191289"/>
                    <a:pt x="61000" y="2212733"/>
                    <a:pt x="2733" y="2212733"/>
                  </a:cubicBezTo>
                  <a:cubicBezTo>
                    <a:pt x="70271" y="2154472"/>
                    <a:pt x="225650" y="2087610"/>
                    <a:pt x="238533" y="1558180"/>
                  </a:cubicBezTo>
                  <a:cubicBezTo>
                    <a:pt x="238533" y="1558180"/>
                    <a:pt x="248293" y="1325529"/>
                    <a:pt x="248293" y="1106171"/>
                  </a:cubicBezTo>
                  <a:cubicBezTo>
                    <a:pt x="248293" y="892679"/>
                    <a:pt x="238533" y="643214"/>
                    <a:pt x="238533" y="643214"/>
                  </a:cubicBezTo>
                  <a:cubicBezTo>
                    <a:pt x="228382" y="127470"/>
                    <a:pt x="52704" y="47312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0ADDCB5-9E57-4079-95A0-51646C9B1A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5900" y="615660"/>
            <a:ext cx="5880100" cy="452114"/>
          </a:xfrm>
        </p:spPr>
        <p:txBody>
          <a:bodyPr vert="horz" lIns="36000" tIns="36000" anchor="ctr"/>
          <a:lstStyle>
            <a:lvl1pPr algn="ctr"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5A4E60-A558-41FB-B0E4-8A59FFFE9B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5900" y="1059988"/>
            <a:ext cx="5880100" cy="306850"/>
          </a:xfrm>
        </p:spPr>
        <p:txBody>
          <a:bodyPr lIns="36000" anchor="ctr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F147B0D-7BBC-9016-06C1-A62741B5FA0D}"/>
              </a:ext>
            </a:extLst>
          </p:cNvPr>
          <p:cNvGrpSpPr/>
          <p:nvPr userDrawn="1"/>
        </p:nvGrpSpPr>
        <p:grpSpPr>
          <a:xfrm>
            <a:off x="10515600" y="259716"/>
            <a:ext cx="1436183" cy="985137"/>
            <a:chOff x="228600" y="2150376"/>
            <a:chExt cx="2906342" cy="1993578"/>
          </a:xfrm>
          <a:solidFill>
            <a:schemeClr val="bg1"/>
          </a:solidFill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327F18DE-FE9A-E987-1155-D7BFE1647152}"/>
                </a:ext>
              </a:extLst>
            </p:cNvPr>
            <p:cNvGrpSpPr/>
            <p:nvPr userDrawn="1"/>
          </p:nvGrpSpPr>
          <p:grpSpPr>
            <a:xfrm>
              <a:off x="228600" y="3626341"/>
              <a:ext cx="2799815" cy="517613"/>
              <a:chOff x="228600" y="3626341"/>
              <a:chExt cx="2799815" cy="517613"/>
            </a:xfrm>
            <a:grpFill/>
          </p:grpSpPr>
          <p:sp>
            <p:nvSpPr>
              <p:cNvPr id="129" name="Freeform 6">
                <a:extLst>
                  <a:ext uri="{FF2B5EF4-FFF2-40B4-BE49-F238E27FC236}">
                    <a16:creationId xmlns:a16="http://schemas.microsoft.com/office/drawing/2014/main" id="{5FE9E19B-12B2-D7B6-D125-51ABB9EEEA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534" y="3955731"/>
                <a:ext cx="95922" cy="164696"/>
              </a:xfrm>
              <a:custGeom>
                <a:avLst/>
                <a:gdLst>
                  <a:gd name="T0" fmla="*/ 235 w 235"/>
                  <a:gd name="T1" fmla="*/ 1 h 398"/>
                  <a:gd name="T2" fmla="*/ 218 w 235"/>
                  <a:gd name="T3" fmla="*/ 72 h 398"/>
                  <a:gd name="T4" fmla="*/ 152 w 235"/>
                  <a:gd name="T5" fmla="*/ 80 h 398"/>
                  <a:gd name="T6" fmla="*/ 131 w 235"/>
                  <a:gd name="T7" fmla="*/ 113 h 398"/>
                  <a:gd name="T8" fmla="*/ 176 w 235"/>
                  <a:gd name="T9" fmla="*/ 114 h 398"/>
                  <a:gd name="T10" fmla="*/ 164 w 235"/>
                  <a:gd name="T11" fmla="*/ 178 h 398"/>
                  <a:gd name="T12" fmla="*/ 116 w 235"/>
                  <a:gd name="T13" fmla="*/ 178 h 398"/>
                  <a:gd name="T14" fmla="*/ 70 w 235"/>
                  <a:gd name="T15" fmla="*/ 398 h 398"/>
                  <a:gd name="T16" fmla="*/ 0 w 235"/>
                  <a:gd name="T17" fmla="*/ 398 h 398"/>
                  <a:gd name="T18" fmla="*/ 43 w 235"/>
                  <a:gd name="T19" fmla="*/ 176 h 398"/>
                  <a:gd name="T20" fmla="*/ 6 w 235"/>
                  <a:gd name="T21" fmla="*/ 176 h 398"/>
                  <a:gd name="T22" fmla="*/ 17 w 235"/>
                  <a:gd name="T23" fmla="*/ 112 h 398"/>
                  <a:gd name="T24" fmla="*/ 56 w 235"/>
                  <a:gd name="T25" fmla="*/ 112 h 398"/>
                  <a:gd name="T26" fmla="*/ 95 w 235"/>
                  <a:gd name="T27" fmla="*/ 44 h 398"/>
                  <a:gd name="T28" fmla="*/ 235 w 235"/>
                  <a:gd name="T29" fmla="*/ 1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5" h="398">
                    <a:moveTo>
                      <a:pt x="235" y="1"/>
                    </a:moveTo>
                    <a:lnTo>
                      <a:pt x="218" y="72"/>
                    </a:lnTo>
                    <a:cubicBezTo>
                      <a:pt x="218" y="72"/>
                      <a:pt x="175" y="63"/>
                      <a:pt x="152" y="80"/>
                    </a:cubicBezTo>
                    <a:cubicBezTo>
                      <a:pt x="129" y="96"/>
                      <a:pt x="131" y="113"/>
                      <a:pt x="131" y="113"/>
                    </a:cubicBezTo>
                    <a:lnTo>
                      <a:pt x="176" y="114"/>
                    </a:lnTo>
                    <a:lnTo>
                      <a:pt x="164" y="178"/>
                    </a:lnTo>
                    <a:lnTo>
                      <a:pt x="116" y="178"/>
                    </a:lnTo>
                    <a:lnTo>
                      <a:pt x="70" y="398"/>
                    </a:lnTo>
                    <a:lnTo>
                      <a:pt x="0" y="398"/>
                    </a:lnTo>
                    <a:lnTo>
                      <a:pt x="43" y="176"/>
                    </a:lnTo>
                    <a:lnTo>
                      <a:pt x="6" y="176"/>
                    </a:lnTo>
                    <a:lnTo>
                      <a:pt x="17" y="112"/>
                    </a:lnTo>
                    <a:lnTo>
                      <a:pt x="56" y="112"/>
                    </a:lnTo>
                    <a:cubicBezTo>
                      <a:pt x="56" y="112"/>
                      <a:pt x="68" y="67"/>
                      <a:pt x="95" y="44"/>
                    </a:cubicBezTo>
                    <a:cubicBezTo>
                      <a:pt x="121" y="23"/>
                      <a:pt x="169" y="0"/>
                      <a:pt x="2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0" name="Freeform 7">
                <a:extLst>
                  <a:ext uri="{FF2B5EF4-FFF2-40B4-BE49-F238E27FC236}">
                    <a16:creationId xmlns:a16="http://schemas.microsoft.com/office/drawing/2014/main" id="{B47F941A-DB0C-377F-C7AB-E48A982A01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44429" y="4002787"/>
                <a:ext cx="54295" cy="115829"/>
              </a:xfrm>
              <a:custGeom>
                <a:avLst/>
                <a:gdLst>
                  <a:gd name="T0" fmla="*/ 56 w 133"/>
                  <a:gd name="T1" fmla="*/ 0 h 281"/>
                  <a:gd name="T2" fmla="*/ 133 w 133"/>
                  <a:gd name="T3" fmla="*/ 0 h 281"/>
                  <a:gd name="T4" fmla="*/ 75 w 133"/>
                  <a:gd name="T5" fmla="*/ 281 h 281"/>
                  <a:gd name="T6" fmla="*/ 0 w 133"/>
                  <a:gd name="T7" fmla="*/ 281 h 281"/>
                  <a:gd name="T8" fmla="*/ 56 w 133"/>
                  <a:gd name="T9" fmla="*/ 0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281">
                    <a:moveTo>
                      <a:pt x="56" y="0"/>
                    </a:moveTo>
                    <a:lnTo>
                      <a:pt x="133" y="0"/>
                    </a:lnTo>
                    <a:lnTo>
                      <a:pt x="75" y="281"/>
                    </a:lnTo>
                    <a:lnTo>
                      <a:pt x="0" y="281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1" name="Freeform 8">
                <a:extLst>
                  <a:ext uri="{FF2B5EF4-FFF2-40B4-BE49-F238E27FC236}">
                    <a16:creationId xmlns:a16="http://schemas.microsoft.com/office/drawing/2014/main" id="{3048DCE3-49F2-AAB1-4D5C-99CA4AF32B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9767" y="3955731"/>
                <a:ext cx="38007" cy="30768"/>
              </a:xfrm>
              <a:custGeom>
                <a:avLst/>
                <a:gdLst>
                  <a:gd name="T0" fmla="*/ 16 w 92"/>
                  <a:gd name="T1" fmla="*/ 0 h 76"/>
                  <a:gd name="T2" fmla="*/ 92 w 92"/>
                  <a:gd name="T3" fmla="*/ 0 h 76"/>
                  <a:gd name="T4" fmla="*/ 75 w 92"/>
                  <a:gd name="T5" fmla="*/ 76 h 76"/>
                  <a:gd name="T6" fmla="*/ 0 w 92"/>
                  <a:gd name="T7" fmla="*/ 76 h 76"/>
                  <a:gd name="T8" fmla="*/ 16 w 9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76">
                    <a:moveTo>
                      <a:pt x="16" y="0"/>
                    </a:moveTo>
                    <a:lnTo>
                      <a:pt x="92" y="0"/>
                    </a:lnTo>
                    <a:lnTo>
                      <a:pt x="75" y="76"/>
                    </a:lnTo>
                    <a:lnTo>
                      <a:pt x="0" y="7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2" name="Freeform 9">
                <a:extLst>
                  <a:ext uri="{FF2B5EF4-FFF2-40B4-BE49-F238E27FC236}">
                    <a16:creationId xmlns:a16="http://schemas.microsoft.com/office/drawing/2014/main" id="{5F2730A5-C5D4-1F17-283B-27BF22C1913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8600" y="3966590"/>
                <a:ext cx="123069" cy="152026"/>
              </a:xfrm>
              <a:custGeom>
                <a:avLst/>
                <a:gdLst>
                  <a:gd name="T0" fmla="*/ 286 w 299"/>
                  <a:gd name="T1" fmla="*/ 89 h 371"/>
                  <a:gd name="T2" fmla="*/ 220 w 299"/>
                  <a:gd name="T3" fmla="*/ 3 h 371"/>
                  <a:gd name="T4" fmla="*/ 72 w 299"/>
                  <a:gd name="T5" fmla="*/ 1 h 371"/>
                  <a:gd name="T6" fmla="*/ 0 w 299"/>
                  <a:gd name="T7" fmla="*/ 368 h 371"/>
                  <a:gd name="T8" fmla="*/ 104 w 299"/>
                  <a:gd name="T9" fmla="*/ 371 h 371"/>
                  <a:gd name="T10" fmla="*/ 274 w 299"/>
                  <a:gd name="T11" fmla="*/ 271 h 371"/>
                  <a:gd name="T12" fmla="*/ 245 w 299"/>
                  <a:gd name="T13" fmla="*/ 169 h 371"/>
                  <a:gd name="T14" fmla="*/ 286 w 299"/>
                  <a:gd name="T15" fmla="*/ 89 h 371"/>
                  <a:gd name="T16" fmla="*/ 206 w 299"/>
                  <a:gd name="T17" fmla="*/ 114 h 371"/>
                  <a:gd name="T18" fmla="*/ 132 w 299"/>
                  <a:gd name="T19" fmla="*/ 157 h 371"/>
                  <a:gd name="T20" fmla="*/ 131 w 299"/>
                  <a:gd name="T21" fmla="*/ 171 h 371"/>
                  <a:gd name="T22" fmla="*/ 200 w 299"/>
                  <a:gd name="T23" fmla="*/ 252 h 371"/>
                  <a:gd name="T24" fmla="*/ 131 w 299"/>
                  <a:gd name="T25" fmla="*/ 298 h 371"/>
                  <a:gd name="T26" fmla="*/ 83 w 299"/>
                  <a:gd name="T27" fmla="*/ 301 h 371"/>
                  <a:gd name="T28" fmla="*/ 130 w 299"/>
                  <a:gd name="T29" fmla="*/ 70 h 371"/>
                  <a:gd name="T30" fmla="*/ 206 w 299"/>
                  <a:gd name="T31" fmla="*/ 114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9" h="371">
                    <a:moveTo>
                      <a:pt x="286" y="89"/>
                    </a:moveTo>
                    <a:cubicBezTo>
                      <a:pt x="292" y="36"/>
                      <a:pt x="243" y="7"/>
                      <a:pt x="220" y="3"/>
                    </a:cubicBezTo>
                    <a:cubicBezTo>
                      <a:pt x="197" y="0"/>
                      <a:pt x="72" y="1"/>
                      <a:pt x="72" y="1"/>
                    </a:cubicBezTo>
                    <a:lnTo>
                      <a:pt x="0" y="368"/>
                    </a:lnTo>
                    <a:lnTo>
                      <a:pt x="104" y="371"/>
                    </a:lnTo>
                    <a:cubicBezTo>
                      <a:pt x="104" y="371"/>
                      <a:pt x="237" y="367"/>
                      <a:pt x="274" y="271"/>
                    </a:cubicBezTo>
                    <a:cubicBezTo>
                      <a:pt x="299" y="208"/>
                      <a:pt x="245" y="169"/>
                      <a:pt x="245" y="169"/>
                    </a:cubicBezTo>
                    <a:cubicBezTo>
                      <a:pt x="245" y="169"/>
                      <a:pt x="280" y="142"/>
                      <a:pt x="286" y="89"/>
                    </a:cubicBezTo>
                    <a:close/>
                    <a:moveTo>
                      <a:pt x="206" y="114"/>
                    </a:moveTo>
                    <a:cubicBezTo>
                      <a:pt x="198" y="160"/>
                      <a:pt x="132" y="157"/>
                      <a:pt x="132" y="157"/>
                    </a:cubicBezTo>
                    <a:cubicBezTo>
                      <a:pt x="132" y="157"/>
                      <a:pt x="132" y="171"/>
                      <a:pt x="131" y="171"/>
                    </a:cubicBezTo>
                    <a:cubicBezTo>
                      <a:pt x="153" y="173"/>
                      <a:pt x="214" y="209"/>
                      <a:pt x="200" y="252"/>
                    </a:cubicBezTo>
                    <a:cubicBezTo>
                      <a:pt x="184" y="301"/>
                      <a:pt x="131" y="298"/>
                      <a:pt x="131" y="298"/>
                    </a:cubicBezTo>
                    <a:lnTo>
                      <a:pt x="83" y="301"/>
                    </a:lnTo>
                    <a:lnTo>
                      <a:pt x="130" y="70"/>
                    </a:lnTo>
                    <a:cubicBezTo>
                      <a:pt x="130" y="70"/>
                      <a:pt x="214" y="68"/>
                      <a:pt x="20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3" name="Freeform 10">
                <a:extLst>
                  <a:ext uri="{FF2B5EF4-FFF2-40B4-BE49-F238E27FC236}">
                    <a16:creationId xmlns:a16="http://schemas.microsoft.com/office/drawing/2014/main" id="{9DCEEAC5-C283-FB87-9DFE-0C021BFEC0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06" y="3695115"/>
                <a:ext cx="369206" cy="238898"/>
              </a:xfrm>
              <a:custGeom>
                <a:avLst/>
                <a:gdLst>
                  <a:gd name="T0" fmla="*/ 826 w 897"/>
                  <a:gd name="T1" fmla="*/ 0 h 583"/>
                  <a:gd name="T2" fmla="*/ 896 w 897"/>
                  <a:gd name="T3" fmla="*/ 150 h 583"/>
                  <a:gd name="T4" fmla="*/ 480 w 897"/>
                  <a:gd name="T5" fmla="*/ 352 h 583"/>
                  <a:gd name="T6" fmla="*/ 256 w 897"/>
                  <a:gd name="T7" fmla="*/ 519 h 583"/>
                  <a:gd name="T8" fmla="*/ 0 w 897"/>
                  <a:gd name="T9" fmla="*/ 564 h 583"/>
                  <a:gd name="T10" fmla="*/ 113 w 897"/>
                  <a:gd name="T11" fmla="*/ 542 h 583"/>
                  <a:gd name="T12" fmla="*/ 490 w 897"/>
                  <a:gd name="T13" fmla="*/ 279 h 583"/>
                  <a:gd name="T14" fmla="*/ 819 w 897"/>
                  <a:gd name="T15" fmla="*/ 125 h 583"/>
                  <a:gd name="T16" fmla="*/ 826 w 897"/>
                  <a:gd name="T17" fmla="*/ 0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7" h="583">
                    <a:moveTo>
                      <a:pt x="826" y="0"/>
                    </a:moveTo>
                    <a:cubicBezTo>
                      <a:pt x="829" y="16"/>
                      <a:pt x="842" y="96"/>
                      <a:pt x="896" y="150"/>
                    </a:cubicBezTo>
                    <a:cubicBezTo>
                      <a:pt x="897" y="151"/>
                      <a:pt x="639" y="237"/>
                      <a:pt x="480" y="352"/>
                    </a:cubicBezTo>
                    <a:cubicBezTo>
                      <a:pt x="396" y="412"/>
                      <a:pt x="313" y="486"/>
                      <a:pt x="256" y="519"/>
                    </a:cubicBezTo>
                    <a:cubicBezTo>
                      <a:pt x="145" y="583"/>
                      <a:pt x="0" y="576"/>
                      <a:pt x="0" y="564"/>
                    </a:cubicBezTo>
                    <a:cubicBezTo>
                      <a:pt x="0" y="551"/>
                      <a:pt x="36" y="566"/>
                      <a:pt x="113" y="542"/>
                    </a:cubicBezTo>
                    <a:cubicBezTo>
                      <a:pt x="223" y="507"/>
                      <a:pt x="387" y="351"/>
                      <a:pt x="490" y="279"/>
                    </a:cubicBezTo>
                    <a:cubicBezTo>
                      <a:pt x="613" y="197"/>
                      <a:pt x="782" y="137"/>
                      <a:pt x="819" y="125"/>
                    </a:cubicBezTo>
                    <a:cubicBezTo>
                      <a:pt x="819" y="114"/>
                      <a:pt x="804" y="30"/>
                      <a:pt x="8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4" name="Freeform 11">
                <a:extLst>
                  <a:ext uri="{FF2B5EF4-FFF2-40B4-BE49-F238E27FC236}">
                    <a16:creationId xmlns:a16="http://schemas.microsoft.com/office/drawing/2014/main" id="{5912668A-27D2-7BB4-D7FC-26EA5A7619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7773" y="3852570"/>
                <a:ext cx="342059" cy="191843"/>
              </a:xfrm>
              <a:custGeom>
                <a:avLst/>
                <a:gdLst>
                  <a:gd name="T0" fmla="*/ 0 w 834"/>
                  <a:gd name="T1" fmla="*/ 120 h 464"/>
                  <a:gd name="T2" fmla="*/ 156 w 834"/>
                  <a:gd name="T3" fmla="*/ 65 h 464"/>
                  <a:gd name="T4" fmla="*/ 508 w 834"/>
                  <a:gd name="T5" fmla="*/ 183 h 464"/>
                  <a:gd name="T6" fmla="*/ 448 w 834"/>
                  <a:gd name="T7" fmla="*/ 58 h 464"/>
                  <a:gd name="T8" fmla="*/ 452 w 834"/>
                  <a:gd name="T9" fmla="*/ 0 h 464"/>
                  <a:gd name="T10" fmla="*/ 600 w 834"/>
                  <a:gd name="T11" fmla="*/ 231 h 464"/>
                  <a:gd name="T12" fmla="*/ 834 w 834"/>
                  <a:gd name="T13" fmla="*/ 464 h 464"/>
                  <a:gd name="T14" fmla="*/ 649 w 834"/>
                  <a:gd name="T15" fmla="*/ 353 h 464"/>
                  <a:gd name="T16" fmla="*/ 543 w 834"/>
                  <a:gd name="T17" fmla="*/ 252 h 464"/>
                  <a:gd name="T18" fmla="*/ 462 w 834"/>
                  <a:gd name="T19" fmla="*/ 224 h 464"/>
                  <a:gd name="T20" fmla="*/ 193 w 834"/>
                  <a:gd name="T21" fmla="*/ 101 h 464"/>
                  <a:gd name="T22" fmla="*/ 0 w 834"/>
                  <a:gd name="T23" fmla="*/ 120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4" h="464">
                    <a:moveTo>
                      <a:pt x="0" y="120"/>
                    </a:moveTo>
                    <a:cubicBezTo>
                      <a:pt x="0" y="120"/>
                      <a:pt x="38" y="60"/>
                      <a:pt x="156" y="65"/>
                    </a:cubicBezTo>
                    <a:cubicBezTo>
                      <a:pt x="274" y="69"/>
                      <a:pt x="508" y="183"/>
                      <a:pt x="508" y="183"/>
                    </a:cubicBezTo>
                    <a:cubicBezTo>
                      <a:pt x="508" y="183"/>
                      <a:pt x="457" y="103"/>
                      <a:pt x="448" y="58"/>
                    </a:cubicBezTo>
                    <a:cubicBezTo>
                      <a:pt x="439" y="14"/>
                      <a:pt x="452" y="0"/>
                      <a:pt x="452" y="0"/>
                    </a:cubicBezTo>
                    <a:cubicBezTo>
                      <a:pt x="477" y="55"/>
                      <a:pt x="566" y="179"/>
                      <a:pt x="600" y="231"/>
                    </a:cubicBezTo>
                    <a:cubicBezTo>
                      <a:pt x="672" y="340"/>
                      <a:pt x="834" y="464"/>
                      <a:pt x="834" y="464"/>
                    </a:cubicBezTo>
                    <a:cubicBezTo>
                      <a:pt x="797" y="460"/>
                      <a:pt x="707" y="403"/>
                      <a:pt x="649" y="353"/>
                    </a:cubicBezTo>
                    <a:cubicBezTo>
                      <a:pt x="592" y="303"/>
                      <a:pt x="561" y="260"/>
                      <a:pt x="543" y="252"/>
                    </a:cubicBezTo>
                    <a:cubicBezTo>
                      <a:pt x="525" y="244"/>
                      <a:pt x="483" y="233"/>
                      <a:pt x="462" y="224"/>
                    </a:cubicBezTo>
                    <a:cubicBezTo>
                      <a:pt x="424" y="206"/>
                      <a:pt x="271" y="110"/>
                      <a:pt x="193" y="101"/>
                    </a:cubicBezTo>
                    <a:cubicBezTo>
                      <a:pt x="71" y="88"/>
                      <a:pt x="0" y="120"/>
                      <a:pt x="0" y="1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5" name="Freeform 12">
                <a:extLst>
                  <a:ext uri="{FF2B5EF4-FFF2-40B4-BE49-F238E27FC236}">
                    <a16:creationId xmlns:a16="http://schemas.microsoft.com/office/drawing/2014/main" id="{27BBD90F-8EEB-6CAD-A419-7E63EBCAB1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4003" y="3727692"/>
                <a:ext cx="229850" cy="106781"/>
              </a:xfrm>
              <a:custGeom>
                <a:avLst/>
                <a:gdLst>
                  <a:gd name="T0" fmla="*/ 0 w 559"/>
                  <a:gd name="T1" fmla="*/ 24 h 259"/>
                  <a:gd name="T2" fmla="*/ 68 w 559"/>
                  <a:gd name="T3" fmla="*/ 90 h 259"/>
                  <a:gd name="T4" fmla="*/ 185 w 559"/>
                  <a:gd name="T5" fmla="*/ 118 h 259"/>
                  <a:gd name="T6" fmla="*/ 87 w 559"/>
                  <a:gd name="T7" fmla="*/ 60 h 259"/>
                  <a:gd name="T8" fmla="*/ 212 w 559"/>
                  <a:gd name="T9" fmla="*/ 71 h 259"/>
                  <a:gd name="T10" fmla="*/ 320 w 559"/>
                  <a:gd name="T11" fmla="*/ 166 h 259"/>
                  <a:gd name="T12" fmla="*/ 289 w 559"/>
                  <a:gd name="T13" fmla="*/ 215 h 259"/>
                  <a:gd name="T14" fmla="*/ 434 w 559"/>
                  <a:gd name="T15" fmla="*/ 252 h 259"/>
                  <a:gd name="T16" fmla="*/ 559 w 559"/>
                  <a:gd name="T17" fmla="*/ 185 h 259"/>
                  <a:gd name="T18" fmla="*/ 433 w 559"/>
                  <a:gd name="T19" fmla="*/ 218 h 259"/>
                  <a:gd name="T20" fmla="*/ 353 w 559"/>
                  <a:gd name="T21" fmla="*/ 192 h 259"/>
                  <a:gd name="T22" fmla="*/ 361 w 559"/>
                  <a:gd name="T23" fmla="*/ 156 h 259"/>
                  <a:gd name="T24" fmla="*/ 219 w 559"/>
                  <a:gd name="T25" fmla="*/ 38 h 259"/>
                  <a:gd name="T26" fmla="*/ 0 w 559"/>
                  <a:gd name="T27" fmla="*/ 24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59" h="259">
                    <a:moveTo>
                      <a:pt x="0" y="24"/>
                    </a:moveTo>
                    <a:cubicBezTo>
                      <a:pt x="0" y="24"/>
                      <a:pt x="6" y="53"/>
                      <a:pt x="68" y="90"/>
                    </a:cubicBezTo>
                    <a:cubicBezTo>
                      <a:pt x="131" y="127"/>
                      <a:pt x="185" y="118"/>
                      <a:pt x="185" y="118"/>
                    </a:cubicBezTo>
                    <a:cubicBezTo>
                      <a:pt x="185" y="118"/>
                      <a:pt x="100" y="88"/>
                      <a:pt x="87" y="60"/>
                    </a:cubicBezTo>
                    <a:cubicBezTo>
                      <a:pt x="97" y="59"/>
                      <a:pt x="121" y="45"/>
                      <a:pt x="212" y="71"/>
                    </a:cubicBezTo>
                    <a:cubicBezTo>
                      <a:pt x="285" y="92"/>
                      <a:pt x="320" y="152"/>
                      <a:pt x="320" y="166"/>
                    </a:cubicBezTo>
                    <a:cubicBezTo>
                      <a:pt x="320" y="187"/>
                      <a:pt x="289" y="215"/>
                      <a:pt x="289" y="215"/>
                    </a:cubicBezTo>
                    <a:cubicBezTo>
                      <a:pt x="289" y="215"/>
                      <a:pt x="354" y="259"/>
                      <a:pt x="434" y="252"/>
                    </a:cubicBezTo>
                    <a:cubicBezTo>
                      <a:pt x="514" y="244"/>
                      <a:pt x="559" y="185"/>
                      <a:pt x="559" y="185"/>
                    </a:cubicBezTo>
                    <a:cubicBezTo>
                      <a:pt x="559" y="185"/>
                      <a:pt x="495" y="217"/>
                      <a:pt x="433" y="218"/>
                    </a:cubicBezTo>
                    <a:cubicBezTo>
                      <a:pt x="370" y="219"/>
                      <a:pt x="353" y="192"/>
                      <a:pt x="353" y="192"/>
                    </a:cubicBezTo>
                    <a:cubicBezTo>
                      <a:pt x="353" y="192"/>
                      <a:pt x="366" y="182"/>
                      <a:pt x="361" y="156"/>
                    </a:cubicBezTo>
                    <a:cubicBezTo>
                      <a:pt x="356" y="130"/>
                      <a:pt x="314" y="76"/>
                      <a:pt x="219" y="38"/>
                    </a:cubicBezTo>
                    <a:cubicBezTo>
                      <a:pt x="125" y="0"/>
                      <a:pt x="0" y="24"/>
                      <a:pt x="0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6" name="Freeform 13">
                <a:extLst>
                  <a:ext uri="{FF2B5EF4-FFF2-40B4-BE49-F238E27FC236}">
                    <a16:creationId xmlns:a16="http://schemas.microsoft.com/office/drawing/2014/main" id="{05C04CBD-2D13-44DC-D9A6-2DB749FFF0D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17714" y="3791036"/>
                <a:ext cx="193653" cy="110401"/>
              </a:xfrm>
              <a:custGeom>
                <a:avLst/>
                <a:gdLst>
                  <a:gd name="T0" fmla="*/ 374 w 471"/>
                  <a:gd name="T1" fmla="*/ 105 h 265"/>
                  <a:gd name="T2" fmla="*/ 301 w 471"/>
                  <a:gd name="T3" fmla="*/ 72 h 265"/>
                  <a:gd name="T4" fmla="*/ 211 w 471"/>
                  <a:gd name="T5" fmla="*/ 114 h 265"/>
                  <a:gd name="T6" fmla="*/ 125 w 471"/>
                  <a:gd name="T7" fmla="*/ 165 h 265"/>
                  <a:gd name="T8" fmla="*/ 83 w 471"/>
                  <a:gd name="T9" fmla="*/ 137 h 265"/>
                  <a:gd name="T10" fmla="*/ 73 w 471"/>
                  <a:gd name="T11" fmla="*/ 166 h 265"/>
                  <a:gd name="T12" fmla="*/ 72 w 471"/>
                  <a:gd name="T13" fmla="*/ 189 h 265"/>
                  <a:gd name="T14" fmla="*/ 35 w 471"/>
                  <a:gd name="T15" fmla="*/ 148 h 265"/>
                  <a:gd name="T16" fmla="*/ 53 w 471"/>
                  <a:gd name="T17" fmla="*/ 100 h 265"/>
                  <a:gd name="T18" fmla="*/ 33 w 471"/>
                  <a:gd name="T19" fmla="*/ 61 h 265"/>
                  <a:gd name="T20" fmla="*/ 80 w 471"/>
                  <a:gd name="T21" fmla="*/ 0 h 265"/>
                  <a:gd name="T22" fmla="*/ 27 w 471"/>
                  <a:gd name="T23" fmla="*/ 24 h 265"/>
                  <a:gd name="T24" fmla="*/ 3 w 471"/>
                  <a:gd name="T25" fmla="*/ 69 h 265"/>
                  <a:gd name="T26" fmla="*/ 21 w 471"/>
                  <a:gd name="T27" fmla="*/ 111 h 265"/>
                  <a:gd name="T28" fmla="*/ 5 w 471"/>
                  <a:gd name="T29" fmla="*/ 144 h 265"/>
                  <a:gd name="T30" fmla="*/ 16 w 471"/>
                  <a:gd name="T31" fmla="*/ 183 h 265"/>
                  <a:gd name="T32" fmla="*/ 49 w 471"/>
                  <a:gd name="T33" fmla="*/ 217 h 265"/>
                  <a:gd name="T34" fmla="*/ 62 w 471"/>
                  <a:gd name="T35" fmla="*/ 225 h 265"/>
                  <a:gd name="T36" fmla="*/ 62 w 471"/>
                  <a:gd name="T37" fmla="*/ 242 h 265"/>
                  <a:gd name="T38" fmla="*/ 86 w 471"/>
                  <a:gd name="T39" fmla="*/ 264 h 265"/>
                  <a:gd name="T40" fmla="*/ 118 w 471"/>
                  <a:gd name="T41" fmla="*/ 244 h 265"/>
                  <a:gd name="T42" fmla="*/ 132 w 471"/>
                  <a:gd name="T43" fmla="*/ 196 h 265"/>
                  <a:gd name="T44" fmla="*/ 235 w 471"/>
                  <a:gd name="T45" fmla="*/ 144 h 265"/>
                  <a:gd name="T46" fmla="*/ 282 w 471"/>
                  <a:gd name="T47" fmla="*/ 116 h 265"/>
                  <a:gd name="T48" fmla="*/ 373 w 471"/>
                  <a:gd name="T49" fmla="*/ 136 h 265"/>
                  <a:gd name="T50" fmla="*/ 471 w 471"/>
                  <a:gd name="T51" fmla="*/ 112 h 265"/>
                  <a:gd name="T52" fmla="*/ 374 w 471"/>
                  <a:gd name="T53" fmla="*/ 105 h 265"/>
                  <a:gd name="T54" fmla="*/ 79 w 471"/>
                  <a:gd name="T55" fmla="*/ 240 h 265"/>
                  <a:gd name="T56" fmla="*/ 109 w 471"/>
                  <a:gd name="T57" fmla="*/ 213 h 265"/>
                  <a:gd name="T58" fmla="*/ 79 w 471"/>
                  <a:gd name="T59" fmla="*/ 24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71" h="265">
                    <a:moveTo>
                      <a:pt x="374" y="105"/>
                    </a:moveTo>
                    <a:cubicBezTo>
                      <a:pt x="351" y="100"/>
                      <a:pt x="301" y="72"/>
                      <a:pt x="301" y="72"/>
                    </a:cubicBezTo>
                    <a:cubicBezTo>
                      <a:pt x="301" y="72"/>
                      <a:pt x="227" y="105"/>
                      <a:pt x="211" y="114"/>
                    </a:cubicBezTo>
                    <a:cubicBezTo>
                      <a:pt x="195" y="123"/>
                      <a:pt x="136" y="164"/>
                      <a:pt x="125" y="165"/>
                    </a:cubicBezTo>
                    <a:cubicBezTo>
                      <a:pt x="114" y="166"/>
                      <a:pt x="83" y="137"/>
                      <a:pt x="83" y="137"/>
                    </a:cubicBezTo>
                    <a:cubicBezTo>
                      <a:pt x="83" y="137"/>
                      <a:pt x="71" y="160"/>
                      <a:pt x="73" y="166"/>
                    </a:cubicBezTo>
                    <a:cubicBezTo>
                      <a:pt x="74" y="172"/>
                      <a:pt x="85" y="182"/>
                      <a:pt x="72" y="189"/>
                    </a:cubicBezTo>
                    <a:cubicBezTo>
                      <a:pt x="57" y="198"/>
                      <a:pt x="35" y="163"/>
                      <a:pt x="35" y="148"/>
                    </a:cubicBezTo>
                    <a:cubicBezTo>
                      <a:pt x="35" y="133"/>
                      <a:pt x="55" y="115"/>
                      <a:pt x="53" y="100"/>
                    </a:cubicBezTo>
                    <a:cubicBezTo>
                      <a:pt x="51" y="85"/>
                      <a:pt x="35" y="80"/>
                      <a:pt x="33" y="61"/>
                    </a:cubicBezTo>
                    <a:cubicBezTo>
                      <a:pt x="31" y="43"/>
                      <a:pt x="80" y="0"/>
                      <a:pt x="80" y="0"/>
                    </a:cubicBezTo>
                    <a:cubicBezTo>
                      <a:pt x="80" y="0"/>
                      <a:pt x="45" y="7"/>
                      <a:pt x="27" y="24"/>
                    </a:cubicBezTo>
                    <a:cubicBezTo>
                      <a:pt x="10" y="40"/>
                      <a:pt x="4" y="55"/>
                      <a:pt x="3" y="69"/>
                    </a:cubicBezTo>
                    <a:cubicBezTo>
                      <a:pt x="2" y="84"/>
                      <a:pt x="21" y="98"/>
                      <a:pt x="21" y="111"/>
                    </a:cubicBezTo>
                    <a:cubicBezTo>
                      <a:pt x="21" y="121"/>
                      <a:pt x="10" y="127"/>
                      <a:pt x="5" y="144"/>
                    </a:cubicBezTo>
                    <a:cubicBezTo>
                      <a:pt x="0" y="160"/>
                      <a:pt x="11" y="176"/>
                      <a:pt x="16" y="183"/>
                    </a:cubicBezTo>
                    <a:cubicBezTo>
                      <a:pt x="22" y="191"/>
                      <a:pt x="40" y="209"/>
                      <a:pt x="49" y="217"/>
                    </a:cubicBezTo>
                    <a:cubicBezTo>
                      <a:pt x="58" y="224"/>
                      <a:pt x="62" y="225"/>
                      <a:pt x="62" y="225"/>
                    </a:cubicBezTo>
                    <a:cubicBezTo>
                      <a:pt x="62" y="225"/>
                      <a:pt x="61" y="234"/>
                      <a:pt x="62" y="242"/>
                    </a:cubicBezTo>
                    <a:cubicBezTo>
                      <a:pt x="63" y="251"/>
                      <a:pt x="70" y="265"/>
                      <a:pt x="86" y="264"/>
                    </a:cubicBezTo>
                    <a:cubicBezTo>
                      <a:pt x="100" y="263"/>
                      <a:pt x="109" y="256"/>
                      <a:pt x="118" y="244"/>
                    </a:cubicBezTo>
                    <a:cubicBezTo>
                      <a:pt x="129" y="231"/>
                      <a:pt x="132" y="196"/>
                      <a:pt x="132" y="196"/>
                    </a:cubicBezTo>
                    <a:cubicBezTo>
                      <a:pt x="132" y="196"/>
                      <a:pt x="205" y="158"/>
                      <a:pt x="235" y="144"/>
                    </a:cubicBezTo>
                    <a:cubicBezTo>
                      <a:pt x="264" y="129"/>
                      <a:pt x="282" y="116"/>
                      <a:pt x="282" y="116"/>
                    </a:cubicBezTo>
                    <a:cubicBezTo>
                      <a:pt x="282" y="116"/>
                      <a:pt x="321" y="134"/>
                      <a:pt x="373" y="136"/>
                    </a:cubicBezTo>
                    <a:cubicBezTo>
                      <a:pt x="425" y="138"/>
                      <a:pt x="471" y="112"/>
                      <a:pt x="471" y="112"/>
                    </a:cubicBezTo>
                    <a:cubicBezTo>
                      <a:pt x="471" y="112"/>
                      <a:pt x="398" y="110"/>
                      <a:pt x="374" y="105"/>
                    </a:cubicBezTo>
                    <a:close/>
                    <a:moveTo>
                      <a:pt x="79" y="240"/>
                    </a:moveTo>
                    <a:cubicBezTo>
                      <a:pt x="68" y="225"/>
                      <a:pt x="100" y="199"/>
                      <a:pt x="109" y="213"/>
                    </a:cubicBezTo>
                    <a:cubicBezTo>
                      <a:pt x="116" y="227"/>
                      <a:pt x="89" y="252"/>
                      <a:pt x="79" y="2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7" name="Freeform 14">
                <a:extLst>
                  <a:ext uri="{FF2B5EF4-FFF2-40B4-BE49-F238E27FC236}">
                    <a16:creationId xmlns:a16="http://schemas.microsoft.com/office/drawing/2014/main" id="{BEF45F41-C2D3-A392-ED49-889C3D39E5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918" y="3810944"/>
                <a:ext cx="10859" cy="19909"/>
              </a:xfrm>
              <a:custGeom>
                <a:avLst/>
                <a:gdLst>
                  <a:gd name="T0" fmla="*/ 0 w 29"/>
                  <a:gd name="T1" fmla="*/ 0 h 50"/>
                  <a:gd name="T2" fmla="*/ 29 w 29"/>
                  <a:gd name="T3" fmla="*/ 36 h 50"/>
                  <a:gd name="T4" fmla="*/ 9 w 29"/>
                  <a:gd name="T5" fmla="*/ 44 h 50"/>
                  <a:gd name="T6" fmla="*/ 9 w 29"/>
                  <a:gd name="T7" fmla="*/ 27 h 50"/>
                  <a:gd name="T8" fmla="*/ 6 w 29"/>
                  <a:gd name="T9" fmla="*/ 15 h 50"/>
                  <a:gd name="T10" fmla="*/ 0 w 29"/>
                  <a:gd name="T1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50">
                    <a:moveTo>
                      <a:pt x="0" y="0"/>
                    </a:moveTo>
                    <a:cubicBezTo>
                      <a:pt x="13" y="20"/>
                      <a:pt x="29" y="23"/>
                      <a:pt x="29" y="36"/>
                    </a:cubicBezTo>
                    <a:cubicBezTo>
                      <a:pt x="28" y="43"/>
                      <a:pt x="17" y="50"/>
                      <a:pt x="9" y="44"/>
                    </a:cubicBezTo>
                    <a:cubicBezTo>
                      <a:pt x="0" y="38"/>
                      <a:pt x="9" y="27"/>
                      <a:pt x="9" y="27"/>
                    </a:cubicBezTo>
                    <a:cubicBezTo>
                      <a:pt x="9" y="27"/>
                      <a:pt x="9" y="23"/>
                      <a:pt x="6" y="15"/>
                    </a:cubicBezTo>
                    <a:cubicBezTo>
                      <a:pt x="3" y="6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" name="Freeform 15">
                <a:extLst>
                  <a:ext uri="{FF2B5EF4-FFF2-40B4-BE49-F238E27FC236}">
                    <a16:creationId xmlns:a16="http://schemas.microsoft.com/office/drawing/2014/main" id="{A02BFDA0-1B15-0431-DB87-BA83D106D0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8449" y="3991928"/>
                <a:ext cx="175555" cy="128499"/>
              </a:xfrm>
              <a:custGeom>
                <a:avLst/>
                <a:gdLst>
                  <a:gd name="T0" fmla="*/ 131 w 427"/>
                  <a:gd name="T1" fmla="*/ 32 h 315"/>
                  <a:gd name="T2" fmla="*/ 58 w 427"/>
                  <a:gd name="T3" fmla="*/ 32 h 315"/>
                  <a:gd name="T4" fmla="*/ 0 w 427"/>
                  <a:gd name="T5" fmla="*/ 315 h 315"/>
                  <a:gd name="T6" fmla="*/ 74 w 427"/>
                  <a:gd name="T7" fmla="*/ 315 h 315"/>
                  <a:gd name="T8" fmla="*/ 113 w 427"/>
                  <a:gd name="T9" fmla="*/ 122 h 315"/>
                  <a:gd name="T10" fmla="*/ 173 w 427"/>
                  <a:gd name="T11" fmla="*/ 101 h 315"/>
                  <a:gd name="T12" fmla="*/ 191 w 427"/>
                  <a:gd name="T13" fmla="*/ 121 h 315"/>
                  <a:gd name="T14" fmla="*/ 149 w 427"/>
                  <a:gd name="T15" fmla="*/ 313 h 315"/>
                  <a:gd name="T16" fmla="*/ 224 w 427"/>
                  <a:gd name="T17" fmla="*/ 313 h 315"/>
                  <a:gd name="T18" fmla="*/ 265 w 427"/>
                  <a:gd name="T19" fmla="*/ 127 h 315"/>
                  <a:gd name="T20" fmla="*/ 329 w 427"/>
                  <a:gd name="T21" fmla="*/ 103 h 315"/>
                  <a:gd name="T22" fmla="*/ 340 w 427"/>
                  <a:gd name="T23" fmla="*/ 127 h 315"/>
                  <a:gd name="T24" fmla="*/ 300 w 427"/>
                  <a:gd name="T25" fmla="*/ 313 h 315"/>
                  <a:gd name="T26" fmla="*/ 375 w 427"/>
                  <a:gd name="T27" fmla="*/ 313 h 315"/>
                  <a:gd name="T28" fmla="*/ 417 w 427"/>
                  <a:gd name="T29" fmla="*/ 106 h 315"/>
                  <a:gd name="T30" fmla="*/ 401 w 427"/>
                  <a:gd name="T31" fmla="*/ 45 h 315"/>
                  <a:gd name="T32" fmla="*/ 254 w 427"/>
                  <a:gd name="T33" fmla="*/ 58 h 315"/>
                  <a:gd name="T34" fmla="*/ 195 w 427"/>
                  <a:gd name="T35" fmla="*/ 28 h 315"/>
                  <a:gd name="T36" fmla="*/ 129 w 427"/>
                  <a:gd name="T37" fmla="*/ 49 h 315"/>
                  <a:gd name="T38" fmla="*/ 131 w 427"/>
                  <a:gd name="T39" fmla="*/ 3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7" h="315">
                    <a:moveTo>
                      <a:pt x="131" y="32"/>
                    </a:moveTo>
                    <a:lnTo>
                      <a:pt x="58" y="32"/>
                    </a:lnTo>
                    <a:lnTo>
                      <a:pt x="0" y="315"/>
                    </a:lnTo>
                    <a:lnTo>
                      <a:pt x="74" y="315"/>
                    </a:lnTo>
                    <a:lnTo>
                      <a:pt x="113" y="122"/>
                    </a:lnTo>
                    <a:cubicBezTo>
                      <a:pt x="139" y="110"/>
                      <a:pt x="142" y="101"/>
                      <a:pt x="173" y="101"/>
                    </a:cubicBezTo>
                    <a:cubicBezTo>
                      <a:pt x="197" y="101"/>
                      <a:pt x="191" y="121"/>
                      <a:pt x="191" y="121"/>
                    </a:cubicBezTo>
                    <a:lnTo>
                      <a:pt x="149" y="313"/>
                    </a:lnTo>
                    <a:lnTo>
                      <a:pt x="224" y="313"/>
                    </a:lnTo>
                    <a:lnTo>
                      <a:pt x="265" y="127"/>
                    </a:lnTo>
                    <a:cubicBezTo>
                      <a:pt x="270" y="121"/>
                      <a:pt x="310" y="101"/>
                      <a:pt x="329" y="103"/>
                    </a:cubicBezTo>
                    <a:cubicBezTo>
                      <a:pt x="347" y="105"/>
                      <a:pt x="340" y="127"/>
                      <a:pt x="340" y="127"/>
                    </a:cubicBezTo>
                    <a:lnTo>
                      <a:pt x="300" y="313"/>
                    </a:lnTo>
                    <a:lnTo>
                      <a:pt x="375" y="313"/>
                    </a:lnTo>
                    <a:lnTo>
                      <a:pt x="417" y="106"/>
                    </a:lnTo>
                    <a:cubicBezTo>
                      <a:pt x="417" y="106"/>
                      <a:pt x="427" y="65"/>
                      <a:pt x="401" y="45"/>
                    </a:cubicBezTo>
                    <a:cubicBezTo>
                      <a:pt x="344" y="0"/>
                      <a:pt x="265" y="57"/>
                      <a:pt x="254" y="58"/>
                    </a:cubicBezTo>
                    <a:cubicBezTo>
                      <a:pt x="252" y="55"/>
                      <a:pt x="237" y="31"/>
                      <a:pt x="195" y="28"/>
                    </a:cubicBezTo>
                    <a:cubicBezTo>
                      <a:pt x="165" y="25"/>
                      <a:pt x="129" y="49"/>
                      <a:pt x="129" y="49"/>
                    </a:cubicBezTo>
                    <a:lnTo>
                      <a:pt x="131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" name="Freeform 16">
                <a:extLst>
                  <a:ext uri="{FF2B5EF4-FFF2-40B4-BE49-F238E27FC236}">
                    <a16:creationId xmlns:a16="http://schemas.microsoft.com/office/drawing/2014/main" id="{014581AC-34E0-A0EA-9A7D-836F65F01A7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04993" y="4055271"/>
                <a:ext cx="57915" cy="76013"/>
              </a:xfrm>
              <a:custGeom>
                <a:avLst/>
                <a:gdLst>
                  <a:gd name="T0" fmla="*/ 32 w 142"/>
                  <a:gd name="T1" fmla="*/ 103 h 184"/>
                  <a:gd name="T2" fmla="*/ 32 w 142"/>
                  <a:gd name="T3" fmla="*/ 159 h 184"/>
                  <a:gd name="T4" fmla="*/ 82 w 142"/>
                  <a:gd name="T5" fmla="*/ 159 h 184"/>
                  <a:gd name="T6" fmla="*/ 110 w 142"/>
                  <a:gd name="T7" fmla="*/ 135 h 184"/>
                  <a:gd name="T8" fmla="*/ 101 w 142"/>
                  <a:gd name="T9" fmla="*/ 115 h 184"/>
                  <a:gd name="T10" fmla="*/ 90 w 142"/>
                  <a:gd name="T11" fmla="*/ 103 h 184"/>
                  <a:gd name="T12" fmla="*/ 32 w 142"/>
                  <a:gd name="T13" fmla="*/ 103 h 184"/>
                  <a:gd name="T14" fmla="*/ 79 w 142"/>
                  <a:gd name="T15" fmla="*/ 24 h 184"/>
                  <a:gd name="T16" fmla="*/ 32 w 142"/>
                  <a:gd name="T17" fmla="*/ 24 h 184"/>
                  <a:gd name="T18" fmla="*/ 32 w 142"/>
                  <a:gd name="T19" fmla="*/ 80 h 184"/>
                  <a:gd name="T20" fmla="*/ 89 w 142"/>
                  <a:gd name="T21" fmla="*/ 80 h 184"/>
                  <a:gd name="T22" fmla="*/ 97 w 142"/>
                  <a:gd name="T23" fmla="*/ 68 h 184"/>
                  <a:gd name="T24" fmla="*/ 104 w 142"/>
                  <a:gd name="T25" fmla="*/ 47 h 184"/>
                  <a:gd name="T26" fmla="*/ 79 w 142"/>
                  <a:gd name="T27" fmla="*/ 24 h 184"/>
                  <a:gd name="T28" fmla="*/ 21 w 142"/>
                  <a:gd name="T29" fmla="*/ 184 h 184"/>
                  <a:gd name="T30" fmla="*/ 0 w 142"/>
                  <a:gd name="T31" fmla="*/ 164 h 184"/>
                  <a:gd name="T32" fmla="*/ 0 w 142"/>
                  <a:gd name="T33" fmla="*/ 20 h 184"/>
                  <a:gd name="T34" fmla="*/ 21 w 142"/>
                  <a:gd name="T35" fmla="*/ 0 h 184"/>
                  <a:gd name="T36" fmla="*/ 83 w 142"/>
                  <a:gd name="T37" fmla="*/ 0 h 184"/>
                  <a:gd name="T38" fmla="*/ 135 w 142"/>
                  <a:gd name="T39" fmla="*/ 46 h 184"/>
                  <a:gd name="T40" fmla="*/ 124 w 142"/>
                  <a:gd name="T41" fmla="*/ 78 h 184"/>
                  <a:gd name="T42" fmla="*/ 115 w 142"/>
                  <a:gd name="T43" fmla="*/ 90 h 184"/>
                  <a:gd name="T44" fmla="*/ 127 w 142"/>
                  <a:gd name="T45" fmla="*/ 102 h 184"/>
                  <a:gd name="T46" fmla="*/ 142 w 142"/>
                  <a:gd name="T47" fmla="*/ 136 h 184"/>
                  <a:gd name="T48" fmla="*/ 84 w 142"/>
                  <a:gd name="T49" fmla="*/ 184 h 184"/>
                  <a:gd name="T50" fmla="*/ 21 w 142"/>
                  <a:gd name="T51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2" h="184">
                    <a:moveTo>
                      <a:pt x="32" y="103"/>
                    </a:moveTo>
                    <a:lnTo>
                      <a:pt x="32" y="159"/>
                    </a:lnTo>
                    <a:lnTo>
                      <a:pt x="82" y="159"/>
                    </a:lnTo>
                    <a:cubicBezTo>
                      <a:pt x="100" y="159"/>
                      <a:pt x="110" y="150"/>
                      <a:pt x="110" y="135"/>
                    </a:cubicBezTo>
                    <a:cubicBezTo>
                      <a:pt x="110" y="128"/>
                      <a:pt x="107" y="121"/>
                      <a:pt x="101" y="115"/>
                    </a:cubicBezTo>
                    <a:lnTo>
                      <a:pt x="90" y="103"/>
                    </a:lnTo>
                    <a:lnTo>
                      <a:pt x="32" y="103"/>
                    </a:lnTo>
                    <a:close/>
                    <a:moveTo>
                      <a:pt x="79" y="24"/>
                    </a:moveTo>
                    <a:lnTo>
                      <a:pt x="32" y="24"/>
                    </a:lnTo>
                    <a:lnTo>
                      <a:pt x="32" y="80"/>
                    </a:lnTo>
                    <a:lnTo>
                      <a:pt x="89" y="80"/>
                    </a:lnTo>
                    <a:lnTo>
                      <a:pt x="97" y="68"/>
                    </a:lnTo>
                    <a:cubicBezTo>
                      <a:pt x="102" y="62"/>
                      <a:pt x="104" y="55"/>
                      <a:pt x="104" y="47"/>
                    </a:cubicBezTo>
                    <a:cubicBezTo>
                      <a:pt x="104" y="34"/>
                      <a:pt x="97" y="24"/>
                      <a:pt x="79" y="24"/>
                    </a:cubicBezTo>
                    <a:close/>
                    <a:moveTo>
                      <a:pt x="21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20"/>
                    </a:lnTo>
                    <a:cubicBezTo>
                      <a:pt x="0" y="8"/>
                      <a:pt x="8" y="0"/>
                      <a:pt x="21" y="0"/>
                    </a:cubicBezTo>
                    <a:lnTo>
                      <a:pt x="83" y="0"/>
                    </a:lnTo>
                    <a:cubicBezTo>
                      <a:pt x="116" y="0"/>
                      <a:pt x="135" y="15"/>
                      <a:pt x="135" y="46"/>
                    </a:cubicBezTo>
                    <a:cubicBezTo>
                      <a:pt x="135" y="58"/>
                      <a:pt x="131" y="69"/>
                      <a:pt x="124" y="78"/>
                    </a:cubicBezTo>
                    <a:lnTo>
                      <a:pt x="115" y="90"/>
                    </a:lnTo>
                    <a:lnTo>
                      <a:pt x="127" y="102"/>
                    </a:lnTo>
                    <a:cubicBezTo>
                      <a:pt x="136" y="111"/>
                      <a:pt x="142" y="123"/>
                      <a:pt x="142" y="136"/>
                    </a:cubicBezTo>
                    <a:cubicBezTo>
                      <a:pt x="142" y="166"/>
                      <a:pt x="121" y="184"/>
                      <a:pt x="84" y="184"/>
                    </a:cubicBezTo>
                    <a:lnTo>
                      <a:pt x="21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17">
                <a:extLst>
                  <a:ext uri="{FF2B5EF4-FFF2-40B4-BE49-F238E27FC236}">
                    <a16:creationId xmlns:a16="http://schemas.microsoft.com/office/drawing/2014/main" id="{69624B74-B9F6-1417-B0E5-39C5B840D9C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71956" y="4075180"/>
                <a:ext cx="52486" cy="56105"/>
              </a:xfrm>
              <a:custGeom>
                <a:avLst/>
                <a:gdLst>
                  <a:gd name="T0" fmla="*/ 65 w 130"/>
                  <a:gd name="T1" fmla="*/ 22 h 138"/>
                  <a:gd name="T2" fmla="*/ 30 w 130"/>
                  <a:gd name="T3" fmla="*/ 69 h 138"/>
                  <a:gd name="T4" fmla="*/ 66 w 130"/>
                  <a:gd name="T5" fmla="*/ 116 h 138"/>
                  <a:gd name="T6" fmla="*/ 102 w 130"/>
                  <a:gd name="T7" fmla="*/ 69 h 138"/>
                  <a:gd name="T8" fmla="*/ 65 w 130"/>
                  <a:gd name="T9" fmla="*/ 22 h 138"/>
                  <a:gd name="T10" fmla="*/ 65 w 130"/>
                  <a:gd name="T11" fmla="*/ 138 h 138"/>
                  <a:gd name="T12" fmla="*/ 0 w 130"/>
                  <a:gd name="T13" fmla="*/ 69 h 138"/>
                  <a:gd name="T14" fmla="*/ 66 w 130"/>
                  <a:gd name="T15" fmla="*/ 0 h 138"/>
                  <a:gd name="T16" fmla="*/ 130 w 130"/>
                  <a:gd name="T17" fmla="*/ 69 h 138"/>
                  <a:gd name="T18" fmla="*/ 65 w 130"/>
                  <a:gd name="T1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8">
                    <a:moveTo>
                      <a:pt x="65" y="22"/>
                    </a:moveTo>
                    <a:cubicBezTo>
                      <a:pt x="41" y="22"/>
                      <a:pt x="30" y="39"/>
                      <a:pt x="30" y="69"/>
                    </a:cubicBezTo>
                    <a:cubicBezTo>
                      <a:pt x="30" y="100"/>
                      <a:pt x="42" y="116"/>
                      <a:pt x="66" y="116"/>
                    </a:cubicBezTo>
                    <a:cubicBezTo>
                      <a:pt x="89" y="116"/>
                      <a:pt x="102" y="100"/>
                      <a:pt x="102" y="69"/>
                    </a:cubicBezTo>
                    <a:cubicBezTo>
                      <a:pt x="102" y="39"/>
                      <a:pt x="88" y="22"/>
                      <a:pt x="65" y="22"/>
                    </a:cubicBezTo>
                    <a:close/>
                    <a:moveTo>
                      <a:pt x="65" y="138"/>
                    </a:moveTo>
                    <a:cubicBezTo>
                      <a:pt x="25" y="138"/>
                      <a:pt x="0" y="113"/>
                      <a:pt x="0" y="69"/>
                    </a:cubicBezTo>
                    <a:cubicBezTo>
                      <a:pt x="0" y="25"/>
                      <a:pt x="26" y="0"/>
                      <a:pt x="66" y="0"/>
                    </a:cubicBezTo>
                    <a:cubicBezTo>
                      <a:pt x="106" y="0"/>
                      <a:pt x="130" y="25"/>
                      <a:pt x="130" y="69"/>
                    </a:cubicBezTo>
                    <a:cubicBezTo>
                      <a:pt x="130" y="113"/>
                      <a:pt x="105" y="138"/>
                      <a:pt x="65" y="1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" name="Freeform 18">
                <a:extLst>
                  <a:ext uri="{FF2B5EF4-FFF2-40B4-BE49-F238E27FC236}">
                    <a16:creationId xmlns:a16="http://schemas.microsoft.com/office/drawing/2014/main" id="{0F401AF3-903D-528B-0D96-E49DFA1508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29871" y="4062511"/>
                <a:ext cx="39816" cy="68774"/>
              </a:xfrm>
              <a:custGeom>
                <a:avLst/>
                <a:gdLst>
                  <a:gd name="T0" fmla="*/ 95 w 95"/>
                  <a:gd name="T1" fmla="*/ 165 h 170"/>
                  <a:gd name="T2" fmla="*/ 63 w 95"/>
                  <a:gd name="T3" fmla="*/ 170 h 170"/>
                  <a:gd name="T4" fmla="*/ 20 w 95"/>
                  <a:gd name="T5" fmla="*/ 123 h 170"/>
                  <a:gd name="T6" fmla="*/ 20 w 95"/>
                  <a:gd name="T7" fmla="*/ 58 h 170"/>
                  <a:gd name="T8" fmla="*/ 0 w 95"/>
                  <a:gd name="T9" fmla="*/ 58 h 170"/>
                  <a:gd name="T10" fmla="*/ 0 w 95"/>
                  <a:gd name="T11" fmla="*/ 35 h 170"/>
                  <a:gd name="T12" fmla="*/ 20 w 95"/>
                  <a:gd name="T13" fmla="*/ 35 h 170"/>
                  <a:gd name="T14" fmla="*/ 20 w 95"/>
                  <a:gd name="T15" fmla="*/ 5 h 170"/>
                  <a:gd name="T16" fmla="*/ 48 w 95"/>
                  <a:gd name="T17" fmla="*/ 0 h 170"/>
                  <a:gd name="T18" fmla="*/ 48 w 95"/>
                  <a:gd name="T19" fmla="*/ 35 h 170"/>
                  <a:gd name="T20" fmla="*/ 91 w 95"/>
                  <a:gd name="T21" fmla="*/ 35 h 170"/>
                  <a:gd name="T22" fmla="*/ 91 w 95"/>
                  <a:gd name="T23" fmla="*/ 58 h 170"/>
                  <a:gd name="T24" fmla="*/ 48 w 95"/>
                  <a:gd name="T25" fmla="*/ 58 h 170"/>
                  <a:gd name="T26" fmla="*/ 48 w 95"/>
                  <a:gd name="T27" fmla="*/ 124 h 170"/>
                  <a:gd name="T28" fmla="*/ 67 w 95"/>
                  <a:gd name="T29" fmla="*/ 147 h 170"/>
                  <a:gd name="T30" fmla="*/ 91 w 95"/>
                  <a:gd name="T31" fmla="*/ 143 h 170"/>
                  <a:gd name="T32" fmla="*/ 95 w 95"/>
                  <a:gd name="T33" fmla="*/ 16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70">
                    <a:moveTo>
                      <a:pt x="95" y="165"/>
                    </a:moveTo>
                    <a:cubicBezTo>
                      <a:pt x="81" y="169"/>
                      <a:pt x="72" y="170"/>
                      <a:pt x="63" y="170"/>
                    </a:cubicBezTo>
                    <a:cubicBezTo>
                      <a:pt x="34" y="170"/>
                      <a:pt x="20" y="154"/>
                      <a:pt x="20" y="123"/>
                    </a:cubicBezTo>
                    <a:lnTo>
                      <a:pt x="20" y="58"/>
                    </a:lnTo>
                    <a:lnTo>
                      <a:pt x="0" y="58"/>
                    </a:lnTo>
                    <a:lnTo>
                      <a:pt x="0" y="35"/>
                    </a:lnTo>
                    <a:lnTo>
                      <a:pt x="20" y="35"/>
                    </a:lnTo>
                    <a:lnTo>
                      <a:pt x="20" y="5"/>
                    </a:lnTo>
                    <a:lnTo>
                      <a:pt x="48" y="0"/>
                    </a:lnTo>
                    <a:lnTo>
                      <a:pt x="48" y="35"/>
                    </a:lnTo>
                    <a:lnTo>
                      <a:pt x="91" y="35"/>
                    </a:lnTo>
                    <a:lnTo>
                      <a:pt x="91" y="58"/>
                    </a:lnTo>
                    <a:lnTo>
                      <a:pt x="48" y="58"/>
                    </a:lnTo>
                    <a:lnTo>
                      <a:pt x="48" y="124"/>
                    </a:lnTo>
                    <a:cubicBezTo>
                      <a:pt x="48" y="138"/>
                      <a:pt x="53" y="147"/>
                      <a:pt x="67" y="147"/>
                    </a:cubicBezTo>
                    <a:cubicBezTo>
                      <a:pt x="73" y="147"/>
                      <a:pt x="81" y="145"/>
                      <a:pt x="91" y="143"/>
                    </a:cubicBezTo>
                    <a:lnTo>
                      <a:pt x="95" y="1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2" name="Freeform 19">
                <a:extLst>
                  <a:ext uri="{FF2B5EF4-FFF2-40B4-BE49-F238E27FC236}">
                    <a16:creationId xmlns:a16="http://schemas.microsoft.com/office/drawing/2014/main" id="{FB920B78-C48E-5437-4452-9042EB0CCB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76927" y="4075180"/>
                <a:ext cx="45246" cy="56105"/>
              </a:xfrm>
              <a:custGeom>
                <a:avLst/>
                <a:gdLst>
                  <a:gd name="T0" fmla="*/ 72 w 110"/>
                  <a:gd name="T1" fmla="*/ 60 h 138"/>
                  <a:gd name="T2" fmla="*/ 110 w 110"/>
                  <a:gd name="T3" fmla="*/ 97 h 138"/>
                  <a:gd name="T4" fmla="*/ 60 w 110"/>
                  <a:gd name="T5" fmla="*/ 138 h 138"/>
                  <a:gd name="T6" fmla="*/ 11 w 110"/>
                  <a:gd name="T7" fmla="*/ 130 h 138"/>
                  <a:gd name="T8" fmla="*/ 0 w 110"/>
                  <a:gd name="T9" fmla="*/ 127 h 138"/>
                  <a:gd name="T10" fmla="*/ 4 w 110"/>
                  <a:gd name="T11" fmla="*/ 104 h 138"/>
                  <a:gd name="T12" fmla="*/ 16 w 110"/>
                  <a:gd name="T13" fmla="*/ 107 h 138"/>
                  <a:gd name="T14" fmla="*/ 59 w 110"/>
                  <a:gd name="T15" fmla="*/ 115 h 138"/>
                  <a:gd name="T16" fmla="*/ 82 w 110"/>
                  <a:gd name="T17" fmla="*/ 98 h 138"/>
                  <a:gd name="T18" fmla="*/ 63 w 110"/>
                  <a:gd name="T19" fmla="*/ 83 h 138"/>
                  <a:gd name="T20" fmla="*/ 38 w 110"/>
                  <a:gd name="T21" fmla="*/ 78 h 138"/>
                  <a:gd name="T22" fmla="*/ 0 w 110"/>
                  <a:gd name="T23" fmla="*/ 41 h 138"/>
                  <a:gd name="T24" fmla="*/ 50 w 110"/>
                  <a:gd name="T25" fmla="*/ 0 h 138"/>
                  <a:gd name="T26" fmla="*/ 99 w 110"/>
                  <a:gd name="T27" fmla="*/ 8 h 138"/>
                  <a:gd name="T28" fmla="*/ 110 w 110"/>
                  <a:gd name="T29" fmla="*/ 12 h 138"/>
                  <a:gd name="T30" fmla="*/ 106 w 110"/>
                  <a:gd name="T31" fmla="*/ 35 h 138"/>
                  <a:gd name="T32" fmla="*/ 94 w 110"/>
                  <a:gd name="T33" fmla="*/ 31 h 138"/>
                  <a:gd name="T34" fmla="*/ 51 w 110"/>
                  <a:gd name="T35" fmla="*/ 23 h 138"/>
                  <a:gd name="T36" fmla="*/ 28 w 110"/>
                  <a:gd name="T37" fmla="*/ 40 h 138"/>
                  <a:gd name="T38" fmla="*/ 47 w 110"/>
                  <a:gd name="T39" fmla="*/ 56 h 138"/>
                  <a:gd name="T40" fmla="*/ 72 w 110"/>
                  <a:gd name="T41" fmla="*/ 6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0" h="138">
                    <a:moveTo>
                      <a:pt x="72" y="60"/>
                    </a:moveTo>
                    <a:cubicBezTo>
                      <a:pt x="96" y="64"/>
                      <a:pt x="110" y="76"/>
                      <a:pt x="110" y="97"/>
                    </a:cubicBezTo>
                    <a:cubicBezTo>
                      <a:pt x="110" y="125"/>
                      <a:pt x="87" y="138"/>
                      <a:pt x="60" y="138"/>
                    </a:cubicBezTo>
                    <a:cubicBezTo>
                      <a:pt x="42" y="138"/>
                      <a:pt x="28" y="136"/>
                      <a:pt x="11" y="130"/>
                    </a:cubicBezTo>
                    <a:lnTo>
                      <a:pt x="0" y="127"/>
                    </a:lnTo>
                    <a:lnTo>
                      <a:pt x="4" y="104"/>
                    </a:lnTo>
                    <a:lnTo>
                      <a:pt x="16" y="107"/>
                    </a:lnTo>
                    <a:cubicBezTo>
                      <a:pt x="30" y="112"/>
                      <a:pt x="45" y="115"/>
                      <a:pt x="59" y="115"/>
                    </a:cubicBezTo>
                    <a:cubicBezTo>
                      <a:pt x="72" y="115"/>
                      <a:pt x="82" y="111"/>
                      <a:pt x="82" y="98"/>
                    </a:cubicBezTo>
                    <a:cubicBezTo>
                      <a:pt x="82" y="90"/>
                      <a:pt x="77" y="85"/>
                      <a:pt x="63" y="83"/>
                    </a:cubicBezTo>
                    <a:lnTo>
                      <a:pt x="38" y="78"/>
                    </a:lnTo>
                    <a:cubicBezTo>
                      <a:pt x="13" y="74"/>
                      <a:pt x="0" y="62"/>
                      <a:pt x="0" y="41"/>
                    </a:cubicBezTo>
                    <a:cubicBezTo>
                      <a:pt x="0" y="14"/>
                      <a:pt x="23" y="0"/>
                      <a:pt x="50" y="0"/>
                    </a:cubicBezTo>
                    <a:cubicBezTo>
                      <a:pt x="68" y="0"/>
                      <a:pt x="82" y="3"/>
                      <a:pt x="99" y="8"/>
                    </a:cubicBezTo>
                    <a:lnTo>
                      <a:pt x="110" y="12"/>
                    </a:lnTo>
                    <a:lnTo>
                      <a:pt x="106" y="35"/>
                    </a:lnTo>
                    <a:lnTo>
                      <a:pt x="94" y="31"/>
                    </a:lnTo>
                    <a:cubicBezTo>
                      <a:pt x="79" y="27"/>
                      <a:pt x="65" y="23"/>
                      <a:pt x="51" y="23"/>
                    </a:cubicBezTo>
                    <a:cubicBezTo>
                      <a:pt x="38" y="23"/>
                      <a:pt x="28" y="28"/>
                      <a:pt x="28" y="40"/>
                    </a:cubicBezTo>
                    <a:cubicBezTo>
                      <a:pt x="28" y="49"/>
                      <a:pt x="33" y="54"/>
                      <a:pt x="47" y="56"/>
                    </a:cubicBezTo>
                    <a:lnTo>
                      <a:pt x="72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" name="Freeform 20">
                <a:extLst>
                  <a:ext uri="{FF2B5EF4-FFF2-40B4-BE49-F238E27FC236}">
                    <a16:creationId xmlns:a16="http://schemas.microsoft.com/office/drawing/2014/main" id="{E39DB31C-E74E-E1A4-0DF5-16427C411D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29413" y="4075180"/>
                <a:ext cx="76013" cy="57915"/>
              </a:xfrm>
              <a:custGeom>
                <a:avLst/>
                <a:gdLst>
                  <a:gd name="T0" fmla="*/ 160 w 186"/>
                  <a:gd name="T1" fmla="*/ 123 h 138"/>
                  <a:gd name="T2" fmla="*/ 140 w 186"/>
                  <a:gd name="T3" fmla="*/ 138 h 138"/>
                  <a:gd name="T4" fmla="*/ 119 w 186"/>
                  <a:gd name="T5" fmla="*/ 124 h 138"/>
                  <a:gd name="T6" fmla="*/ 93 w 186"/>
                  <a:gd name="T7" fmla="*/ 42 h 138"/>
                  <a:gd name="T8" fmla="*/ 66 w 186"/>
                  <a:gd name="T9" fmla="*/ 124 h 138"/>
                  <a:gd name="T10" fmla="*/ 45 w 186"/>
                  <a:gd name="T11" fmla="*/ 138 h 138"/>
                  <a:gd name="T12" fmla="*/ 25 w 186"/>
                  <a:gd name="T13" fmla="*/ 123 h 138"/>
                  <a:gd name="T14" fmla="*/ 0 w 186"/>
                  <a:gd name="T15" fmla="*/ 1 h 138"/>
                  <a:gd name="T16" fmla="*/ 30 w 186"/>
                  <a:gd name="T17" fmla="*/ 1 h 138"/>
                  <a:gd name="T18" fmla="*/ 48 w 186"/>
                  <a:gd name="T19" fmla="*/ 105 h 138"/>
                  <a:gd name="T20" fmla="*/ 77 w 186"/>
                  <a:gd name="T21" fmla="*/ 11 h 138"/>
                  <a:gd name="T22" fmla="*/ 93 w 186"/>
                  <a:gd name="T23" fmla="*/ 0 h 138"/>
                  <a:gd name="T24" fmla="*/ 110 w 186"/>
                  <a:gd name="T25" fmla="*/ 11 h 138"/>
                  <a:gd name="T26" fmla="*/ 139 w 186"/>
                  <a:gd name="T27" fmla="*/ 105 h 138"/>
                  <a:gd name="T28" fmla="*/ 157 w 186"/>
                  <a:gd name="T29" fmla="*/ 1 h 138"/>
                  <a:gd name="T30" fmla="*/ 186 w 186"/>
                  <a:gd name="T31" fmla="*/ 1 h 138"/>
                  <a:gd name="T32" fmla="*/ 160 w 186"/>
                  <a:gd name="T33" fmla="*/ 123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6" h="138">
                    <a:moveTo>
                      <a:pt x="160" y="123"/>
                    </a:moveTo>
                    <a:cubicBezTo>
                      <a:pt x="158" y="132"/>
                      <a:pt x="150" y="138"/>
                      <a:pt x="140" y="138"/>
                    </a:cubicBezTo>
                    <a:cubicBezTo>
                      <a:pt x="127" y="138"/>
                      <a:pt x="122" y="133"/>
                      <a:pt x="119" y="124"/>
                    </a:cubicBezTo>
                    <a:lnTo>
                      <a:pt x="93" y="42"/>
                    </a:lnTo>
                    <a:lnTo>
                      <a:pt x="66" y="124"/>
                    </a:lnTo>
                    <a:cubicBezTo>
                      <a:pt x="63" y="134"/>
                      <a:pt x="56" y="138"/>
                      <a:pt x="45" y="138"/>
                    </a:cubicBezTo>
                    <a:cubicBezTo>
                      <a:pt x="34" y="138"/>
                      <a:pt x="27" y="133"/>
                      <a:pt x="25" y="123"/>
                    </a:cubicBezTo>
                    <a:lnTo>
                      <a:pt x="0" y="1"/>
                    </a:lnTo>
                    <a:lnTo>
                      <a:pt x="30" y="1"/>
                    </a:lnTo>
                    <a:lnTo>
                      <a:pt x="48" y="105"/>
                    </a:lnTo>
                    <a:lnTo>
                      <a:pt x="77" y="11"/>
                    </a:lnTo>
                    <a:cubicBezTo>
                      <a:pt x="79" y="4"/>
                      <a:pt x="85" y="0"/>
                      <a:pt x="93" y="0"/>
                    </a:cubicBezTo>
                    <a:cubicBezTo>
                      <a:pt x="102" y="0"/>
                      <a:pt x="107" y="4"/>
                      <a:pt x="110" y="11"/>
                    </a:cubicBezTo>
                    <a:lnTo>
                      <a:pt x="139" y="105"/>
                    </a:lnTo>
                    <a:lnTo>
                      <a:pt x="157" y="1"/>
                    </a:lnTo>
                    <a:lnTo>
                      <a:pt x="186" y="1"/>
                    </a:lnTo>
                    <a:lnTo>
                      <a:pt x="160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" name="Freeform 21">
                <a:extLst>
                  <a:ext uri="{FF2B5EF4-FFF2-40B4-BE49-F238E27FC236}">
                    <a16:creationId xmlns:a16="http://schemas.microsoft.com/office/drawing/2014/main" id="{C221F4F9-83AE-4628-04E4-42938127B44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10855" y="4075180"/>
                <a:ext cx="54295" cy="57915"/>
              </a:xfrm>
              <a:custGeom>
                <a:avLst/>
                <a:gdLst>
                  <a:gd name="T0" fmla="*/ 90 w 132"/>
                  <a:gd name="T1" fmla="*/ 79 h 139"/>
                  <a:gd name="T2" fmla="*/ 57 w 132"/>
                  <a:gd name="T3" fmla="*/ 79 h 139"/>
                  <a:gd name="T4" fmla="*/ 29 w 132"/>
                  <a:gd name="T5" fmla="*/ 99 h 139"/>
                  <a:gd name="T6" fmla="*/ 52 w 132"/>
                  <a:gd name="T7" fmla="*/ 117 h 139"/>
                  <a:gd name="T8" fmla="*/ 78 w 132"/>
                  <a:gd name="T9" fmla="*/ 113 h 139"/>
                  <a:gd name="T10" fmla="*/ 90 w 132"/>
                  <a:gd name="T11" fmla="*/ 110 h 139"/>
                  <a:gd name="T12" fmla="*/ 90 w 132"/>
                  <a:gd name="T13" fmla="*/ 79 h 139"/>
                  <a:gd name="T14" fmla="*/ 122 w 132"/>
                  <a:gd name="T15" fmla="*/ 139 h 139"/>
                  <a:gd name="T16" fmla="*/ 110 w 132"/>
                  <a:gd name="T17" fmla="*/ 133 h 139"/>
                  <a:gd name="T18" fmla="*/ 91 w 132"/>
                  <a:gd name="T19" fmla="*/ 131 h 139"/>
                  <a:gd name="T20" fmla="*/ 82 w 132"/>
                  <a:gd name="T21" fmla="*/ 133 h 139"/>
                  <a:gd name="T22" fmla="*/ 47 w 132"/>
                  <a:gd name="T23" fmla="*/ 138 h 139"/>
                  <a:gd name="T24" fmla="*/ 0 w 132"/>
                  <a:gd name="T25" fmla="*/ 100 h 139"/>
                  <a:gd name="T26" fmla="*/ 61 w 132"/>
                  <a:gd name="T27" fmla="*/ 58 h 139"/>
                  <a:gd name="T28" fmla="*/ 90 w 132"/>
                  <a:gd name="T29" fmla="*/ 58 h 139"/>
                  <a:gd name="T30" fmla="*/ 90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7 w 132"/>
                  <a:gd name="T45" fmla="*/ 46 h 139"/>
                  <a:gd name="T46" fmla="*/ 117 w 132"/>
                  <a:gd name="T47" fmla="*/ 111 h 139"/>
                  <a:gd name="T48" fmla="*/ 132 w 132"/>
                  <a:gd name="T49" fmla="*/ 120 h 139"/>
                  <a:gd name="T50" fmla="*/ 122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90" y="79"/>
                    </a:moveTo>
                    <a:lnTo>
                      <a:pt x="57" y="79"/>
                    </a:lnTo>
                    <a:cubicBezTo>
                      <a:pt x="39" y="79"/>
                      <a:pt x="29" y="84"/>
                      <a:pt x="29" y="99"/>
                    </a:cubicBezTo>
                    <a:cubicBezTo>
                      <a:pt x="29" y="111"/>
                      <a:pt x="37" y="117"/>
                      <a:pt x="52" y="117"/>
                    </a:cubicBezTo>
                    <a:cubicBezTo>
                      <a:pt x="58" y="117"/>
                      <a:pt x="68" y="115"/>
                      <a:pt x="78" y="113"/>
                    </a:cubicBezTo>
                    <a:lnTo>
                      <a:pt x="90" y="110"/>
                    </a:lnTo>
                    <a:lnTo>
                      <a:pt x="90" y="79"/>
                    </a:lnTo>
                    <a:close/>
                    <a:moveTo>
                      <a:pt x="122" y="139"/>
                    </a:moveTo>
                    <a:lnTo>
                      <a:pt x="110" y="133"/>
                    </a:lnTo>
                    <a:cubicBezTo>
                      <a:pt x="104" y="130"/>
                      <a:pt x="98" y="129"/>
                      <a:pt x="91" y="131"/>
                    </a:cubicBezTo>
                    <a:lnTo>
                      <a:pt x="82" y="133"/>
                    </a:lnTo>
                    <a:cubicBezTo>
                      <a:pt x="71" y="136"/>
                      <a:pt x="57" y="138"/>
                      <a:pt x="47" y="138"/>
                    </a:cubicBezTo>
                    <a:cubicBezTo>
                      <a:pt x="18" y="138"/>
                      <a:pt x="0" y="124"/>
                      <a:pt x="0" y="100"/>
                    </a:cubicBezTo>
                    <a:cubicBezTo>
                      <a:pt x="0" y="66"/>
                      <a:pt x="29" y="58"/>
                      <a:pt x="61" y="58"/>
                    </a:cubicBezTo>
                    <a:lnTo>
                      <a:pt x="90" y="58"/>
                    </a:lnTo>
                    <a:lnTo>
                      <a:pt x="90" y="47"/>
                    </a:lnTo>
                    <a:cubicBezTo>
                      <a:pt x="90" y="30"/>
                      <a:pt x="79" y="24"/>
                      <a:pt x="63" y="24"/>
                    </a:cubicBezTo>
                    <a:cubicBezTo>
                      <a:pt x="52" y="24"/>
                      <a:pt x="37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5" y="3"/>
                      <a:pt x="50" y="0"/>
                      <a:pt x="65" y="0"/>
                    </a:cubicBezTo>
                    <a:cubicBezTo>
                      <a:pt x="95" y="0"/>
                      <a:pt x="117" y="13"/>
                      <a:pt x="117" y="46"/>
                    </a:cubicBezTo>
                    <a:lnTo>
                      <a:pt x="117" y="111"/>
                    </a:lnTo>
                    <a:lnTo>
                      <a:pt x="132" y="120"/>
                    </a:lnTo>
                    <a:lnTo>
                      <a:pt x="122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5" name="Freeform 22">
                <a:extLst>
                  <a:ext uri="{FF2B5EF4-FFF2-40B4-BE49-F238E27FC236}">
                    <a16:creationId xmlns:a16="http://schemas.microsoft.com/office/drawing/2014/main" id="{4062CD09-5F87-D0B3-2F52-A58BF33486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4199" y="4075180"/>
                <a:ext cx="45246" cy="56105"/>
              </a:xfrm>
              <a:custGeom>
                <a:avLst/>
                <a:gdLst>
                  <a:gd name="T0" fmla="*/ 28 w 113"/>
                  <a:gd name="T1" fmla="*/ 136 h 136"/>
                  <a:gd name="T2" fmla="*/ 0 w 113"/>
                  <a:gd name="T3" fmla="*/ 136 h 136"/>
                  <a:gd name="T4" fmla="*/ 0 w 113"/>
                  <a:gd name="T5" fmla="*/ 26 h 136"/>
                  <a:gd name="T6" fmla="*/ 16 w 113"/>
                  <a:gd name="T7" fmla="*/ 6 h 136"/>
                  <a:gd name="T8" fmla="*/ 59 w 113"/>
                  <a:gd name="T9" fmla="*/ 0 h 136"/>
                  <a:gd name="T10" fmla="*/ 113 w 113"/>
                  <a:gd name="T11" fmla="*/ 48 h 136"/>
                  <a:gd name="T12" fmla="*/ 113 w 113"/>
                  <a:gd name="T13" fmla="*/ 136 h 136"/>
                  <a:gd name="T14" fmla="*/ 84 w 113"/>
                  <a:gd name="T15" fmla="*/ 136 h 136"/>
                  <a:gd name="T16" fmla="*/ 84 w 113"/>
                  <a:gd name="T17" fmla="*/ 51 h 136"/>
                  <a:gd name="T18" fmla="*/ 58 w 113"/>
                  <a:gd name="T19" fmla="*/ 24 h 136"/>
                  <a:gd name="T20" fmla="*/ 28 w 113"/>
                  <a:gd name="T21" fmla="*/ 29 h 136"/>
                  <a:gd name="T22" fmla="*/ 28 w 113"/>
                  <a:gd name="T2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3" h="136">
                    <a:moveTo>
                      <a:pt x="28" y="136"/>
                    </a:moveTo>
                    <a:lnTo>
                      <a:pt x="0" y="136"/>
                    </a:lnTo>
                    <a:lnTo>
                      <a:pt x="0" y="26"/>
                    </a:lnTo>
                    <a:cubicBezTo>
                      <a:pt x="0" y="15"/>
                      <a:pt x="5" y="9"/>
                      <a:pt x="16" y="6"/>
                    </a:cubicBezTo>
                    <a:cubicBezTo>
                      <a:pt x="36" y="1"/>
                      <a:pt x="49" y="0"/>
                      <a:pt x="59" y="0"/>
                    </a:cubicBezTo>
                    <a:cubicBezTo>
                      <a:pt x="98" y="0"/>
                      <a:pt x="113" y="20"/>
                      <a:pt x="113" y="48"/>
                    </a:cubicBezTo>
                    <a:lnTo>
                      <a:pt x="113" y="136"/>
                    </a:lnTo>
                    <a:lnTo>
                      <a:pt x="84" y="136"/>
                    </a:lnTo>
                    <a:lnTo>
                      <a:pt x="84" y="51"/>
                    </a:lnTo>
                    <a:cubicBezTo>
                      <a:pt x="84" y="36"/>
                      <a:pt x="78" y="24"/>
                      <a:pt x="58" y="24"/>
                    </a:cubicBezTo>
                    <a:cubicBezTo>
                      <a:pt x="51" y="24"/>
                      <a:pt x="44" y="25"/>
                      <a:pt x="28" y="29"/>
                    </a:cubicBezTo>
                    <a:lnTo>
                      <a:pt x="2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6" name="Freeform 23">
                <a:extLst>
                  <a:ext uri="{FF2B5EF4-FFF2-40B4-BE49-F238E27FC236}">
                    <a16:creationId xmlns:a16="http://schemas.microsoft.com/office/drawing/2014/main" id="{0E777941-0ADC-82CE-74EA-1C3B2211F46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30304" y="4075180"/>
                <a:ext cx="54295" cy="57915"/>
              </a:xfrm>
              <a:custGeom>
                <a:avLst/>
                <a:gdLst>
                  <a:gd name="T0" fmla="*/ 89 w 132"/>
                  <a:gd name="T1" fmla="*/ 79 h 139"/>
                  <a:gd name="T2" fmla="*/ 56 w 132"/>
                  <a:gd name="T3" fmla="*/ 79 h 139"/>
                  <a:gd name="T4" fmla="*/ 28 w 132"/>
                  <a:gd name="T5" fmla="*/ 99 h 139"/>
                  <a:gd name="T6" fmla="*/ 51 w 132"/>
                  <a:gd name="T7" fmla="*/ 117 h 139"/>
                  <a:gd name="T8" fmla="*/ 77 w 132"/>
                  <a:gd name="T9" fmla="*/ 113 h 139"/>
                  <a:gd name="T10" fmla="*/ 89 w 132"/>
                  <a:gd name="T11" fmla="*/ 110 h 139"/>
                  <a:gd name="T12" fmla="*/ 89 w 132"/>
                  <a:gd name="T13" fmla="*/ 79 h 139"/>
                  <a:gd name="T14" fmla="*/ 121 w 132"/>
                  <a:gd name="T15" fmla="*/ 139 h 139"/>
                  <a:gd name="T16" fmla="*/ 109 w 132"/>
                  <a:gd name="T17" fmla="*/ 133 h 139"/>
                  <a:gd name="T18" fmla="*/ 90 w 132"/>
                  <a:gd name="T19" fmla="*/ 131 h 139"/>
                  <a:gd name="T20" fmla="*/ 82 w 132"/>
                  <a:gd name="T21" fmla="*/ 133 h 139"/>
                  <a:gd name="T22" fmla="*/ 46 w 132"/>
                  <a:gd name="T23" fmla="*/ 138 h 139"/>
                  <a:gd name="T24" fmla="*/ 0 w 132"/>
                  <a:gd name="T25" fmla="*/ 100 h 139"/>
                  <a:gd name="T26" fmla="*/ 60 w 132"/>
                  <a:gd name="T27" fmla="*/ 58 h 139"/>
                  <a:gd name="T28" fmla="*/ 89 w 132"/>
                  <a:gd name="T29" fmla="*/ 58 h 139"/>
                  <a:gd name="T30" fmla="*/ 89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6 w 132"/>
                  <a:gd name="T45" fmla="*/ 46 h 139"/>
                  <a:gd name="T46" fmla="*/ 116 w 132"/>
                  <a:gd name="T47" fmla="*/ 111 h 139"/>
                  <a:gd name="T48" fmla="*/ 132 w 132"/>
                  <a:gd name="T49" fmla="*/ 120 h 139"/>
                  <a:gd name="T50" fmla="*/ 121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89" y="79"/>
                    </a:moveTo>
                    <a:lnTo>
                      <a:pt x="56" y="79"/>
                    </a:lnTo>
                    <a:cubicBezTo>
                      <a:pt x="39" y="79"/>
                      <a:pt x="28" y="84"/>
                      <a:pt x="28" y="99"/>
                    </a:cubicBezTo>
                    <a:cubicBezTo>
                      <a:pt x="28" y="111"/>
                      <a:pt x="37" y="117"/>
                      <a:pt x="51" y="117"/>
                    </a:cubicBezTo>
                    <a:cubicBezTo>
                      <a:pt x="58" y="117"/>
                      <a:pt x="67" y="115"/>
                      <a:pt x="77" y="113"/>
                    </a:cubicBezTo>
                    <a:lnTo>
                      <a:pt x="89" y="110"/>
                    </a:lnTo>
                    <a:lnTo>
                      <a:pt x="89" y="79"/>
                    </a:lnTo>
                    <a:close/>
                    <a:moveTo>
                      <a:pt x="121" y="139"/>
                    </a:moveTo>
                    <a:lnTo>
                      <a:pt x="109" y="133"/>
                    </a:lnTo>
                    <a:cubicBezTo>
                      <a:pt x="103" y="130"/>
                      <a:pt x="97" y="129"/>
                      <a:pt x="90" y="131"/>
                    </a:cubicBezTo>
                    <a:lnTo>
                      <a:pt x="82" y="133"/>
                    </a:lnTo>
                    <a:cubicBezTo>
                      <a:pt x="70" y="136"/>
                      <a:pt x="56" y="138"/>
                      <a:pt x="46" y="138"/>
                    </a:cubicBezTo>
                    <a:cubicBezTo>
                      <a:pt x="17" y="138"/>
                      <a:pt x="0" y="124"/>
                      <a:pt x="0" y="100"/>
                    </a:cubicBezTo>
                    <a:cubicBezTo>
                      <a:pt x="0" y="66"/>
                      <a:pt x="28" y="58"/>
                      <a:pt x="60" y="58"/>
                    </a:cubicBezTo>
                    <a:lnTo>
                      <a:pt x="89" y="58"/>
                    </a:lnTo>
                    <a:lnTo>
                      <a:pt x="89" y="47"/>
                    </a:lnTo>
                    <a:cubicBezTo>
                      <a:pt x="89" y="30"/>
                      <a:pt x="78" y="24"/>
                      <a:pt x="63" y="24"/>
                    </a:cubicBezTo>
                    <a:cubicBezTo>
                      <a:pt x="51" y="24"/>
                      <a:pt x="36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4" y="3"/>
                      <a:pt x="50" y="0"/>
                      <a:pt x="65" y="0"/>
                    </a:cubicBezTo>
                    <a:cubicBezTo>
                      <a:pt x="94" y="0"/>
                      <a:pt x="116" y="13"/>
                      <a:pt x="116" y="46"/>
                    </a:cubicBezTo>
                    <a:lnTo>
                      <a:pt x="116" y="111"/>
                    </a:lnTo>
                    <a:lnTo>
                      <a:pt x="132" y="120"/>
                    </a:lnTo>
                    <a:lnTo>
                      <a:pt x="121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7" name="Freeform 24">
                <a:extLst>
                  <a:ext uri="{FF2B5EF4-FFF2-40B4-BE49-F238E27FC236}">
                    <a16:creationId xmlns:a16="http://schemas.microsoft.com/office/drawing/2014/main" id="{75CB649F-54B1-F6A3-A732-30BA69F715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17176" y="4055271"/>
                <a:ext cx="43436" cy="76013"/>
              </a:xfrm>
              <a:custGeom>
                <a:avLst/>
                <a:gdLst>
                  <a:gd name="T0" fmla="*/ 22 w 105"/>
                  <a:gd name="T1" fmla="*/ 184 h 184"/>
                  <a:gd name="T2" fmla="*/ 0 w 105"/>
                  <a:gd name="T3" fmla="*/ 164 h 184"/>
                  <a:gd name="T4" fmla="*/ 0 w 105"/>
                  <a:gd name="T5" fmla="*/ 0 h 184"/>
                  <a:gd name="T6" fmla="*/ 33 w 105"/>
                  <a:gd name="T7" fmla="*/ 0 h 184"/>
                  <a:gd name="T8" fmla="*/ 33 w 105"/>
                  <a:gd name="T9" fmla="*/ 156 h 184"/>
                  <a:gd name="T10" fmla="*/ 105 w 105"/>
                  <a:gd name="T11" fmla="*/ 156 h 184"/>
                  <a:gd name="T12" fmla="*/ 105 w 105"/>
                  <a:gd name="T13" fmla="*/ 184 h 184"/>
                  <a:gd name="T14" fmla="*/ 22 w 105"/>
                  <a:gd name="T15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" h="184">
                    <a:moveTo>
                      <a:pt x="22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0"/>
                    </a:lnTo>
                    <a:lnTo>
                      <a:pt x="33" y="0"/>
                    </a:lnTo>
                    <a:lnTo>
                      <a:pt x="33" y="156"/>
                    </a:lnTo>
                    <a:lnTo>
                      <a:pt x="105" y="156"/>
                    </a:lnTo>
                    <a:lnTo>
                      <a:pt x="105" y="184"/>
                    </a:lnTo>
                    <a:lnTo>
                      <a:pt x="22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8" name="Freeform 25">
                <a:extLst>
                  <a:ext uri="{FF2B5EF4-FFF2-40B4-BE49-F238E27FC236}">
                    <a16:creationId xmlns:a16="http://schemas.microsoft.com/office/drawing/2014/main" id="{DC9A01EB-0B2B-5706-46A0-B807C14F3C7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7851" y="4053462"/>
                <a:ext cx="14479" cy="77823"/>
              </a:xfrm>
              <a:custGeom>
                <a:avLst/>
                <a:gdLst>
                  <a:gd name="T0" fmla="*/ 2 w 34"/>
                  <a:gd name="T1" fmla="*/ 55 h 190"/>
                  <a:gd name="T2" fmla="*/ 31 w 34"/>
                  <a:gd name="T3" fmla="*/ 55 h 190"/>
                  <a:gd name="T4" fmla="*/ 31 w 34"/>
                  <a:gd name="T5" fmla="*/ 190 h 190"/>
                  <a:gd name="T6" fmla="*/ 2 w 34"/>
                  <a:gd name="T7" fmla="*/ 190 h 190"/>
                  <a:gd name="T8" fmla="*/ 2 w 34"/>
                  <a:gd name="T9" fmla="*/ 55 h 190"/>
                  <a:gd name="T10" fmla="*/ 17 w 34"/>
                  <a:gd name="T11" fmla="*/ 34 h 190"/>
                  <a:gd name="T12" fmla="*/ 0 w 34"/>
                  <a:gd name="T13" fmla="*/ 17 h 190"/>
                  <a:gd name="T14" fmla="*/ 17 w 34"/>
                  <a:gd name="T15" fmla="*/ 0 h 190"/>
                  <a:gd name="T16" fmla="*/ 34 w 34"/>
                  <a:gd name="T17" fmla="*/ 17 h 190"/>
                  <a:gd name="T18" fmla="*/ 17 w 34"/>
                  <a:gd name="T19" fmla="*/ 3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90">
                    <a:moveTo>
                      <a:pt x="2" y="55"/>
                    </a:moveTo>
                    <a:lnTo>
                      <a:pt x="31" y="55"/>
                    </a:lnTo>
                    <a:lnTo>
                      <a:pt x="31" y="190"/>
                    </a:lnTo>
                    <a:lnTo>
                      <a:pt x="2" y="190"/>
                    </a:lnTo>
                    <a:lnTo>
                      <a:pt x="2" y="55"/>
                    </a:lnTo>
                    <a:close/>
                    <a:moveTo>
                      <a:pt x="17" y="34"/>
                    </a:moveTo>
                    <a:cubicBezTo>
                      <a:pt x="6" y="34"/>
                      <a:pt x="0" y="27"/>
                      <a:pt x="0" y="17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7" y="0"/>
                      <a:pt x="34" y="7"/>
                      <a:pt x="34" y="17"/>
                    </a:cubicBezTo>
                    <a:cubicBezTo>
                      <a:pt x="34" y="27"/>
                      <a:pt x="27" y="34"/>
                      <a:pt x="17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9" name="Freeform 26">
                <a:extLst>
                  <a:ext uri="{FF2B5EF4-FFF2-40B4-BE49-F238E27FC236}">
                    <a16:creationId xmlns:a16="http://schemas.microsoft.com/office/drawing/2014/main" id="{8003F519-DBD6-318D-BD2C-02AC19C379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7760" y="4053462"/>
                <a:ext cx="39816" cy="77823"/>
              </a:xfrm>
              <a:custGeom>
                <a:avLst/>
                <a:gdLst>
                  <a:gd name="T0" fmla="*/ 92 w 95"/>
                  <a:gd name="T1" fmla="*/ 28 h 189"/>
                  <a:gd name="T2" fmla="*/ 68 w 95"/>
                  <a:gd name="T3" fmla="*/ 24 h 189"/>
                  <a:gd name="T4" fmla="*/ 48 w 95"/>
                  <a:gd name="T5" fmla="*/ 46 h 189"/>
                  <a:gd name="T6" fmla="*/ 48 w 95"/>
                  <a:gd name="T7" fmla="*/ 55 h 189"/>
                  <a:gd name="T8" fmla="*/ 89 w 95"/>
                  <a:gd name="T9" fmla="*/ 55 h 189"/>
                  <a:gd name="T10" fmla="*/ 89 w 95"/>
                  <a:gd name="T11" fmla="*/ 78 h 189"/>
                  <a:gd name="T12" fmla="*/ 48 w 95"/>
                  <a:gd name="T13" fmla="*/ 78 h 189"/>
                  <a:gd name="T14" fmla="*/ 48 w 95"/>
                  <a:gd name="T15" fmla="*/ 189 h 189"/>
                  <a:gd name="T16" fmla="*/ 20 w 95"/>
                  <a:gd name="T17" fmla="*/ 189 h 189"/>
                  <a:gd name="T18" fmla="*/ 20 w 95"/>
                  <a:gd name="T19" fmla="*/ 78 h 189"/>
                  <a:gd name="T20" fmla="*/ 0 w 95"/>
                  <a:gd name="T21" fmla="*/ 78 h 189"/>
                  <a:gd name="T22" fmla="*/ 0 w 95"/>
                  <a:gd name="T23" fmla="*/ 55 h 189"/>
                  <a:gd name="T24" fmla="*/ 20 w 95"/>
                  <a:gd name="T25" fmla="*/ 55 h 189"/>
                  <a:gd name="T26" fmla="*/ 20 w 95"/>
                  <a:gd name="T27" fmla="*/ 44 h 189"/>
                  <a:gd name="T28" fmla="*/ 64 w 95"/>
                  <a:gd name="T29" fmla="*/ 0 h 189"/>
                  <a:gd name="T30" fmla="*/ 95 w 95"/>
                  <a:gd name="T31" fmla="*/ 5 h 189"/>
                  <a:gd name="T32" fmla="*/ 92 w 95"/>
                  <a:gd name="T33" fmla="*/ 28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89">
                    <a:moveTo>
                      <a:pt x="92" y="28"/>
                    </a:moveTo>
                    <a:cubicBezTo>
                      <a:pt x="81" y="25"/>
                      <a:pt x="74" y="24"/>
                      <a:pt x="68" y="24"/>
                    </a:cubicBezTo>
                    <a:cubicBezTo>
                      <a:pt x="54" y="24"/>
                      <a:pt x="48" y="30"/>
                      <a:pt x="48" y="46"/>
                    </a:cubicBezTo>
                    <a:lnTo>
                      <a:pt x="48" y="55"/>
                    </a:lnTo>
                    <a:lnTo>
                      <a:pt x="89" y="55"/>
                    </a:lnTo>
                    <a:lnTo>
                      <a:pt x="89" y="78"/>
                    </a:lnTo>
                    <a:lnTo>
                      <a:pt x="48" y="78"/>
                    </a:lnTo>
                    <a:lnTo>
                      <a:pt x="48" y="189"/>
                    </a:lnTo>
                    <a:lnTo>
                      <a:pt x="20" y="189"/>
                    </a:lnTo>
                    <a:lnTo>
                      <a:pt x="20" y="78"/>
                    </a:lnTo>
                    <a:lnTo>
                      <a:pt x="0" y="78"/>
                    </a:lnTo>
                    <a:lnTo>
                      <a:pt x="0" y="55"/>
                    </a:lnTo>
                    <a:lnTo>
                      <a:pt x="20" y="55"/>
                    </a:lnTo>
                    <a:lnTo>
                      <a:pt x="20" y="44"/>
                    </a:lnTo>
                    <a:cubicBezTo>
                      <a:pt x="20" y="15"/>
                      <a:pt x="37" y="0"/>
                      <a:pt x="64" y="0"/>
                    </a:cubicBezTo>
                    <a:cubicBezTo>
                      <a:pt x="73" y="0"/>
                      <a:pt x="82" y="2"/>
                      <a:pt x="95" y="5"/>
                    </a:cubicBezTo>
                    <a:lnTo>
                      <a:pt x="92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0" name="Freeform 27">
                <a:extLst>
                  <a:ext uri="{FF2B5EF4-FFF2-40B4-BE49-F238E27FC236}">
                    <a16:creationId xmlns:a16="http://schemas.microsoft.com/office/drawing/2014/main" id="{E184AE65-10DA-3151-046F-3FC0194869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27576" y="4075180"/>
                <a:ext cx="50675" cy="56105"/>
              </a:xfrm>
              <a:custGeom>
                <a:avLst/>
                <a:gdLst>
                  <a:gd name="T0" fmla="*/ 62 w 124"/>
                  <a:gd name="T1" fmla="*/ 21 h 138"/>
                  <a:gd name="T2" fmla="*/ 28 w 124"/>
                  <a:gd name="T3" fmla="*/ 58 h 138"/>
                  <a:gd name="T4" fmla="*/ 96 w 124"/>
                  <a:gd name="T5" fmla="*/ 58 h 138"/>
                  <a:gd name="T6" fmla="*/ 62 w 124"/>
                  <a:gd name="T7" fmla="*/ 21 h 138"/>
                  <a:gd name="T8" fmla="*/ 63 w 124"/>
                  <a:gd name="T9" fmla="*/ 0 h 138"/>
                  <a:gd name="T10" fmla="*/ 124 w 124"/>
                  <a:gd name="T11" fmla="*/ 66 h 138"/>
                  <a:gd name="T12" fmla="*/ 111 w 124"/>
                  <a:gd name="T13" fmla="*/ 79 h 138"/>
                  <a:gd name="T14" fmla="*/ 28 w 124"/>
                  <a:gd name="T15" fmla="*/ 79 h 138"/>
                  <a:gd name="T16" fmla="*/ 68 w 124"/>
                  <a:gd name="T17" fmla="*/ 114 h 138"/>
                  <a:gd name="T18" fmla="*/ 105 w 124"/>
                  <a:gd name="T19" fmla="*/ 108 h 138"/>
                  <a:gd name="T20" fmla="*/ 118 w 124"/>
                  <a:gd name="T21" fmla="*/ 104 h 138"/>
                  <a:gd name="T22" fmla="*/ 123 w 124"/>
                  <a:gd name="T23" fmla="*/ 126 h 138"/>
                  <a:gd name="T24" fmla="*/ 109 w 124"/>
                  <a:gd name="T25" fmla="*/ 130 h 138"/>
                  <a:gd name="T26" fmla="*/ 66 w 124"/>
                  <a:gd name="T27" fmla="*/ 138 h 138"/>
                  <a:gd name="T28" fmla="*/ 0 w 124"/>
                  <a:gd name="T29" fmla="*/ 70 h 138"/>
                  <a:gd name="T30" fmla="*/ 63 w 124"/>
                  <a:gd name="T31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138">
                    <a:moveTo>
                      <a:pt x="62" y="21"/>
                    </a:moveTo>
                    <a:cubicBezTo>
                      <a:pt x="42" y="21"/>
                      <a:pt x="30" y="36"/>
                      <a:pt x="28" y="58"/>
                    </a:cubicBezTo>
                    <a:lnTo>
                      <a:pt x="96" y="58"/>
                    </a:lnTo>
                    <a:cubicBezTo>
                      <a:pt x="96" y="38"/>
                      <a:pt x="86" y="21"/>
                      <a:pt x="62" y="21"/>
                    </a:cubicBezTo>
                    <a:close/>
                    <a:moveTo>
                      <a:pt x="63" y="0"/>
                    </a:moveTo>
                    <a:cubicBezTo>
                      <a:pt x="100" y="0"/>
                      <a:pt x="124" y="21"/>
                      <a:pt x="124" y="66"/>
                    </a:cubicBezTo>
                    <a:cubicBezTo>
                      <a:pt x="124" y="75"/>
                      <a:pt x="120" y="79"/>
                      <a:pt x="111" y="79"/>
                    </a:cubicBezTo>
                    <a:lnTo>
                      <a:pt x="28" y="79"/>
                    </a:lnTo>
                    <a:cubicBezTo>
                      <a:pt x="30" y="103"/>
                      <a:pt x="46" y="114"/>
                      <a:pt x="68" y="114"/>
                    </a:cubicBezTo>
                    <a:cubicBezTo>
                      <a:pt x="79" y="114"/>
                      <a:pt x="90" y="112"/>
                      <a:pt x="105" y="108"/>
                    </a:cubicBezTo>
                    <a:lnTo>
                      <a:pt x="118" y="104"/>
                    </a:lnTo>
                    <a:lnTo>
                      <a:pt x="123" y="126"/>
                    </a:lnTo>
                    <a:lnTo>
                      <a:pt x="109" y="130"/>
                    </a:lnTo>
                    <a:cubicBezTo>
                      <a:pt x="92" y="136"/>
                      <a:pt x="80" y="138"/>
                      <a:pt x="66" y="138"/>
                    </a:cubicBezTo>
                    <a:cubicBezTo>
                      <a:pt x="27" y="138"/>
                      <a:pt x="0" y="115"/>
                      <a:pt x="0" y="70"/>
                    </a:cubicBezTo>
                    <a:cubicBezTo>
                      <a:pt x="0" y="21"/>
                      <a:pt x="29" y="0"/>
                      <a:pt x="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1" name="Freeform 28">
                <a:extLst>
                  <a:ext uri="{FF2B5EF4-FFF2-40B4-BE49-F238E27FC236}">
                    <a16:creationId xmlns:a16="http://schemas.microsoft.com/office/drawing/2014/main" id="{237B20AF-7500-5577-1DCA-E6950AB4CA0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80573" y="3655298"/>
                <a:ext cx="358347" cy="405403"/>
              </a:xfrm>
              <a:custGeom>
                <a:avLst/>
                <a:gdLst>
                  <a:gd name="T0" fmla="*/ 556 w 875"/>
                  <a:gd name="T1" fmla="*/ 361 h 985"/>
                  <a:gd name="T2" fmla="*/ 454 w 875"/>
                  <a:gd name="T3" fmla="*/ 361 h 985"/>
                  <a:gd name="T4" fmla="*/ 505 w 875"/>
                  <a:gd name="T5" fmla="*/ 327 h 985"/>
                  <a:gd name="T6" fmla="*/ 556 w 875"/>
                  <a:gd name="T7" fmla="*/ 361 h 985"/>
                  <a:gd name="T8" fmla="*/ 867 w 875"/>
                  <a:gd name="T9" fmla="*/ 368 h 985"/>
                  <a:gd name="T10" fmla="*/ 707 w 875"/>
                  <a:gd name="T11" fmla="*/ 276 h 985"/>
                  <a:gd name="T12" fmla="*/ 773 w 875"/>
                  <a:gd name="T13" fmla="*/ 132 h 985"/>
                  <a:gd name="T14" fmla="*/ 539 w 875"/>
                  <a:gd name="T15" fmla="*/ 220 h 985"/>
                  <a:gd name="T16" fmla="*/ 280 w 875"/>
                  <a:gd name="T17" fmla="*/ 69 h 985"/>
                  <a:gd name="T18" fmla="*/ 308 w 875"/>
                  <a:gd name="T19" fmla="*/ 0 h 985"/>
                  <a:gd name="T20" fmla="*/ 305 w 875"/>
                  <a:gd name="T21" fmla="*/ 0 h 985"/>
                  <a:gd name="T22" fmla="*/ 204 w 875"/>
                  <a:gd name="T23" fmla="*/ 236 h 985"/>
                  <a:gd name="T24" fmla="*/ 249 w 875"/>
                  <a:gd name="T25" fmla="*/ 309 h 985"/>
                  <a:gd name="T26" fmla="*/ 25 w 875"/>
                  <a:gd name="T27" fmla="*/ 770 h 985"/>
                  <a:gd name="T28" fmla="*/ 360 w 875"/>
                  <a:gd name="T29" fmla="*/ 985 h 985"/>
                  <a:gd name="T30" fmla="*/ 825 w 875"/>
                  <a:gd name="T31" fmla="*/ 533 h 985"/>
                  <a:gd name="T32" fmla="*/ 867 w 875"/>
                  <a:gd name="T33" fmla="*/ 368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75" h="985">
                    <a:moveTo>
                      <a:pt x="556" y="361"/>
                    </a:moveTo>
                    <a:lnTo>
                      <a:pt x="454" y="361"/>
                    </a:lnTo>
                    <a:cubicBezTo>
                      <a:pt x="454" y="361"/>
                      <a:pt x="477" y="327"/>
                      <a:pt x="505" y="327"/>
                    </a:cubicBezTo>
                    <a:cubicBezTo>
                      <a:pt x="533" y="327"/>
                      <a:pt x="556" y="361"/>
                      <a:pt x="556" y="361"/>
                    </a:cubicBezTo>
                    <a:close/>
                    <a:moveTo>
                      <a:pt x="867" y="368"/>
                    </a:moveTo>
                    <a:lnTo>
                      <a:pt x="707" y="276"/>
                    </a:lnTo>
                    <a:cubicBezTo>
                      <a:pt x="795" y="225"/>
                      <a:pt x="776" y="144"/>
                      <a:pt x="773" y="132"/>
                    </a:cubicBezTo>
                    <a:cubicBezTo>
                      <a:pt x="732" y="184"/>
                      <a:pt x="643" y="220"/>
                      <a:pt x="539" y="220"/>
                    </a:cubicBezTo>
                    <a:cubicBezTo>
                      <a:pt x="396" y="220"/>
                      <a:pt x="280" y="152"/>
                      <a:pt x="280" y="69"/>
                    </a:cubicBezTo>
                    <a:cubicBezTo>
                      <a:pt x="280" y="44"/>
                      <a:pt x="290" y="21"/>
                      <a:pt x="308" y="0"/>
                    </a:cubicBezTo>
                    <a:cubicBezTo>
                      <a:pt x="307" y="0"/>
                      <a:pt x="306" y="0"/>
                      <a:pt x="305" y="0"/>
                    </a:cubicBezTo>
                    <a:cubicBezTo>
                      <a:pt x="244" y="0"/>
                      <a:pt x="155" y="110"/>
                      <a:pt x="204" y="236"/>
                    </a:cubicBezTo>
                    <a:cubicBezTo>
                      <a:pt x="215" y="265"/>
                      <a:pt x="231" y="289"/>
                      <a:pt x="249" y="309"/>
                    </a:cubicBezTo>
                    <a:cubicBezTo>
                      <a:pt x="135" y="417"/>
                      <a:pt x="0" y="606"/>
                      <a:pt x="25" y="770"/>
                    </a:cubicBezTo>
                    <a:cubicBezTo>
                      <a:pt x="58" y="980"/>
                      <a:pt x="360" y="985"/>
                      <a:pt x="360" y="985"/>
                    </a:cubicBezTo>
                    <a:cubicBezTo>
                      <a:pt x="220" y="722"/>
                      <a:pt x="825" y="533"/>
                      <a:pt x="825" y="533"/>
                    </a:cubicBezTo>
                    <a:cubicBezTo>
                      <a:pt x="825" y="533"/>
                      <a:pt x="875" y="464"/>
                      <a:pt x="867" y="3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2" name="Freeform 29">
                <a:extLst>
                  <a:ext uri="{FF2B5EF4-FFF2-40B4-BE49-F238E27FC236}">
                    <a16:creationId xmlns:a16="http://schemas.microsoft.com/office/drawing/2014/main" id="{F2B48BF0-A064-2017-44AE-FDF622422B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27169" y="3910485"/>
                <a:ext cx="162885" cy="142978"/>
              </a:xfrm>
              <a:custGeom>
                <a:avLst/>
                <a:gdLst>
                  <a:gd name="T0" fmla="*/ 311 w 398"/>
                  <a:gd name="T1" fmla="*/ 0 h 349"/>
                  <a:gd name="T2" fmla="*/ 19 w 398"/>
                  <a:gd name="T3" fmla="*/ 228 h 349"/>
                  <a:gd name="T4" fmla="*/ 18 w 398"/>
                  <a:gd name="T5" fmla="*/ 349 h 349"/>
                  <a:gd name="T6" fmla="*/ 398 w 398"/>
                  <a:gd name="T7" fmla="*/ 184 h 349"/>
                  <a:gd name="T8" fmla="*/ 311 w 398"/>
                  <a:gd name="T9" fmla="*/ 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349">
                    <a:moveTo>
                      <a:pt x="311" y="0"/>
                    </a:moveTo>
                    <a:cubicBezTo>
                      <a:pt x="197" y="53"/>
                      <a:pt x="60" y="129"/>
                      <a:pt x="19" y="228"/>
                    </a:cubicBezTo>
                    <a:cubicBezTo>
                      <a:pt x="3" y="269"/>
                      <a:pt x="0" y="309"/>
                      <a:pt x="18" y="349"/>
                    </a:cubicBezTo>
                    <a:cubicBezTo>
                      <a:pt x="35" y="307"/>
                      <a:pt x="105" y="185"/>
                      <a:pt x="398" y="184"/>
                    </a:cubicBezTo>
                    <a:cubicBezTo>
                      <a:pt x="398" y="102"/>
                      <a:pt x="359" y="44"/>
                      <a:pt x="3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3" name="Freeform 30">
                <a:extLst>
                  <a:ext uri="{FF2B5EF4-FFF2-40B4-BE49-F238E27FC236}">
                    <a16:creationId xmlns:a16="http://schemas.microsoft.com/office/drawing/2014/main" id="{BC9CFD1D-8DDB-A709-12B5-43C1E29C37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9976" y="3903245"/>
                <a:ext cx="9050" cy="16289"/>
              </a:xfrm>
              <a:custGeom>
                <a:avLst/>
                <a:gdLst>
                  <a:gd name="T0" fmla="*/ 0 w 25"/>
                  <a:gd name="T1" fmla="*/ 42 h 42"/>
                  <a:gd name="T2" fmla="*/ 25 w 25"/>
                  <a:gd name="T3" fmla="*/ 0 h 42"/>
                  <a:gd name="T4" fmla="*/ 0 w 25"/>
                  <a:gd name="T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42">
                    <a:moveTo>
                      <a:pt x="0" y="42"/>
                    </a:moveTo>
                    <a:cubicBezTo>
                      <a:pt x="16" y="23"/>
                      <a:pt x="25" y="0"/>
                      <a:pt x="25" y="0"/>
                    </a:cubicBezTo>
                    <a:cubicBezTo>
                      <a:pt x="17" y="17"/>
                      <a:pt x="9" y="31"/>
                      <a:pt x="0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4" name="Rectangle 31">
                <a:extLst>
                  <a:ext uri="{FF2B5EF4-FFF2-40B4-BE49-F238E27FC236}">
                    <a16:creationId xmlns:a16="http://schemas.microsoft.com/office/drawing/2014/main" id="{B8DCAFFC-5BE1-EC35-AFF4-E3AF91BDC7D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409451" y="4104138"/>
                <a:ext cx="9050" cy="3981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5" name="Freeform 32">
                <a:extLst>
                  <a:ext uri="{FF2B5EF4-FFF2-40B4-BE49-F238E27FC236}">
                    <a16:creationId xmlns:a16="http://schemas.microsoft.com/office/drawing/2014/main" id="{5C73054B-B761-3917-85F6-3206576715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2212" y="3819993"/>
                <a:ext cx="7239" cy="3620"/>
              </a:xfrm>
              <a:custGeom>
                <a:avLst/>
                <a:gdLst>
                  <a:gd name="T0" fmla="*/ 0 w 16"/>
                  <a:gd name="T1" fmla="*/ 0 h 7"/>
                  <a:gd name="T2" fmla="*/ 16 w 16"/>
                  <a:gd name="T3" fmla="*/ 7 h 7"/>
                  <a:gd name="T4" fmla="*/ 16 w 16"/>
                  <a:gd name="T5" fmla="*/ 5 h 7"/>
                  <a:gd name="T6" fmla="*/ 0 w 16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7">
                    <a:moveTo>
                      <a:pt x="0" y="0"/>
                    </a:moveTo>
                    <a:cubicBezTo>
                      <a:pt x="6" y="2"/>
                      <a:pt x="11" y="4"/>
                      <a:pt x="16" y="7"/>
                    </a:cubicBezTo>
                    <a:lnTo>
                      <a:pt x="16" y="5"/>
                    </a:lnTo>
                    <a:cubicBezTo>
                      <a:pt x="11" y="3"/>
                      <a:pt x="6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6" name="Freeform 33">
                <a:extLst>
                  <a:ext uri="{FF2B5EF4-FFF2-40B4-BE49-F238E27FC236}">
                    <a16:creationId xmlns:a16="http://schemas.microsoft.com/office/drawing/2014/main" id="{EF5FA4B9-72B6-CE27-044E-F8BD5B2650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99025" y="3628150"/>
                <a:ext cx="47056" cy="314911"/>
              </a:xfrm>
              <a:custGeom>
                <a:avLst/>
                <a:gdLst>
                  <a:gd name="T0" fmla="*/ 3 w 115"/>
                  <a:gd name="T1" fmla="*/ 729 h 765"/>
                  <a:gd name="T2" fmla="*/ 9 w 115"/>
                  <a:gd name="T3" fmla="*/ 756 h 765"/>
                  <a:gd name="T4" fmla="*/ 19 w 115"/>
                  <a:gd name="T5" fmla="*/ 724 h 765"/>
                  <a:gd name="T6" fmla="*/ 34 w 115"/>
                  <a:gd name="T7" fmla="*/ 695 h 765"/>
                  <a:gd name="T8" fmla="*/ 30 w 115"/>
                  <a:gd name="T9" fmla="*/ 716 h 765"/>
                  <a:gd name="T10" fmla="*/ 22 w 115"/>
                  <a:gd name="T11" fmla="*/ 732 h 765"/>
                  <a:gd name="T12" fmla="*/ 17 w 115"/>
                  <a:gd name="T13" fmla="*/ 753 h 765"/>
                  <a:gd name="T14" fmla="*/ 30 w 115"/>
                  <a:gd name="T15" fmla="*/ 744 h 765"/>
                  <a:gd name="T16" fmla="*/ 49 w 115"/>
                  <a:gd name="T17" fmla="*/ 753 h 765"/>
                  <a:gd name="T18" fmla="*/ 54 w 115"/>
                  <a:gd name="T19" fmla="*/ 728 h 765"/>
                  <a:gd name="T20" fmla="*/ 68 w 115"/>
                  <a:gd name="T21" fmla="*/ 763 h 765"/>
                  <a:gd name="T22" fmla="*/ 67 w 115"/>
                  <a:gd name="T23" fmla="*/ 748 h 765"/>
                  <a:gd name="T24" fmla="*/ 65 w 115"/>
                  <a:gd name="T25" fmla="*/ 732 h 765"/>
                  <a:gd name="T26" fmla="*/ 64 w 115"/>
                  <a:gd name="T27" fmla="*/ 712 h 765"/>
                  <a:gd name="T28" fmla="*/ 66 w 115"/>
                  <a:gd name="T29" fmla="*/ 691 h 765"/>
                  <a:gd name="T30" fmla="*/ 68 w 115"/>
                  <a:gd name="T31" fmla="*/ 719 h 765"/>
                  <a:gd name="T32" fmla="*/ 76 w 115"/>
                  <a:gd name="T33" fmla="*/ 745 h 765"/>
                  <a:gd name="T34" fmla="*/ 78 w 115"/>
                  <a:gd name="T35" fmla="*/ 740 h 765"/>
                  <a:gd name="T36" fmla="*/ 77 w 115"/>
                  <a:gd name="T37" fmla="*/ 749 h 765"/>
                  <a:gd name="T38" fmla="*/ 77 w 115"/>
                  <a:gd name="T39" fmla="*/ 750 h 765"/>
                  <a:gd name="T40" fmla="*/ 79 w 115"/>
                  <a:gd name="T41" fmla="*/ 755 h 765"/>
                  <a:gd name="T42" fmla="*/ 84 w 115"/>
                  <a:gd name="T43" fmla="*/ 760 h 765"/>
                  <a:gd name="T44" fmla="*/ 86 w 115"/>
                  <a:gd name="T45" fmla="*/ 757 h 765"/>
                  <a:gd name="T46" fmla="*/ 86 w 115"/>
                  <a:gd name="T47" fmla="*/ 756 h 765"/>
                  <a:gd name="T48" fmla="*/ 78 w 115"/>
                  <a:gd name="T49" fmla="*/ 736 h 765"/>
                  <a:gd name="T50" fmla="*/ 84 w 115"/>
                  <a:gd name="T51" fmla="*/ 748 h 765"/>
                  <a:gd name="T52" fmla="*/ 84 w 115"/>
                  <a:gd name="T53" fmla="*/ 746 h 765"/>
                  <a:gd name="T54" fmla="*/ 89 w 115"/>
                  <a:gd name="T55" fmla="*/ 752 h 765"/>
                  <a:gd name="T56" fmla="*/ 90 w 115"/>
                  <a:gd name="T57" fmla="*/ 751 h 765"/>
                  <a:gd name="T58" fmla="*/ 83 w 115"/>
                  <a:gd name="T59" fmla="*/ 743 h 765"/>
                  <a:gd name="T60" fmla="*/ 91 w 115"/>
                  <a:gd name="T61" fmla="*/ 748 h 765"/>
                  <a:gd name="T62" fmla="*/ 95 w 115"/>
                  <a:gd name="T63" fmla="*/ 742 h 765"/>
                  <a:gd name="T64" fmla="*/ 96 w 115"/>
                  <a:gd name="T65" fmla="*/ 741 h 765"/>
                  <a:gd name="T66" fmla="*/ 103 w 115"/>
                  <a:gd name="T67" fmla="*/ 726 h 765"/>
                  <a:gd name="T68" fmla="*/ 101 w 115"/>
                  <a:gd name="T69" fmla="*/ 734 h 765"/>
                  <a:gd name="T70" fmla="*/ 112 w 115"/>
                  <a:gd name="T71" fmla="*/ 713 h 765"/>
                  <a:gd name="T72" fmla="*/ 101 w 115"/>
                  <a:gd name="T73" fmla="*/ 742 h 765"/>
                  <a:gd name="T74" fmla="*/ 104 w 115"/>
                  <a:gd name="T75" fmla="*/ 753 h 765"/>
                  <a:gd name="T76" fmla="*/ 106 w 115"/>
                  <a:gd name="T77" fmla="*/ 765 h 765"/>
                  <a:gd name="T78" fmla="*/ 109 w 115"/>
                  <a:gd name="T79" fmla="*/ 755 h 765"/>
                  <a:gd name="T80" fmla="*/ 110 w 115"/>
                  <a:gd name="T81" fmla="*/ 752 h 765"/>
                  <a:gd name="T82" fmla="*/ 110 w 115"/>
                  <a:gd name="T83" fmla="*/ 751 h 765"/>
                  <a:gd name="T84" fmla="*/ 110 w 115"/>
                  <a:gd name="T85" fmla="*/ 752 h 765"/>
                  <a:gd name="T86" fmla="*/ 110 w 115"/>
                  <a:gd name="T87" fmla="*/ 751 h 765"/>
                  <a:gd name="T88" fmla="*/ 111 w 115"/>
                  <a:gd name="T89" fmla="*/ 752 h 765"/>
                  <a:gd name="T90" fmla="*/ 111 w 115"/>
                  <a:gd name="T91" fmla="*/ 751 h 765"/>
                  <a:gd name="T92" fmla="*/ 113 w 115"/>
                  <a:gd name="T93" fmla="*/ 748 h 765"/>
                  <a:gd name="T94" fmla="*/ 113 w 115"/>
                  <a:gd name="T95" fmla="*/ 746 h 765"/>
                  <a:gd name="T96" fmla="*/ 109 w 115"/>
                  <a:gd name="T97" fmla="*/ 729 h 765"/>
                  <a:gd name="T98" fmla="*/ 109 w 115"/>
                  <a:gd name="T99" fmla="*/ 728 h 765"/>
                  <a:gd name="T100" fmla="*/ 109 w 115"/>
                  <a:gd name="T101" fmla="*/ 729 h 765"/>
                  <a:gd name="T102" fmla="*/ 112 w 115"/>
                  <a:gd name="T103" fmla="*/ 735 h 765"/>
                  <a:gd name="T104" fmla="*/ 115 w 115"/>
                  <a:gd name="T105" fmla="*/ 740 h 765"/>
                  <a:gd name="T106" fmla="*/ 115 w 115"/>
                  <a:gd name="T107" fmla="*/ 0 h 765"/>
                  <a:gd name="T108" fmla="*/ 0 w 115"/>
                  <a:gd name="T109" fmla="*/ 0 h 765"/>
                  <a:gd name="T110" fmla="*/ 0 w 115"/>
                  <a:gd name="T111" fmla="*/ 741 h 765"/>
                  <a:gd name="T112" fmla="*/ 2 w 115"/>
                  <a:gd name="T113" fmla="*/ 728 h 765"/>
                  <a:gd name="T114" fmla="*/ 3 w 115"/>
                  <a:gd name="T115" fmla="*/ 729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5" h="765">
                    <a:moveTo>
                      <a:pt x="3" y="729"/>
                    </a:moveTo>
                    <a:cubicBezTo>
                      <a:pt x="5" y="738"/>
                      <a:pt x="6" y="745"/>
                      <a:pt x="9" y="756"/>
                    </a:cubicBezTo>
                    <a:cubicBezTo>
                      <a:pt x="10" y="744"/>
                      <a:pt x="14" y="734"/>
                      <a:pt x="19" y="724"/>
                    </a:cubicBezTo>
                    <a:cubicBezTo>
                      <a:pt x="25" y="715"/>
                      <a:pt x="30" y="706"/>
                      <a:pt x="34" y="695"/>
                    </a:cubicBezTo>
                    <a:cubicBezTo>
                      <a:pt x="33" y="703"/>
                      <a:pt x="34" y="709"/>
                      <a:pt x="30" y="716"/>
                    </a:cubicBezTo>
                    <a:cubicBezTo>
                      <a:pt x="25" y="723"/>
                      <a:pt x="23" y="727"/>
                      <a:pt x="22" y="732"/>
                    </a:cubicBezTo>
                    <a:cubicBezTo>
                      <a:pt x="21" y="736"/>
                      <a:pt x="20" y="742"/>
                      <a:pt x="17" y="753"/>
                    </a:cubicBezTo>
                    <a:cubicBezTo>
                      <a:pt x="18" y="752"/>
                      <a:pt x="30" y="743"/>
                      <a:pt x="30" y="744"/>
                    </a:cubicBezTo>
                    <a:cubicBezTo>
                      <a:pt x="27" y="757"/>
                      <a:pt x="47" y="756"/>
                      <a:pt x="49" y="753"/>
                    </a:cubicBezTo>
                    <a:cubicBezTo>
                      <a:pt x="46" y="746"/>
                      <a:pt x="65" y="746"/>
                      <a:pt x="54" y="728"/>
                    </a:cubicBezTo>
                    <a:cubicBezTo>
                      <a:pt x="61" y="730"/>
                      <a:pt x="67" y="758"/>
                      <a:pt x="68" y="763"/>
                    </a:cubicBezTo>
                    <a:cubicBezTo>
                      <a:pt x="68" y="758"/>
                      <a:pt x="67" y="753"/>
                      <a:pt x="67" y="748"/>
                    </a:cubicBezTo>
                    <a:cubicBezTo>
                      <a:pt x="67" y="743"/>
                      <a:pt x="66" y="738"/>
                      <a:pt x="65" y="732"/>
                    </a:cubicBezTo>
                    <a:cubicBezTo>
                      <a:pt x="64" y="725"/>
                      <a:pt x="64" y="718"/>
                      <a:pt x="64" y="712"/>
                    </a:cubicBezTo>
                    <a:cubicBezTo>
                      <a:pt x="64" y="705"/>
                      <a:pt x="65" y="698"/>
                      <a:pt x="66" y="691"/>
                    </a:cubicBezTo>
                    <a:cubicBezTo>
                      <a:pt x="65" y="700"/>
                      <a:pt x="66" y="710"/>
                      <a:pt x="68" y="719"/>
                    </a:cubicBezTo>
                    <a:cubicBezTo>
                      <a:pt x="70" y="728"/>
                      <a:pt x="73" y="737"/>
                      <a:pt x="76" y="745"/>
                    </a:cubicBezTo>
                    <a:cubicBezTo>
                      <a:pt x="77" y="743"/>
                      <a:pt x="78" y="741"/>
                      <a:pt x="78" y="740"/>
                    </a:cubicBezTo>
                    <a:cubicBezTo>
                      <a:pt x="78" y="742"/>
                      <a:pt x="77" y="746"/>
                      <a:pt x="77" y="749"/>
                    </a:cubicBezTo>
                    <a:cubicBezTo>
                      <a:pt x="77" y="749"/>
                      <a:pt x="77" y="749"/>
                      <a:pt x="77" y="750"/>
                    </a:cubicBezTo>
                    <a:cubicBezTo>
                      <a:pt x="78" y="752"/>
                      <a:pt x="78" y="753"/>
                      <a:pt x="79" y="755"/>
                    </a:cubicBezTo>
                    <a:cubicBezTo>
                      <a:pt x="80" y="756"/>
                      <a:pt x="82" y="758"/>
                      <a:pt x="84" y="760"/>
                    </a:cubicBezTo>
                    <a:cubicBezTo>
                      <a:pt x="85" y="759"/>
                      <a:pt x="85" y="758"/>
                      <a:pt x="86" y="757"/>
                    </a:cubicBezTo>
                    <a:cubicBezTo>
                      <a:pt x="86" y="756"/>
                      <a:pt x="86" y="756"/>
                      <a:pt x="86" y="756"/>
                    </a:cubicBezTo>
                    <a:cubicBezTo>
                      <a:pt x="82" y="749"/>
                      <a:pt x="79" y="743"/>
                      <a:pt x="78" y="736"/>
                    </a:cubicBezTo>
                    <a:cubicBezTo>
                      <a:pt x="78" y="740"/>
                      <a:pt x="81" y="744"/>
                      <a:pt x="84" y="748"/>
                    </a:cubicBezTo>
                    <a:cubicBezTo>
                      <a:pt x="84" y="747"/>
                      <a:pt x="84" y="747"/>
                      <a:pt x="84" y="746"/>
                    </a:cubicBezTo>
                    <a:cubicBezTo>
                      <a:pt x="84" y="748"/>
                      <a:pt x="88" y="752"/>
                      <a:pt x="89" y="752"/>
                    </a:cubicBezTo>
                    <a:cubicBezTo>
                      <a:pt x="89" y="752"/>
                      <a:pt x="89" y="751"/>
                      <a:pt x="90" y="751"/>
                    </a:cubicBezTo>
                    <a:cubicBezTo>
                      <a:pt x="88" y="748"/>
                      <a:pt x="85" y="744"/>
                      <a:pt x="83" y="743"/>
                    </a:cubicBezTo>
                    <a:cubicBezTo>
                      <a:pt x="86" y="742"/>
                      <a:pt x="88" y="745"/>
                      <a:pt x="91" y="748"/>
                    </a:cubicBezTo>
                    <a:cubicBezTo>
                      <a:pt x="93" y="746"/>
                      <a:pt x="94" y="743"/>
                      <a:pt x="95" y="742"/>
                    </a:cubicBezTo>
                    <a:cubicBezTo>
                      <a:pt x="95" y="741"/>
                      <a:pt x="95" y="741"/>
                      <a:pt x="96" y="741"/>
                    </a:cubicBezTo>
                    <a:cubicBezTo>
                      <a:pt x="96" y="734"/>
                      <a:pt x="99" y="727"/>
                      <a:pt x="103" y="726"/>
                    </a:cubicBezTo>
                    <a:cubicBezTo>
                      <a:pt x="106" y="725"/>
                      <a:pt x="101" y="731"/>
                      <a:pt x="101" y="734"/>
                    </a:cubicBezTo>
                    <a:cubicBezTo>
                      <a:pt x="106" y="727"/>
                      <a:pt x="111" y="720"/>
                      <a:pt x="112" y="713"/>
                    </a:cubicBezTo>
                    <a:cubicBezTo>
                      <a:pt x="111" y="723"/>
                      <a:pt x="106" y="732"/>
                      <a:pt x="101" y="742"/>
                    </a:cubicBezTo>
                    <a:cubicBezTo>
                      <a:pt x="102" y="745"/>
                      <a:pt x="103" y="748"/>
                      <a:pt x="104" y="753"/>
                    </a:cubicBezTo>
                    <a:cubicBezTo>
                      <a:pt x="106" y="757"/>
                      <a:pt x="106" y="761"/>
                      <a:pt x="106" y="765"/>
                    </a:cubicBezTo>
                    <a:cubicBezTo>
                      <a:pt x="107" y="762"/>
                      <a:pt x="108" y="758"/>
                      <a:pt x="109" y="755"/>
                    </a:cubicBezTo>
                    <a:cubicBezTo>
                      <a:pt x="109" y="754"/>
                      <a:pt x="109" y="753"/>
                      <a:pt x="110" y="752"/>
                    </a:cubicBezTo>
                    <a:cubicBezTo>
                      <a:pt x="110" y="752"/>
                      <a:pt x="110" y="751"/>
                      <a:pt x="110" y="751"/>
                    </a:cubicBezTo>
                    <a:cubicBezTo>
                      <a:pt x="110" y="751"/>
                      <a:pt x="110" y="751"/>
                      <a:pt x="110" y="752"/>
                    </a:cubicBezTo>
                    <a:cubicBezTo>
                      <a:pt x="110" y="751"/>
                      <a:pt x="110" y="751"/>
                      <a:pt x="110" y="751"/>
                    </a:cubicBezTo>
                    <a:cubicBezTo>
                      <a:pt x="110" y="751"/>
                      <a:pt x="110" y="752"/>
                      <a:pt x="111" y="752"/>
                    </a:cubicBezTo>
                    <a:cubicBezTo>
                      <a:pt x="111" y="752"/>
                      <a:pt x="111" y="751"/>
                      <a:pt x="111" y="751"/>
                    </a:cubicBezTo>
                    <a:cubicBezTo>
                      <a:pt x="111" y="751"/>
                      <a:pt x="112" y="749"/>
                      <a:pt x="113" y="748"/>
                    </a:cubicBezTo>
                    <a:cubicBezTo>
                      <a:pt x="113" y="747"/>
                      <a:pt x="113" y="747"/>
                      <a:pt x="113" y="746"/>
                    </a:cubicBezTo>
                    <a:cubicBezTo>
                      <a:pt x="112" y="740"/>
                      <a:pt x="111" y="735"/>
                      <a:pt x="109" y="729"/>
                    </a:cubicBezTo>
                    <a:cubicBezTo>
                      <a:pt x="109" y="729"/>
                      <a:pt x="109" y="729"/>
                      <a:pt x="109" y="728"/>
                    </a:cubicBezTo>
                    <a:cubicBezTo>
                      <a:pt x="109" y="729"/>
                      <a:pt x="109" y="729"/>
                      <a:pt x="109" y="729"/>
                    </a:cubicBezTo>
                    <a:cubicBezTo>
                      <a:pt x="110" y="731"/>
                      <a:pt x="112" y="733"/>
                      <a:pt x="112" y="735"/>
                    </a:cubicBezTo>
                    <a:cubicBezTo>
                      <a:pt x="113" y="736"/>
                      <a:pt x="114" y="738"/>
                      <a:pt x="115" y="740"/>
                    </a:cubicBezTo>
                    <a:lnTo>
                      <a:pt x="115" y="0"/>
                    </a:lnTo>
                    <a:lnTo>
                      <a:pt x="0" y="0"/>
                    </a:lnTo>
                    <a:lnTo>
                      <a:pt x="0" y="741"/>
                    </a:lnTo>
                    <a:cubicBezTo>
                      <a:pt x="1" y="737"/>
                      <a:pt x="2" y="732"/>
                      <a:pt x="2" y="728"/>
                    </a:cubicBezTo>
                    <a:cubicBezTo>
                      <a:pt x="2" y="728"/>
                      <a:pt x="3" y="729"/>
                      <a:pt x="3" y="7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7" name="Freeform 34">
                <a:extLst>
                  <a:ext uri="{FF2B5EF4-FFF2-40B4-BE49-F238E27FC236}">
                    <a16:creationId xmlns:a16="http://schemas.microsoft.com/office/drawing/2014/main" id="{75EFCEAE-BFDE-B861-FC29-DB7E563E3B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4271" y="3935822"/>
                <a:ext cx="1810" cy="5430"/>
              </a:xfrm>
              <a:custGeom>
                <a:avLst/>
                <a:gdLst>
                  <a:gd name="T0" fmla="*/ 1 w 4"/>
                  <a:gd name="T1" fmla="*/ 8 h 11"/>
                  <a:gd name="T2" fmla="*/ 3 w 4"/>
                  <a:gd name="T3" fmla="*/ 10 h 11"/>
                  <a:gd name="T4" fmla="*/ 4 w 4"/>
                  <a:gd name="T5" fmla="*/ 11 h 11"/>
                  <a:gd name="T6" fmla="*/ 2 w 4"/>
                  <a:gd name="T7" fmla="*/ 0 h 11"/>
                  <a:gd name="T8" fmla="*/ 0 w 4"/>
                  <a:gd name="T9" fmla="*/ 6 h 11"/>
                  <a:gd name="T10" fmla="*/ 1 w 4"/>
                  <a:gd name="T11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1" y="8"/>
                    </a:moveTo>
                    <a:cubicBezTo>
                      <a:pt x="2" y="9"/>
                      <a:pt x="3" y="10"/>
                      <a:pt x="3" y="10"/>
                    </a:cubicBezTo>
                    <a:cubicBezTo>
                      <a:pt x="3" y="10"/>
                      <a:pt x="3" y="11"/>
                      <a:pt x="4" y="11"/>
                    </a:cubicBezTo>
                    <a:cubicBezTo>
                      <a:pt x="3" y="7"/>
                      <a:pt x="3" y="4"/>
                      <a:pt x="2" y="0"/>
                    </a:cubicBezTo>
                    <a:cubicBezTo>
                      <a:pt x="1" y="2"/>
                      <a:pt x="1" y="4"/>
                      <a:pt x="0" y="6"/>
                    </a:cubicBezTo>
                    <a:cubicBezTo>
                      <a:pt x="1" y="6"/>
                      <a:pt x="1" y="7"/>
                      <a:pt x="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8" name="Freeform 35">
                <a:extLst>
                  <a:ext uri="{FF2B5EF4-FFF2-40B4-BE49-F238E27FC236}">
                    <a16:creationId xmlns:a16="http://schemas.microsoft.com/office/drawing/2014/main" id="{1B463E5B-5F1B-4C9C-6A6D-0C3227E10A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37032" y="3937633"/>
                <a:ext cx="1810" cy="9050"/>
              </a:xfrm>
              <a:custGeom>
                <a:avLst/>
                <a:gdLst>
                  <a:gd name="T0" fmla="*/ 2 w 4"/>
                  <a:gd name="T1" fmla="*/ 21 h 22"/>
                  <a:gd name="T2" fmla="*/ 3 w 4"/>
                  <a:gd name="T3" fmla="*/ 22 h 22"/>
                  <a:gd name="T4" fmla="*/ 3 w 4"/>
                  <a:gd name="T5" fmla="*/ 21 h 22"/>
                  <a:gd name="T6" fmla="*/ 2 w 4"/>
                  <a:gd name="T7" fmla="*/ 0 h 22"/>
                  <a:gd name="T8" fmla="*/ 0 w 4"/>
                  <a:gd name="T9" fmla="*/ 5 h 22"/>
                  <a:gd name="T10" fmla="*/ 2 w 4"/>
                  <a:gd name="T11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2">
                    <a:moveTo>
                      <a:pt x="2" y="21"/>
                    </a:moveTo>
                    <a:cubicBezTo>
                      <a:pt x="2" y="21"/>
                      <a:pt x="2" y="22"/>
                      <a:pt x="3" y="22"/>
                    </a:cubicBezTo>
                    <a:cubicBezTo>
                      <a:pt x="3" y="22"/>
                      <a:pt x="3" y="21"/>
                      <a:pt x="3" y="21"/>
                    </a:cubicBezTo>
                    <a:cubicBezTo>
                      <a:pt x="4" y="13"/>
                      <a:pt x="3" y="8"/>
                      <a:pt x="2" y="0"/>
                    </a:cubicBezTo>
                    <a:cubicBezTo>
                      <a:pt x="1" y="2"/>
                      <a:pt x="0" y="3"/>
                      <a:pt x="0" y="5"/>
                    </a:cubicBezTo>
                    <a:cubicBezTo>
                      <a:pt x="1" y="10"/>
                      <a:pt x="2" y="17"/>
                      <a:pt x="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9" name="Freeform 36">
                <a:extLst>
                  <a:ext uri="{FF2B5EF4-FFF2-40B4-BE49-F238E27FC236}">
                    <a16:creationId xmlns:a16="http://schemas.microsoft.com/office/drawing/2014/main" id="{80D07420-3241-230A-F82A-75E41C376D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03995" y="3626341"/>
                <a:ext cx="220800" cy="318531"/>
              </a:xfrm>
              <a:custGeom>
                <a:avLst/>
                <a:gdLst>
                  <a:gd name="T0" fmla="*/ 381 w 538"/>
                  <a:gd name="T1" fmla="*/ 766 h 775"/>
                  <a:gd name="T2" fmla="*/ 388 w 538"/>
                  <a:gd name="T3" fmla="*/ 736 h 775"/>
                  <a:gd name="T4" fmla="*/ 419 w 538"/>
                  <a:gd name="T5" fmla="*/ 702 h 775"/>
                  <a:gd name="T6" fmla="*/ 403 w 538"/>
                  <a:gd name="T7" fmla="*/ 760 h 775"/>
                  <a:gd name="T8" fmla="*/ 441 w 538"/>
                  <a:gd name="T9" fmla="*/ 740 h 775"/>
                  <a:gd name="T10" fmla="*/ 450 w 538"/>
                  <a:gd name="T11" fmla="*/ 733 h 775"/>
                  <a:gd name="T12" fmla="*/ 416 w 538"/>
                  <a:gd name="T13" fmla="*/ 572 h 775"/>
                  <a:gd name="T14" fmla="*/ 153 w 538"/>
                  <a:gd name="T15" fmla="*/ 622 h 775"/>
                  <a:gd name="T16" fmla="*/ 123 w 538"/>
                  <a:gd name="T17" fmla="*/ 241 h 775"/>
                  <a:gd name="T18" fmla="*/ 271 w 538"/>
                  <a:gd name="T19" fmla="*/ 119 h 775"/>
                  <a:gd name="T20" fmla="*/ 538 w 538"/>
                  <a:gd name="T21" fmla="*/ 232 h 775"/>
                  <a:gd name="T22" fmla="*/ 122 w 538"/>
                  <a:gd name="T23" fmla="*/ 45 h 775"/>
                  <a:gd name="T24" fmla="*/ 0 w 538"/>
                  <a:gd name="T25" fmla="*/ 399 h 775"/>
                  <a:gd name="T26" fmla="*/ 33 w 538"/>
                  <a:gd name="T27" fmla="*/ 656 h 775"/>
                  <a:gd name="T28" fmla="*/ 100 w 538"/>
                  <a:gd name="T29" fmla="*/ 736 h 775"/>
                  <a:gd name="T30" fmla="*/ 103 w 538"/>
                  <a:gd name="T31" fmla="*/ 725 h 775"/>
                  <a:gd name="T32" fmla="*/ 113 w 538"/>
                  <a:gd name="T33" fmla="*/ 746 h 775"/>
                  <a:gd name="T34" fmla="*/ 119 w 538"/>
                  <a:gd name="T35" fmla="*/ 750 h 775"/>
                  <a:gd name="T36" fmla="*/ 120 w 538"/>
                  <a:gd name="T37" fmla="*/ 743 h 775"/>
                  <a:gd name="T38" fmla="*/ 130 w 538"/>
                  <a:gd name="T39" fmla="*/ 738 h 775"/>
                  <a:gd name="T40" fmla="*/ 128 w 538"/>
                  <a:gd name="T41" fmla="*/ 757 h 775"/>
                  <a:gd name="T42" fmla="*/ 138 w 538"/>
                  <a:gd name="T43" fmla="*/ 744 h 775"/>
                  <a:gd name="T44" fmla="*/ 149 w 538"/>
                  <a:gd name="T45" fmla="*/ 748 h 775"/>
                  <a:gd name="T46" fmla="*/ 144 w 538"/>
                  <a:gd name="T47" fmla="*/ 726 h 775"/>
                  <a:gd name="T48" fmla="*/ 157 w 538"/>
                  <a:gd name="T49" fmla="*/ 759 h 775"/>
                  <a:gd name="T50" fmla="*/ 164 w 538"/>
                  <a:gd name="T51" fmla="*/ 753 h 775"/>
                  <a:gd name="T52" fmla="*/ 180 w 538"/>
                  <a:gd name="T53" fmla="*/ 757 h 775"/>
                  <a:gd name="T54" fmla="*/ 190 w 538"/>
                  <a:gd name="T55" fmla="*/ 771 h 775"/>
                  <a:gd name="T56" fmla="*/ 198 w 538"/>
                  <a:gd name="T57" fmla="*/ 711 h 775"/>
                  <a:gd name="T58" fmla="*/ 209 w 538"/>
                  <a:gd name="T59" fmla="*/ 768 h 775"/>
                  <a:gd name="T60" fmla="*/ 213 w 538"/>
                  <a:gd name="T61" fmla="*/ 734 h 775"/>
                  <a:gd name="T62" fmla="*/ 221 w 538"/>
                  <a:gd name="T63" fmla="*/ 753 h 775"/>
                  <a:gd name="T64" fmla="*/ 230 w 538"/>
                  <a:gd name="T65" fmla="*/ 755 h 775"/>
                  <a:gd name="T66" fmla="*/ 234 w 538"/>
                  <a:gd name="T67" fmla="*/ 741 h 775"/>
                  <a:gd name="T68" fmla="*/ 237 w 538"/>
                  <a:gd name="T69" fmla="*/ 742 h 775"/>
                  <a:gd name="T70" fmla="*/ 257 w 538"/>
                  <a:gd name="T71" fmla="*/ 723 h 775"/>
                  <a:gd name="T72" fmla="*/ 260 w 538"/>
                  <a:gd name="T73" fmla="*/ 728 h 775"/>
                  <a:gd name="T74" fmla="*/ 267 w 538"/>
                  <a:gd name="T75" fmla="*/ 740 h 775"/>
                  <a:gd name="T76" fmla="*/ 268 w 538"/>
                  <a:gd name="T77" fmla="*/ 775 h 775"/>
                  <a:gd name="T78" fmla="*/ 273 w 538"/>
                  <a:gd name="T79" fmla="*/ 753 h 775"/>
                  <a:gd name="T80" fmla="*/ 278 w 538"/>
                  <a:gd name="T81" fmla="*/ 755 h 775"/>
                  <a:gd name="T82" fmla="*/ 288 w 538"/>
                  <a:gd name="T83" fmla="*/ 765 h 775"/>
                  <a:gd name="T84" fmla="*/ 291 w 538"/>
                  <a:gd name="T85" fmla="*/ 762 h 775"/>
                  <a:gd name="T86" fmla="*/ 292 w 538"/>
                  <a:gd name="T87" fmla="*/ 743 h 775"/>
                  <a:gd name="T88" fmla="*/ 302 w 538"/>
                  <a:gd name="T89" fmla="*/ 766 h 775"/>
                  <a:gd name="T90" fmla="*/ 297 w 538"/>
                  <a:gd name="T91" fmla="*/ 736 h 775"/>
                  <a:gd name="T92" fmla="*/ 305 w 538"/>
                  <a:gd name="T93" fmla="*/ 753 h 775"/>
                  <a:gd name="T94" fmla="*/ 309 w 538"/>
                  <a:gd name="T95" fmla="*/ 756 h 775"/>
                  <a:gd name="T96" fmla="*/ 310 w 538"/>
                  <a:gd name="T97" fmla="*/ 770 h 775"/>
                  <a:gd name="T98" fmla="*/ 317 w 538"/>
                  <a:gd name="T99" fmla="*/ 754 h 775"/>
                  <a:gd name="T100" fmla="*/ 334 w 538"/>
                  <a:gd name="T101" fmla="*/ 741 h 775"/>
                  <a:gd name="T102" fmla="*/ 344 w 538"/>
                  <a:gd name="T103" fmla="*/ 723 h 775"/>
                  <a:gd name="T104" fmla="*/ 343 w 538"/>
                  <a:gd name="T105" fmla="*/ 771 h 775"/>
                  <a:gd name="T106" fmla="*/ 353 w 538"/>
                  <a:gd name="T107" fmla="*/ 722 h 775"/>
                  <a:gd name="T108" fmla="*/ 355 w 538"/>
                  <a:gd name="T109" fmla="*/ 755 h 775"/>
                  <a:gd name="T110" fmla="*/ 362 w 538"/>
                  <a:gd name="T111" fmla="*/ 75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38" h="775">
                    <a:moveTo>
                      <a:pt x="366" y="734"/>
                    </a:moveTo>
                    <a:cubicBezTo>
                      <a:pt x="365" y="739"/>
                      <a:pt x="367" y="747"/>
                      <a:pt x="369" y="753"/>
                    </a:cubicBezTo>
                    <a:cubicBezTo>
                      <a:pt x="372" y="760"/>
                      <a:pt x="376" y="765"/>
                      <a:pt x="381" y="766"/>
                    </a:cubicBezTo>
                    <a:cubicBezTo>
                      <a:pt x="381" y="763"/>
                      <a:pt x="382" y="758"/>
                      <a:pt x="383" y="756"/>
                    </a:cubicBezTo>
                    <a:cubicBezTo>
                      <a:pt x="386" y="750"/>
                      <a:pt x="387" y="741"/>
                      <a:pt x="387" y="735"/>
                    </a:cubicBezTo>
                    <a:cubicBezTo>
                      <a:pt x="387" y="735"/>
                      <a:pt x="388" y="736"/>
                      <a:pt x="388" y="736"/>
                    </a:cubicBezTo>
                    <a:cubicBezTo>
                      <a:pt x="390" y="745"/>
                      <a:pt x="392" y="752"/>
                      <a:pt x="394" y="763"/>
                    </a:cubicBezTo>
                    <a:cubicBezTo>
                      <a:pt x="395" y="751"/>
                      <a:pt x="400" y="741"/>
                      <a:pt x="405" y="731"/>
                    </a:cubicBezTo>
                    <a:cubicBezTo>
                      <a:pt x="410" y="722"/>
                      <a:pt x="416" y="713"/>
                      <a:pt x="419" y="702"/>
                    </a:cubicBezTo>
                    <a:cubicBezTo>
                      <a:pt x="419" y="710"/>
                      <a:pt x="419" y="716"/>
                      <a:pt x="415" y="723"/>
                    </a:cubicBezTo>
                    <a:cubicBezTo>
                      <a:pt x="411" y="730"/>
                      <a:pt x="409" y="734"/>
                      <a:pt x="408" y="739"/>
                    </a:cubicBezTo>
                    <a:cubicBezTo>
                      <a:pt x="406" y="743"/>
                      <a:pt x="405" y="749"/>
                      <a:pt x="403" y="760"/>
                    </a:cubicBezTo>
                    <a:cubicBezTo>
                      <a:pt x="403" y="759"/>
                      <a:pt x="416" y="750"/>
                      <a:pt x="415" y="751"/>
                    </a:cubicBezTo>
                    <a:cubicBezTo>
                      <a:pt x="415" y="754"/>
                      <a:pt x="415" y="756"/>
                      <a:pt x="416" y="758"/>
                    </a:cubicBezTo>
                    <a:cubicBezTo>
                      <a:pt x="425" y="753"/>
                      <a:pt x="433" y="747"/>
                      <a:pt x="441" y="740"/>
                    </a:cubicBezTo>
                    <a:cubicBezTo>
                      <a:pt x="442" y="740"/>
                      <a:pt x="442" y="740"/>
                      <a:pt x="443" y="739"/>
                    </a:cubicBezTo>
                    <a:cubicBezTo>
                      <a:pt x="443" y="739"/>
                      <a:pt x="443" y="739"/>
                      <a:pt x="443" y="739"/>
                    </a:cubicBezTo>
                    <a:cubicBezTo>
                      <a:pt x="445" y="737"/>
                      <a:pt x="447" y="735"/>
                      <a:pt x="450" y="733"/>
                    </a:cubicBezTo>
                    <a:cubicBezTo>
                      <a:pt x="451" y="732"/>
                      <a:pt x="453" y="731"/>
                      <a:pt x="454" y="729"/>
                    </a:cubicBezTo>
                    <a:cubicBezTo>
                      <a:pt x="495" y="691"/>
                      <a:pt x="523" y="638"/>
                      <a:pt x="538" y="572"/>
                    </a:cubicBezTo>
                    <a:lnTo>
                      <a:pt x="416" y="572"/>
                    </a:lnTo>
                    <a:cubicBezTo>
                      <a:pt x="384" y="643"/>
                      <a:pt x="336" y="679"/>
                      <a:pt x="271" y="679"/>
                    </a:cubicBezTo>
                    <a:cubicBezTo>
                      <a:pt x="244" y="679"/>
                      <a:pt x="221" y="673"/>
                      <a:pt x="201" y="661"/>
                    </a:cubicBezTo>
                    <a:cubicBezTo>
                      <a:pt x="181" y="651"/>
                      <a:pt x="165" y="638"/>
                      <a:pt x="153" y="622"/>
                    </a:cubicBezTo>
                    <a:cubicBezTo>
                      <a:pt x="138" y="605"/>
                      <a:pt x="128" y="583"/>
                      <a:pt x="123" y="556"/>
                    </a:cubicBezTo>
                    <a:cubicBezTo>
                      <a:pt x="118" y="528"/>
                      <a:pt x="115" y="476"/>
                      <a:pt x="115" y="399"/>
                    </a:cubicBezTo>
                    <a:cubicBezTo>
                      <a:pt x="115" y="322"/>
                      <a:pt x="118" y="269"/>
                      <a:pt x="123" y="241"/>
                    </a:cubicBezTo>
                    <a:cubicBezTo>
                      <a:pt x="128" y="214"/>
                      <a:pt x="138" y="193"/>
                      <a:pt x="153" y="176"/>
                    </a:cubicBezTo>
                    <a:cubicBezTo>
                      <a:pt x="165" y="160"/>
                      <a:pt x="181" y="146"/>
                      <a:pt x="201" y="135"/>
                    </a:cubicBezTo>
                    <a:cubicBezTo>
                      <a:pt x="221" y="125"/>
                      <a:pt x="244" y="119"/>
                      <a:pt x="271" y="119"/>
                    </a:cubicBezTo>
                    <a:cubicBezTo>
                      <a:pt x="308" y="119"/>
                      <a:pt x="339" y="130"/>
                      <a:pt x="365" y="152"/>
                    </a:cubicBezTo>
                    <a:cubicBezTo>
                      <a:pt x="390" y="174"/>
                      <a:pt x="407" y="201"/>
                      <a:pt x="416" y="232"/>
                    </a:cubicBezTo>
                    <a:lnTo>
                      <a:pt x="538" y="232"/>
                    </a:lnTo>
                    <a:cubicBezTo>
                      <a:pt x="526" y="167"/>
                      <a:pt x="497" y="112"/>
                      <a:pt x="451" y="68"/>
                    </a:cubicBezTo>
                    <a:cubicBezTo>
                      <a:pt x="404" y="24"/>
                      <a:pt x="345" y="1"/>
                      <a:pt x="271" y="0"/>
                    </a:cubicBezTo>
                    <a:cubicBezTo>
                      <a:pt x="212" y="1"/>
                      <a:pt x="162" y="16"/>
                      <a:pt x="122" y="45"/>
                    </a:cubicBezTo>
                    <a:cubicBezTo>
                      <a:pt x="81" y="73"/>
                      <a:pt x="52" y="105"/>
                      <a:pt x="33" y="141"/>
                    </a:cubicBezTo>
                    <a:cubicBezTo>
                      <a:pt x="22" y="160"/>
                      <a:pt x="13" y="185"/>
                      <a:pt x="8" y="216"/>
                    </a:cubicBezTo>
                    <a:cubicBezTo>
                      <a:pt x="3" y="247"/>
                      <a:pt x="0" y="308"/>
                      <a:pt x="0" y="399"/>
                    </a:cubicBezTo>
                    <a:cubicBezTo>
                      <a:pt x="0" y="489"/>
                      <a:pt x="3" y="549"/>
                      <a:pt x="8" y="581"/>
                    </a:cubicBezTo>
                    <a:cubicBezTo>
                      <a:pt x="11" y="598"/>
                      <a:pt x="14" y="612"/>
                      <a:pt x="18" y="623"/>
                    </a:cubicBezTo>
                    <a:cubicBezTo>
                      <a:pt x="23" y="633"/>
                      <a:pt x="28" y="645"/>
                      <a:pt x="33" y="656"/>
                    </a:cubicBezTo>
                    <a:cubicBezTo>
                      <a:pt x="42" y="674"/>
                      <a:pt x="54" y="690"/>
                      <a:pt x="67" y="705"/>
                    </a:cubicBezTo>
                    <a:cubicBezTo>
                      <a:pt x="68" y="706"/>
                      <a:pt x="68" y="706"/>
                      <a:pt x="69" y="707"/>
                    </a:cubicBezTo>
                    <a:cubicBezTo>
                      <a:pt x="78" y="717"/>
                      <a:pt x="88" y="727"/>
                      <a:pt x="100" y="736"/>
                    </a:cubicBezTo>
                    <a:cubicBezTo>
                      <a:pt x="99" y="730"/>
                      <a:pt x="99" y="724"/>
                      <a:pt x="99" y="718"/>
                    </a:cubicBezTo>
                    <a:cubicBezTo>
                      <a:pt x="99" y="711"/>
                      <a:pt x="100" y="704"/>
                      <a:pt x="101" y="697"/>
                    </a:cubicBezTo>
                    <a:cubicBezTo>
                      <a:pt x="100" y="706"/>
                      <a:pt x="101" y="716"/>
                      <a:pt x="103" y="725"/>
                    </a:cubicBezTo>
                    <a:cubicBezTo>
                      <a:pt x="104" y="731"/>
                      <a:pt x="106" y="736"/>
                      <a:pt x="108" y="742"/>
                    </a:cubicBezTo>
                    <a:cubicBezTo>
                      <a:pt x="110" y="743"/>
                      <a:pt x="111" y="745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5" y="747"/>
                      <a:pt x="116" y="748"/>
                      <a:pt x="118" y="750"/>
                    </a:cubicBezTo>
                    <a:lnTo>
                      <a:pt x="119" y="750"/>
                    </a:lnTo>
                    <a:cubicBezTo>
                      <a:pt x="119" y="750"/>
                      <a:pt x="119" y="750"/>
                      <a:pt x="119" y="750"/>
                    </a:cubicBezTo>
                    <a:cubicBezTo>
                      <a:pt x="120" y="750"/>
                      <a:pt x="120" y="751"/>
                      <a:pt x="121" y="752"/>
                    </a:cubicBezTo>
                    <a:cubicBezTo>
                      <a:pt x="121" y="749"/>
                      <a:pt x="121" y="746"/>
                      <a:pt x="120" y="743"/>
                    </a:cubicBezTo>
                    <a:cubicBezTo>
                      <a:pt x="120" y="743"/>
                      <a:pt x="122" y="745"/>
                      <a:pt x="122" y="745"/>
                    </a:cubicBezTo>
                    <a:cubicBezTo>
                      <a:pt x="122" y="746"/>
                      <a:pt x="123" y="747"/>
                      <a:pt x="124" y="749"/>
                    </a:cubicBezTo>
                    <a:cubicBezTo>
                      <a:pt x="126" y="745"/>
                      <a:pt x="129" y="741"/>
                      <a:pt x="130" y="738"/>
                    </a:cubicBezTo>
                    <a:cubicBezTo>
                      <a:pt x="135" y="731"/>
                      <a:pt x="146" y="721"/>
                      <a:pt x="147" y="710"/>
                    </a:cubicBezTo>
                    <a:cubicBezTo>
                      <a:pt x="146" y="719"/>
                      <a:pt x="142" y="727"/>
                      <a:pt x="138" y="735"/>
                    </a:cubicBezTo>
                    <a:cubicBezTo>
                      <a:pt x="134" y="742"/>
                      <a:pt x="130" y="749"/>
                      <a:pt x="128" y="757"/>
                    </a:cubicBezTo>
                    <a:cubicBezTo>
                      <a:pt x="131" y="758"/>
                      <a:pt x="133" y="760"/>
                      <a:pt x="135" y="761"/>
                    </a:cubicBezTo>
                    <a:cubicBezTo>
                      <a:pt x="136" y="759"/>
                      <a:pt x="137" y="756"/>
                      <a:pt x="137" y="754"/>
                    </a:cubicBezTo>
                    <a:cubicBezTo>
                      <a:pt x="137" y="751"/>
                      <a:pt x="137" y="747"/>
                      <a:pt x="138" y="744"/>
                    </a:cubicBezTo>
                    <a:cubicBezTo>
                      <a:pt x="137" y="751"/>
                      <a:pt x="139" y="758"/>
                      <a:pt x="141" y="764"/>
                    </a:cubicBezTo>
                    <a:cubicBezTo>
                      <a:pt x="144" y="766"/>
                      <a:pt x="147" y="768"/>
                      <a:pt x="150" y="769"/>
                    </a:cubicBezTo>
                    <a:cubicBezTo>
                      <a:pt x="150" y="762"/>
                      <a:pt x="150" y="755"/>
                      <a:pt x="149" y="748"/>
                    </a:cubicBezTo>
                    <a:cubicBezTo>
                      <a:pt x="148" y="741"/>
                      <a:pt x="146" y="734"/>
                      <a:pt x="144" y="726"/>
                    </a:cubicBezTo>
                    <a:cubicBezTo>
                      <a:pt x="144" y="726"/>
                      <a:pt x="144" y="726"/>
                      <a:pt x="144" y="725"/>
                    </a:cubicBezTo>
                    <a:cubicBezTo>
                      <a:pt x="144" y="726"/>
                      <a:pt x="144" y="726"/>
                      <a:pt x="144" y="726"/>
                    </a:cubicBezTo>
                    <a:cubicBezTo>
                      <a:pt x="145" y="728"/>
                      <a:pt x="147" y="730"/>
                      <a:pt x="148" y="731"/>
                    </a:cubicBezTo>
                    <a:cubicBezTo>
                      <a:pt x="149" y="734"/>
                      <a:pt x="151" y="739"/>
                      <a:pt x="152" y="743"/>
                    </a:cubicBezTo>
                    <a:cubicBezTo>
                      <a:pt x="153" y="747"/>
                      <a:pt x="156" y="754"/>
                      <a:pt x="157" y="759"/>
                    </a:cubicBezTo>
                    <a:cubicBezTo>
                      <a:pt x="159" y="762"/>
                      <a:pt x="163" y="772"/>
                      <a:pt x="165" y="773"/>
                    </a:cubicBezTo>
                    <a:cubicBezTo>
                      <a:pt x="165" y="772"/>
                      <a:pt x="164" y="769"/>
                      <a:pt x="164" y="767"/>
                    </a:cubicBezTo>
                    <a:cubicBezTo>
                      <a:pt x="164" y="763"/>
                      <a:pt x="164" y="758"/>
                      <a:pt x="164" y="753"/>
                    </a:cubicBezTo>
                    <a:cubicBezTo>
                      <a:pt x="164" y="761"/>
                      <a:pt x="173" y="768"/>
                      <a:pt x="178" y="771"/>
                    </a:cubicBezTo>
                    <a:cubicBezTo>
                      <a:pt x="178" y="769"/>
                      <a:pt x="179" y="768"/>
                      <a:pt x="179" y="766"/>
                    </a:cubicBezTo>
                    <a:cubicBezTo>
                      <a:pt x="180" y="763"/>
                      <a:pt x="180" y="760"/>
                      <a:pt x="180" y="757"/>
                    </a:cubicBezTo>
                    <a:cubicBezTo>
                      <a:pt x="181" y="751"/>
                      <a:pt x="182" y="742"/>
                      <a:pt x="180" y="735"/>
                    </a:cubicBezTo>
                    <a:cubicBezTo>
                      <a:pt x="182" y="740"/>
                      <a:pt x="184" y="745"/>
                      <a:pt x="186" y="751"/>
                    </a:cubicBezTo>
                    <a:cubicBezTo>
                      <a:pt x="187" y="757"/>
                      <a:pt x="189" y="764"/>
                      <a:pt x="190" y="771"/>
                    </a:cubicBezTo>
                    <a:cubicBezTo>
                      <a:pt x="191" y="758"/>
                      <a:pt x="190" y="765"/>
                      <a:pt x="195" y="753"/>
                    </a:cubicBezTo>
                    <a:cubicBezTo>
                      <a:pt x="198" y="745"/>
                      <a:pt x="199" y="737"/>
                      <a:pt x="200" y="730"/>
                    </a:cubicBezTo>
                    <a:cubicBezTo>
                      <a:pt x="200" y="722"/>
                      <a:pt x="200" y="715"/>
                      <a:pt x="198" y="711"/>
                    </a:cubicBezTo>
                    <a:cubicBezTo>
                      <a:pt x="198" y="713"/>
                      <a:pt x="204" y="722"/>
                      <a:pt x="205" y="726"/>
                    </a:cubicBezTo>
                    <a:cubicBezTo>
                      <a:pt x="205" y="736"/>
                      <a:pt x="202" y="742"/>
                      <a:pt x="202" y="751"/>
                    </a:cubicBezTo>
                    <a:cubicBezTo>
                      <a:pt x="200" y="766"/>
                      <a:pt x="199" y="759"/>
                      <a:pt x="209" y="768"/>
                    </a:cubicBezTo>
                    <a:cubicBezTo>
                      <a:pt x="209" y="768"/>
                      <a:pt x="208" y="765"/>
                      <a:pt x="208" y="764"/>
                    </a:cubicBezTo>
                    <a:cubicBezTo>
                      <a:pt x="208" y="758"/>
                      <a:pt x="208" y="754"/>
                      <a:pt x="209" y="749"/>
                    </a:cubicBezTo>
                    <a:cubicBezTo>
                      <a:pt x="210" y="745"/>
                      <a:pt x="211" y="740"/>
                      <a:pt x="213" y="734"/>
                    </a:cubicBezTo>
                    <a:cubicBezTo>
                      <a:pt x="213" y="742"/>
                      <a:pt x="216" y="756"/>
                      <a:pt x="222" y="762"/>
                    </a:cubicBezTo>
                    <a:cubicBezTo>
                      <a:pt x="222" y="761"/>
                      <a:pt x="221" y="759"/>
                      <a:pt x="221" y="758"/>
                    </a:cubicBezTo>
                    <a:cubicBezTo>
                      <a:pt x="221" y="756"/>
                      <a:pt x="221" y="757"/>
                      <a:pt x="221" y="753"/>
                    </a:cubicBezTo>
                    <a:cubicBezTo>
                      <a:pt x="220" y="754"/>
                      <a:pt x="222" y="758"/>
                      <a:pt x="224" y="759"/>
                    </a:cubicBezTo>
                    <a:cubicBezTo>
                      <a:pt x="225" y="759"/>
                      <a:pt x="226" y="761"/>
                      <a:pt x="228" y="762"/>
                    </a:cubicBezTo>
                    <a:cubicBezTo>
                      <a:pt x="228" y="760"/>
                      <a:pt x="229" y="757"/>
                      <a:pt x="230" y="755"/>
                    </a:cubicBezTo>
                    <a:cubicBezTo>
                      <a:pt x="232" y="752"/>
                      <a:pt x="233" y="748"/>
                      <a:pt x="234" y="743"/>
                    </a:cubicBezTo>
                    <a:cubicBezTo>
                      <a:pt x="233" y="743"/>
                      <a:pt x="232" y="742"/>
                      <a:pt x="231" y="741"/>
                    </a:cubicBezTo>
                    <a:cubicBezTo>
                      <a:pt x="232" y="740"/>
                      <a:pt x="233" y="741"/>
                      <a:pt x="234" y="741"/>
                    </a:cubicBezTo>
                    <a:cubicBezTo>
                      <a:pt x="234" y="739"/>
                      <a:pt x="234" y="736"/>
                      <a:pt x="235" y="734"/>
                    </a:cubicBezTo>
                    <a:cubicBezTo>
                      <a:pt x="235" y="734"/>
                      <a:pt x="235" y="736"/>
                      <a:pt x="235" y="736"/>
                    </a:cubicBezTo>
                    <a:cubicBezTo>
                      <a:pt x="236" y="738"/>
                      <a:pt x="236" y="740"/>
                      <a:pt x="237" y="742"/>
                    </a:cubicBezTo>
                    <a:cubicBezTo>
                      <a:pt x="239" y="744"/>
                      <a:pt x="242" y="746"/>
                      <a:pt x="244" y="749"/>
                    </a:cubicBezTo>
                    <a:cubicBezTo>
                      <a:pt x="246" y="742"/>
                      <a:pt x="250" y="735"/>
                      <a:pt x="254" y="729"/>
                    </a:cubicBezTo>
                    <a:cubicBezTo>
                      <a:pt x="254" y="727"/>
                      <a:pt x="256" y="725"/>
                      <a:pt x="257" y="723"/>
                    </a:cubicBezTo>
                    <a:cubicBezTo>
                      <a:pt x="260" y="716"/>
                      <a:pt x="264" y="710"/>
                      <a:pt x="267" y="702"/>
                    </a:cubicBezTo>
                    <a:cubicBezTo>
                      <a:pt x="266" y="710"/>
                      <a:pt x="266" y="716"/>
                      <a:pt x="262" y="723"/>
                    </a:cubicBezTo>
                    <a:cubicBezTo>
                      <a:pt x="261" y="725"/>
                      <a:pt x="260" y="726"/>
                      <a:pt x="260" y="728"/>
                    </a:cubicBezTo>
                    <a:cubicBezTo>
                      <a:pt x="259" y="732"/>
                      <a:pt x="259" y="736"/>
                      <a:pt x="260" y="740"/>
                    </a:cubicBezTo>
                    <a:cubicBezTo>
                      <a:pt x="265" y="734"/>
                      <a:pt x="271" y="730"/>
                      <a:pt x="279" y="728"/>
                    </a:cubicBezTo>
                    <a:cubicBezTo>
                      <a:pt x="278" y="732"/>
                      <a:pt x="269" y="736"/>
                      <a:pt x="267" y="740"/>
                    </a:cubicBezTo>
                    <a:cubicBezTo>
                      <a:pt x="265" y="744"/>
                      <a:pt x="264" y="748"/>
                      <a:pt x="264" y="753"/>
                    </a:cubicBezTo>
                    <a:cubicBezTo>
                      <a:pt x="264" y="754"/>
                      <a:pt x="265" y="756"/>
                      <a:pt x="265" y="757"/>
                    </a:cubicBezTo>
                    <a:cubicBezTo>
                      <a:pt x="267" y="762"/>
                      <a:pt x="267" y="768"/>
                      <a:pt x="268" y="775"/>
                    </a:cubicBezTo>
                    <a:cubicBezTo>
                      <a:pt x="270" y="773"/>
                      <a:pt x="273" y="771"/>
                      <a:pt x="274" y="769"/>
                    </a:cubicBezTo>
                    <a:lnTo>
                      <a:pt x="274" y="769"/>
                    </a:lnTo>
                    <a:cubicBezTo>
                      <a:pt x="274" y="764"/>
                      <a:pt x="274" y="758"/>
                      <a:pt x="273" y="753"/>
                    </a:cubicBezTo>
                    <a:cubicBezTo>
                      <a:pt x="273" y="754"/>
                      <a:pt x="274" y="755"/>
                      <a:pt x="275" y="756"/>
                    </a:cubicBezTo>
                    <a:cubicBezTo>
                      <a:pt x="276" y="757"/>
                      <a:pt x="277" y="759"/>
                      <a:pt x="278" y="761"/>
                    </a:cubicBezTo>
                    <a:cubicBezTo>
                      <a:pt x="278" y="759"/>
                      <a:pt x="278" y="757"/>
                      <a:pt x="278" y="755"/>
                    </a:cubicBezTo>
                    <a:cubicBezTo>
                      <a:pt x="280" y="757"/>
                      <a:pt x="282" y="760"/>
                      <a:pt x="283" y="762"/>
                    </a:cubicBezTo>
                    <a:cubicBezTo>
                      <a:pt x="285" y="764"/>
                      <a:pt x="287" y="767"/>
                      <a:pt x="288" y="770"/>
                    </a:cubicBezTo>
                    <a:cubicBezTo>
                      <a:pt x="288" y="768"/>
                      <a:pt x="287" y="766"/>
                      <a:pt x="288" y="765"/>
                    </a:cubicBezTo>
                    <a:cubicBezTo>
                      <a:pt x="288" y="762"/>
                      <a:pt x="290" y="758"/>
                      <a:pt x="290" y="755"/>
                    </a:cubicBezTo>
                    <a:cubicBezTo>
                      <a:pt x="290" y="758"/>
                      <a:pt x="290" y="760"/>
                      <a:pt x="291" y="763"/>
                    </a:cubicBezTo>
                    <a:cubicBezTo>
                      <a:pt x="291" y="763"/>
                      <a:pt x="291" y="762"/>
                      <a:pt x="291" y="762"/>
                    </a:cubicBezTo>
                    <a:cubicBezTo>
                      <a:pt x="291" y="759"/>
                      <a:pt x="291" y="754"/>
                      <a:pt x="292" y="751"/>
                    </a:cubicBezTo>
                    <a:cubicBezTo>
                      <a:pt x="292" y="745"/>
                      <a:pt x="290" y="739"/>
                      <a:pt x="286" y="736"/>
                    </a:cubicBezTo>
                    <a:cubicBezTo>
                      <a:pt x="287" y="736"/>
                      <a:pt x="292" y="742"/>
                      <a:pt x="292" y="743"/>
                    </a:cubicBezTo>
                    <a:cubicBezTo>
                      <a:pt x="295" y="747"/>
                      <a:pt x="296" y="752"/>
                      <a:pt x="298" y="757"/>
                    </a:cubicBezTo>
                    <a:cubicBezTo>
                      <a:pt x="299" y="762"/>
                      <a:pt x="300" y="767"/>
                      <a:pt x="301" y="772"/>
                    </a:cubicBezTo>
                    <a:cubicBezTo>
                      <a:pt x="301" y="770"/>
                      <a:pt x="302" y="768"/>
                      <a:pt x="302" y="766"/>
                    </a:cubicBezTo>
                    <a:cubicBezTo>
                      <a:pt x="302" y="761"/>
                      <a:pt x="301" y="756"/>
                      <a:pt x="300" y="751"/>
                    </a:cubicBezTo>
                    <a:cubicBezTo>
                      <a:pt x="299" y="746"/>
                      <a:pt x="298" y="742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8" y="738"/>
                      <a:pt x="300" y="741"/>
                      <a:pt x="300" y="742"/>
                    </a:cubicBezTo>
                    <a:cubicBezTo>
                      <a:pt x="302" y="745"/>
                      <a:pt x="304" y="750"/>
                      <a:pt x="305" y="753"/>
                    </a:cubicBezTo>
                    <a:cubicBezTo>
                      <a:pt x="305" y="754"/>
                      <a:pt x="305" y="756"/>
                      <a:pt x="306" y="758"/>
                    </a:cubicBezTo>
                    <a:cubicBezTo>
                      <a:pt x="307" y="754"/>
                      <a:pt x="309" y="750"/>
                      <a:pt x="311" y="747"/>
                    </a:cubicBezTo>
                    <a:cubicBezTo>
                      <a:pt x="310" y="750"/>
                      <a:pt x="310" y="753"/>
                      <a:pt x="309" y="756"/>
                    </a:cubicBezTo>
                    <a:cubicBezTo>
                      <a:pt x="309" y="758"/>
                      <a:pt x="310" y="759"/>
                      <a:pt x="309" y="761"/>
                    </a:cubicBezTo>
                    <a:cubicBezTo>
                      <a:pt x="309" y="762"/>
                      <a:pt x="310" y="765"/>
                      <a:pt x="310" y="766"/>
                    </a:cubicBezTo>
                    <a:cubicBezTo>
                      <a:pt x="310" y="767"/>
                      <a:pt x="310" y="768"/>
                      <a:pt x="310" y="770"/>
                    </a:cubicBezTo>
                    <a:cubicBezTo>
                      <a:pt x="311" y="772"/>
                      <a:pt x="313" y="773"/>
                      <a:pt x="315" y="773"/>
                    </a:cubicBezTo>
                    <a:cubicBezTo>
                      <a:pt x="315" y="771"/>
                      <a:pt x="316" y="769"/>
                      <a:pt x="317" y="767"/>
                    </a:cubicBezTo>
                    <a:cubicBezTo>
                      <a:pt x="317" y="763"/>
                      <a:pt x="317" y="758"/>
                      <a:pt x="317" y="754"/>
                    </a:cubicBezTo>
                    <a:cubicBezTo>
                      <a:pt x="317" y="757"/>
                      <a:pt x="318" y="760"/>
                      <a:pt x="320" y="762"/>
                    </a:cubicBezTo>
                    <a:cubicBezTo>
                      <a:pt x="323" y="757"/>
                      <a:pt x="326" y="752"/>
                      <a:pt x="328" y="749"/>
                    </a:cubicBezTo>
                    <a:cubicBezTo>
                      <a:pt x="329" y="746"/>
                      <a:pt x="332" y="744"/>
                      <a:pt x="334" y="741"/>
                    </a:cubicBezTo>
                    <a:cubicBezTo>
                      <a:pt x="333" y="738"/>
                      <a:pt x="332" y="735"/>
                      <a:pt x="331" y="733"/>
                    </a:cubicBezTo>
                    <a:cubicBezTo>
                      <a:pt x="333" y="735"/>
                      <a:pt x="334" y="737"/>
                      <a:pt x="335" y="739"/>
                    </a:cubicBezTo>
                    <a:cubicBezTo>
                      <a:pt x="339" y="734"/>
                      <a:pt x="343" y="729"/>
                      <a:pt x="344" y="723"/>
                    </a:cubicBezTo>
                    <a:cubicBezTo>
                      <a:pt x="343" y="730"/>
                      <a:pt x="340" y="736"/>
                      <a:pt x="337" y="742"/>
                    </a:cubicBezTo>
                    <a:cubicBezTo>
                      <a:pt x="339" y="747"/>
                      <a:pt x="340" y="751"/>
                      <a:pt x="341" y="756"/>
                    </a:cubicBezTo>
                    <a:cubicBezTo>
                      <a:pt x="342" y="761"/>
                      <a:pt x="342" y="766"/>
                      <a:pt x="343" y="771"/>
                    </a:cubicBezTo>
                    <a:cubicBezTo>
                      <a:pt x="343" y="765"/>
                      <a:pt x="344" y="760"/>
                      <a:pt x="345" y="755"/>
                    </a:cubicBezTo>
                    <a:cubicBezTo>
                      <a:pt x="345" y="751"/>
                      <a:pt x="346" y="746"/>
                      <a:pt x="348" y="740"/>
                    </a:cubicBezTo>
                    <a:cubicBezTo>
                      <a:pt x="350" y="733"/>
                      <a:pt x="352" y="727"/>
                      <a:pt x="353" y="722"/>
                    </a:cubicBezTo>
                    <a:cubicBezTo>
                      <a:pt x="353" y="718"/>
                      <a:pt x="353" y="713"/>
                      <a:pt x="349" y="709"/>
                    </a:cubicBezTo>
                    <a:cubicBezTo>
                      <a:pt x="361" y="709"/>
                      <a:pt x="358" y="729"/>
                      <a:pt x="357" y="737"/>
                    </a:cubicBezTo>
                    <a:cubicBezTo>
                      <a:pt x="357" y="745"/>
                      <a:pt x="355" y="750"/>
                      <a:pt x="355" y="755"/>
                    </a:cubicBezTo>
                    <a:cubicBezTo>
                      <a:pt x="355" y="760"/>
                      <a:pt x="357" y="764"/>
                      <a:pt x="362" y="769"/>
                    </a:cubicBezTo>
                    <a:cubicBezTo>
                      <a:pt x="362" y="768"/>
                      <a:pt x="361" y="765"/>
                      <a:pt x="361" y="764"/>
                    </a:cubicBezTo>
                    <a:cubicBezTo>
                      <a:pt x="361" y="758"/>
                      <a:pt x="361" y="754"/>
                      <a:pt x="362" y="750"/>
                    </a:cubicBezTo>
                    <a:cubicBezTo>
                      <a:pt x="363" y="745"/>
                      <a:pt x="364" y="741"/>
                      <a:pt x="366" y="7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0" name="Freeform 37">
                <a:extLst>
                  <a:ext uri="{FF2B5EF4-FFF2-40B4-BE49-F238E27FC236}">
                    <a16:creationId xmlns:a16="http://schemas.microsoft.com/office/drawing/2014/main" id="{10DFCB3C-637E-6B6A-71AE-F652951DE2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7156" y="3934013"/>
                <a:ext cx="1810" cy="3620"/>
              </a:xfrm>
              <a:custGeom>
                <a:avLst/>
                <a:gdLst>
                  <a:gd name="T0" fmla="*/ 2 w 3"/>
                  <a:gd name="T1" fmla="*/ 0 h 12"/>
                  <a:gd name="T2" fmla="*/ 0 w 3"/>
                  <a:gd name="T3" fmla="*/ 12 h 12"/>
                  <a:gd name="T4" fmla="*/ 3 w 3"/>
                  <a:gd name="T5" fmla="*/ 6 h 12"/>
                  <a:gd name="T6" fmla="*/ 3 w 3"/>
                  <a:gd name="T7" fmla="*/ 5 h 12"/>
                  <a:gd name="T8" fmla="*/ 2 w 3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2">
                    <a:moveTo>
                      <a:pt x="2" y="0"/>
                    </a:moveTo>
                    <a:cubicBezTo>
                      <a:pt x="2" y="4"/>
                      <a:pt x="1" y="7"/>
                      <a:pt x="0" y="12"/>
                    </a:cubicBezTo>
                    <a:cubicBezTo>
                      <a:pt x="0" y="11"/>
                      <a:pt x="2" y="8"/>
                      <a:pt x="3" y="6"/>
                    </a:cubicBezTo>
                    <a:cubicBezTo>
                      <a:pt x="3" y="6"/>
                      <a:pt x="3" y="5"/>
                      <a:pt x="3" y="5"/>
                    </a:cubicBezTo>
                    <a:cubicBezTo>
                      <a:pt x="3" y="3"/>
                      <a:pt x="3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1" name="Freeform 38">
                <a:extLst>
                  <a:ext uri="{FF2B5EF4-FFF2-40B4-BE49-F238E27FC236}">
                    <a16:creationId xmlns:a16="http://schemas.microsoft.com/office/drawing/2014/main" id="{D3CD4A97-49DB-DCCB-432F-F93F2AEBEF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1726" y="3934013"/>
                <a:ext cx="1810" cy="5430"/>
              </a:xfrm>
              <a:custGeom>
                <a:avLst/>
                <a:gdLst>
                  <a:gd name="T0" fmla="*/ 0 w 5"/>
                  <a:gd name="T1" fmla="*/ 0 h 14"/>
                  <a:gd name="T2" fmla="*/ 3 w 5"/>
                  <a:gd name="T3" fmla="*/ 14 h 14"/>
                  <a:gd name="T4" fmla="*/ 5 w 5"/>
                  <a:gd name="T5" fmla="*/ 6 h 14"/>
                  <a:gd name="T6" fmla="*/ 0 w 5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4">
                    <a:moveTo>
                      <a:pt x="0" y="0"/>
                    </a:moveTo>
                    <a:cubicBezTo>
                      <a:pt x="1" y="4"/>
                      <a:pt x="2" y="9"/>
                      <a:pt x="3" y="14"/>
                    </a:cubicBezTo>
                    <a:cubicBezTo>
                      <a:pt x="4" y="11"/>
                      <a:pt x="4" y="9"/>
                      <a:pt x="5" y="6"/>
                    </a:cubicBezTo>
                    <a:cubicBezTo>
                      <a:pt x="4" y="4"/>
                      <a:pt x="2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2" name="Freeform 39">
                <a:extLst>
                  <a:ext uri="{FF2B5EF4-FFF2-40B4-BE49-F238E27FC236}">
                    <a16:creationId xmlns:a16="http://schemas.microsoft.com/office/drawing/2014/main" id="{DEBA006C-188C-9F98-71AD-E953F5BB51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1051" y="39322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3" name="Freeform 40">
                <a:extLst>
                  <a:ext uri="{FF2B5EF4-FFF2-40B4-BE49-F238E27FC236}">
                    <a16:creationId xmlns:a16="http://schemas.microsoft.com/office/drawing/2014/main" id="{053EA6E6-A265-C0C4-4C5A-2E9CABB8FE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2861" y="3934013"/>
                <a:ext cx="0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4" name="Freeform 41">
                <a:extLst>
                  <a:ext uri="{FF2B5EF4-FFF2-40B4-BE49-F238E27FC236}">
                    <a16:creationId xmlns:a16="http://schemas.microsoft.com/office/drawing/2014/main" id="{A9F55A8B-ECAA-74C6-C3CA-B027BD5133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37923" y="3932203"/>
                <a:ext cx="3620" cy="10859"/>
              </a:xfrm>
              <a:custGeom>
                <a:avLst/>
                <a:gdLst>
                  <a:gd name="T0" fmla="*/ 9 w 10"/>
                  <a:gd name="T1" fmla="*/ 11 h 24"/>
                  <a:gd name="T2" fmla="*/ 10 w 10"/>
                  <a:gd name="T3" fmla="*/ 0 h 24"/>
                  <a:gd name="T4" fmla="*/ 0 w 10"/>
                  <a:gd name="T5" fmla="*/ 21 h 24"/>
                  <a:gd name="T6" fmla="*/ 6 w 10"/>
                  <a:gd name="T7" fmla="*/ 24 h 24"/>
                  <a:gd name="T8" fmla="*/ 7 w 10"/>
                  <a:gd name="T9" fmla="*/ 20 h 24"/>
                  <a:gd name="T10" fmla="*/ 9 w 10"/>
                  <a:gd name="T11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4">
                    <a:moveTo>
                      <a:pt x="9" y="11"/>
                    </a:moveTo>
                    <a:cubicBezTo>
                      <a:pt x="10" y="8"/>
                      <a:pt x="10" y="4"/>
                      <a:pt x="10" y="0"/>
                    </a:cubicBezTo>
                    <a:cubicBezTo>
                      <a:pt x="6" y="7"/>
                      <a:pt x="2" y="14"/>
                      <a:pt x="0" y="21"/>
                    </a:cubicBezTo>
                    <a:cubicBezTo>
                      <a:pt x="2" y="23"/>
                      <a:pt x="4" y="24"/>
                      <a:pt x="6" y="24"/>
                    </a:cubicBezTo>
                    <a:cubicBezTo>
                      <a:pt x="6" y="22"/>
                      <a:pt x="7" y="22"/>
                      <a:pt x="7" y="20"/>
                    </a:cubicBezTo>
                    <a:cubicBezTo>
                      <a:pt x="7" y="17"/>
                      <a:pt x="9" y="14"/>
                      <a:pt x="9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5" name="Freeform 42">
                <a:extLst>
                  <a:ext uri="{FF2B5EF4-FFF2-40B4-BE49-F238E27FC236}">
                    <a16:creationId xmlns:a16="http://schemas.microsoft.com/office/drawing/2014/main" id="{D3D378FD-218D-5549-9D5E-F5AD8B8A41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29360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6" name="Freeform 43">
                <a:extLst>
                  <a:ext uri="{FF2B5EF4-FFF2-40B4-BE49-F238E27FC236}">
                    <a16:creationId xmlns:a16="http://schemas.microsoft.com/office/drawing/2014/main" id="{4EF6B16F-0CE0-4816-06D8-3285B9681A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56048" y="4004596"/>
                <a:ext cx="54295" cy="74204"/>
              </a:xfrm>
              <a:custGeom>
                <a:avLst/>
                <a:gdLst>
                  <a:gd name="T0" fmla="*/ 84 w 130"/>
                  <a:gd name="T1" fmla="*/ 181 h 181"/>
                  <a:gd name="T2" fmla="*/ 84 w 130"/>
                  <a:gd name="T3" fmla="*/ 33 h 181"/>
                  <a:gd name="T4" fmla="*/ 130 w 130"/>
                  <a:gd name="T5" fmla="*/ 33 h 181"/>
                  <a:gd name="T6" fmla="*/ 130 w 130"/>
                  <a:gd name="T7" fmla="*/ 0 h 181"/>
                  <a:gd name="T8" fmla="*/ 0 w 130"/>
                  <a:gd name="T9" fmla="*/ 0 h 181"/>
                  <a:gd name="T10" fmla="*/ 0 w 130"/>
                  <a:gd name="T11" fmla="*/ 33 h 181"/>
                  <a:gd name="T12" fmla="*/ 45 w 130"/>
                  <a:gd name="T13" fmla="*/ 33 h 181"/>
                  <a:gd name="T14" fmla="*/ 45 w 130"/>
                  <a:gd name="T15" fmla="*/ 181 h 181"/>
                  <a:gd name="T16" fmla="*/ 84 w 130"/>
                  <a:gd name="T17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0" h="181">
                    <a:moveTo>
                      <a:pt x="84" y="181"/>
                    </a:moveTo>
                    <a:lnTo>
                      <a:pt x="84" y="33"/>
                    </a:lnTo>
                    <a:lnTo>
                      <a:pt x="130" y="33"/>
                    </a:lnTo>
                    <a:lnTo>
                      <a:pt x="130" y="0"/>
                    </a:lnTo>
                    <a:lnTo>
                      <a:pt x="0" y="0"/>
                    </a:lnTo>
                    <a:lnTo>
                      <a:pt x="0" y="33"/>
                    </a:lnTo>
                    <a:lnTo>
                      <a:pt x="45" y="33"/>
                    </a:lnTo>
                    <a:lnTo>
                      <a:pt x="45" y="181"/>
                    </a:lnTo>
                    <a:lnTo>
                      <a:pt x="84" y="1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7" name="Freeform 44">
                <a:extLst>
                  <a:ext uri="{FF2B5EF4-FFF2-40B4-BE49-F238E27FC236}">
                    <a16:creationId xmlns:a16="http://schemas.microsoft.com/office/drawing/2014/main" id="{6594D440-AFD7-D8A6-8A8E-782F5BA085C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81844" y="4002787"/>
                <a:ext cx="61534" cy="77823"/>
              </a:xfrm>
              <a:custGeom>
                <a:avLst/>
                <a:gdLst>
                  <a:gd name="T0" fmla="*/ 76 w 150"/>
                  <a:gd name="T1" fmla="*/ 154 h 187"/>
                  <a:gd name="T2" fmla="*/ 40 w 150"/>
                  <a:gd name="T3" fmla="*/ 92 h 187"/>
                  <a:gd name="T4" fmla="*/ 74 w 150"/>
                  <a:gd name="T5" fmla="*/ 33 h 187"/>
                  <a:gd name="T6" fmla="*/ 109 w 150"/>
                  <a:gd name="T7" fmla="*/ 95 h 187"/>
                  <a:gd name="T8" fmla="*/ 76 w 150"/>
                  <a:gd name="T9" fmla="*/ 154 h 187"/>
                  <a:gd name="T10" fmla="*/ 76 w 150"/>
                  <a:gd name="T11" fmla="*/ 0 h 187"/>
                  <a:gd name="T12" fmla="*/ 0 w 150"/>
                  <a:gd name="T13" fmla="*/ 95 h 187"/>
                  <a:gd name="T14" fmla="*/ 74 w 150"/>
                  <a:gd name="T15" fmla="*/ 187 h 187"/>
                  <a:gd name="T16" fmla="*/ 150 w 150"/>
                  <a:gd name="T17" fmla="*/ 93 h 187"/>
                  <a:gd name="T18" fmla="*/ 76 w 150"/>
                  <a:gd name="T1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87">
                    <a:moveTo>
                      <a:pt x="76" y="154"/>
                    </a:moveTo>
                    <a:cubicBezTo>
                      <a:pt x="54" y="154"/>
                      <a:pt x="40" y="138"/>
                      <a:pt x="40" y="92"/>
                    </a:cubicBezTo>
                    <a:cubicBezTo>
                      <a:pt x="40" y="47"/>
                      <a:pt x="54" y="33"/>
                      <a:pt x="74" y="33"/>
                    </a:cubicBezTo>
                    <a:cubicBezTo>
                      <a:pt x="96" y="33"/>
                      <a:pt x="109" y="49"/>
                      <a:pt x="109" y="95"/>
                    </a:cubicBezTo>
                    <a:cubicBezTo>
                      <a:pt x="109" y="139"/>
                      <a:pt x="97" y="154"/>
                      <a:pt x="76" y="154"/>
                    </a:cubicBezTo>
                    <a:close/>
                    <a:moveTo>
                      <a:pt x="76" y="0"/>
                    </a:moveTo>
                    <a:cubicBezTo>
                      <a:pt x="32" y="0"/>
                      <a:pt x="0" y="29"/>
                      <a:pt x="0" y="95"/>
                    </a:cubicBezTo>
                    <a:cubicBezTo>
                      <a:pt x="0" y="163"/>
                      <a:pt x="28" y="187"/>
                      <a:pt x="74" y="187"/>
                    </a:cubicBezTo>
                    <a:cubicBezTo>
                      <a:pt x="118" y="187"/>
                      <a:pt x="150" y="159"/>
                      <a:pt x="150" y="93"/>
                    </a:cubicBezTo>
                    <a:cubicBezTo>
                      <a:pt x="150" y="25"/>
                      <a:pt x="121" y="0"/>
                      <a:pt x="7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" name="Freeform 45">
                <a:extLst>
                  <a:ext uri="{FF2B5EF4-FFF2-40B4-BE49-F238E27FC236}">
                    <a16:creationId xmlns:a16="http://schemas.microsoft.com/office/drawing/2014/main" id="{4601378D-4F67-F047-B0A8-A32AFE6A54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07642" y="4004596"/>
                <a:ext cx="54295" cy="74204"/>
              </a:xfrm>
              <a:custGeom>
                <a:avLst/>
                <a:gdLst>
                  <a:gd name="T0" fmla="*/ 66 w 132"/>
                  <a:gd name="T1" fmla="*/ 149 h 181"/>
                  <a:gd name="T2" fmla="*/ 39 w 132"/>
                  <a:gd name="T3" fmla="*/ 149 h 181"/>
                  <a:gd name="T4" fmla="*/ 39 w 132"/>
                  <a:gd name="T5" fmla="*/ 105 h 181"/>
                  <a:gd name="T6" fmla="*/ 64 w 132"/>
                  <a:gd name="T7" fmla="*/ 105 h 181"/>
                  <a:gd name="T8" fmla="*/ 92 w 132"/>
                  <a:gd name="T9" fmla="*/ 127 h 181"/>
                  <a:gd name="T10" fmla="*/ 66 w 132"/>
                  <a:gd name="T11" fmla="*/ 149 h 181"/>
                  <a:gd name="T12" fmla="*/ 39 w 132"/>
                  <a:gd name="T13" fmla="*/ 33 h 181"/>
                  <a:gd name="T14" fmla="*/ 60 w 132"/>
                  <a:gd name="T15" fmla="*/ 33 h 181"/>
                  <a:gd name="T16" fmla="*/ 85 w 132"/>
                  <a:gd name="T17" fmla="*/ 52 h 181"/>
                  <a:gd name="T18" fmla="*/ 59 w 132"/>
                  <a:gd name="T19" fmla="*/ 73 h 181"/>
                  <a:gd name="T20" fmla="*/ 39 w 132"/>
                  <a:gd name="T21" fmla="*/ 73 h 181"/>
                  <a:gd name="T22" fmla="*/ 39 w 132"/>
                  <a:gd name="T23" fmla="*/ 33 h 181"/>
                  <a:gd name="T24" fmla="*/ 97 w 132"/>
                  <a:gd name="T25" fmla="*/ 86 h 181"/>
                  <a:gd name="T26" fmla="*/ 97 w 132"/>
                  <a:gd name="T27" fmla="*/ 85 h 181"/>
                  <a:gd name="T28" fmla="*/ 123 w 132"/>
                  <a:gd name="T29" fmla="*/ 47 h 181"/>
                  <a:gd name="T30" fmla="*/ 65 w 132"/>
                  <a:gd name="T31" fmla="*/ 0 h 181"/>
                  <a:gd name="T32" fmla="*/ 0 w 132"/>
                  <a:gd name="T33" fmla="*/ 0 h 181"/>
                  <a:gd name="T34" fmla="*/ 0 w 132"/>
                  <a:gd name="T35" fmla="*/ 181 h 181"/>
                  <a:gd name="T36" fmla="*/ 60 w 132"/>
                  <a:gd name="T37" fmla="*/ 181 h 181"/>
                  <a:gd name="T38" fmla="*/ 132 w 132"/>
                  <a:gd name="T39" fmla="*/ 126 h 181"/>
                  <a:gd name="T40" fmla="*/ 97 w 132"/>
                  <a:gd name="T41" fmla="*/ 86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2" h="181">
                    <a:moveTo>
                      <a:pt x="66" y="149"/>
                    </a:moveTo>
                    <a:lnTo>
                      <a:pt x="39" y="149"/>
                    </a:lnTo>
                    <a:lnTo>
                      <a:pt x="39" y="105"/>
                    </a:lnTo>
                    <a:lnTo>
                      <a:pt x="64" y="105"/>
                    </a:lnTo>
                    <a:cubicBezTo>
                      <a:pt x="79" y="105"/>
                      <a:pt x="92" y="111"/>
                      <a:pt x="92" y="127"/>
                    </a:cubicBezTo>
                    <a:cubicBezTo>
                      <a:pt x="92" y="137"/>
                      <a:pt x="86" y="149"/>
                      <a:pt x="66" y="149"/>
                    </a:cubicBezTo>
                    <a:close/>
                    <a:moveTo>
                      <a:pt x="39" y="33"/>
                    </a:moveTo>
                    <a:lnTo>
                      <a:pt x="60" y="33"/>
                    </a:lnTo>
                    <a:cubicBezTo>
                      <a:pt x="79" y="33"/>
                      <a:pt x="85" y="41"/>
                      <a:pt x="85" y="52"/>
                    </a:cubicBezTo>
                    <a:cubicBezTo>
                      <a:pt x="85" y="63"/>
                      <a:pt x="78" y="73"/>
                      <a:pt x="59" y="73"/>
                    </a:cubicBezTo>
                    <a:lnTo>
                      <a:pt x="39" y="73"/>
                    </a:lnTo>
                    <a:lnTo>
                      <a:pt x="39" y="33"/>
                    </a:lnTo>
                    <a:close/>
                    <a:moveTo>
                      <a:pt x="97" y="86"/>
                    </a:moveTo>
                    <a:lnTo>
                      <a:pt x="97" y="85"/>
                    </a:lnTo>
                    <a:cubicBezTo>
                      <a:pt x="111" y="80"/>
                      <a:pt x="123" y="67"/>
                      <a:pt x="123" y="47"/>
                    </a:cubicBezTo>
                    <a:cubicBezTo>
                      <a:pt x="123" y="10"/>
                      <a:pt x="97" y="0"/>
                      <a:pt x="65" y="0"/>
                    </a:cubicBezTo>
                    <a:lnTo>
                      <a:pt x="0" y="0"/>
                    </a:lnTo>
                    <a:lnTo>
                      <a:pt x="0" y="181"/>
                    </a:lnTo>
                    <a:lnTo>
                      <a:pt x="60" y="181"/>
                    </a:lnTo>
                    <a:cubicBezTo>
                      <a:pt x="120" y="181"/>
                      <a:pt x="132" y="149"/>
                      <a:pt x="132" y="126"/>
                    </a:cubicBezTo>
                    <a:cubicBezTo>
                      <a:pt x="132" y="100"/>
                      <a:pt x="114" y="88"/>
                      <a:pt x="9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" name="Freeform 46">
                <a:extLst>
                  <a:ext uri="{FF2B5EF4-FFF2-40B4-BE49-F238E27FC236}">
                    <a16:creationId xmlns:a16="http://schemas.microsoft.com/office/drawing/2014/main" id="{18E3DDB7-9F78-763E-9751-B10D6BD052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7182" y="4104138"/>
                <a:ext cx="30768" cy="39816"/>
              </a:xfrm>
              <a:custGeom>
                <a:avLst/>
                <a:gdLst>
                  <a:gd name="T0" fmla="*/ 53 w 74"/>
                  <a:gd name="T1" fmla="*/ 61 h 97"/>
                  <a:gd name="T2" fmla="*/ 38 w 74"/>
                  <a:gd name="T3" fmla="*/ 80 h 97"/>
                  <a:gd name="T4" fmla="*/ 21 w 74"/>
                  <a:gd name="T5" fmla="*/ 59 h 97"/>
                  <a:gd name="T6" fmla="*/ 21 w 74"/>
                  <a:gd name="T7" fmla="*/ 0 h 97"/>
                  <a:gd name="T8" fmla="*/ 0 w 74"/>
                  <a:gd name="T9" fmla="*/ 0 h 97"/>
                  <a:gd name="T10" fmla="*/ 0 w 74"/>
                  <a:gd name="T11" fmla="*/ 63 h 97"/>
                  <a:gd name="T12" fmla="*/ 35 w 74"/>
                  <a:gd name="T13" fmla="*/ 97 h 97"/>
                  <a:gd name="T14" fmla="*/ 74 w 74"/>
                  <a:gd name="T15" fmla="*/ 58 h 97"/>
                  <a:gd name="T16" fmla="*/ 74 w 74"/>
                  <a:gd name="T17" fmla="*/ 0 h 97"/>
                  <a:gd name="T18" fmla="*/ 53 w 74"/>
                  <a:gd name="T19" fmla="*/ 0 h 97"/>
                  <a:gd name="T20" fmla="*/ 53 w 74"/>
                  <a:gd name="T21" fmla="*/ 6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4" h="97">
                    <a:moveTo>
                      <a:pt x="53" y="61"/>
                    </a:moveTo>
                    <a:cubicBezTo>
                      <a:pt x="53" y="74"/>
                      <a:pt x="48" y="80"/>
                      <a:pt x="38" y="80"/>
                    </a:cubicBezTo>
                    <a:cubicBezTo>
                      <a:pt x="26" y="80"/>
                      <a:pt x="21" y="72"/>
                      <a:pt x="21" y="59"/>
                    </a:cubicBezTo>
                    <a:lnTo>
                      <a:pt x="21" y="0"/>
                    </a:lnTo>
                    <a:lnTo>
                      <a:pt x="0" y="0"/>
                    </a:lnTo>
                    <a:lnTo>
                      <a:pt x="0" y="63"/>
                    </a:lnTo>
                    <a:cubicBezTo>
                      <a:pt x="0" y="82"/>
                      <a:pt x="10" y="97"/>
                      <a:pt x="35" y="97"/>
                    </a:cubicBezTo>
                    <a:cubicBezTo>
                      <a:pt x="56" y="97"/>
                      <a:pt x="74" y="87"/>
                      <a:pt x="74" y="58"/>
                    </a:cubicBezTo>
                    <a:lnTo>
                      <a:pt x="74" y="0"/>
                    </a:lnTo>
                    <a:lnTo>
                      <a:pt x="53" y="0"/>
                    </a:lnTo>
                    <a:lnTo>
                      <a:pt x="53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" name="Freeform 47">
                <a:extLst>
                  <a:ext uri="{FF2B5EF4-FFF2-40B4-BE49-F238E27FC236}">
                    <a16:creationId xmlns:a16="http://schemas.microsoft.com/office/drawing/2014/main" id="{1E26F21C-4A53-95B3-D478-416610F192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9176" y="4104138"/>
                <a:ext cx="28957" cy="39816"/>
              </a:xfrm>
              <a:custGeom>
                <a:avLst/>
                <a:gdLst>
                  <a:gd name="T0" fmla="*/ 26 w 69"/>
                  <a:gd name="T1" fmla="*/ 26 h 98"/>
                  <a:gd name="T2" fmla="*/ 36 w 69"/>
                  <a:gd name="T3" fmla="*/ 18 h 98"/>
                  <a:gd name="T4" fmla="*/ 54 w 69"/>
                  <a:gd name="T5" fmla="*/ 27 h 98"/>
                  <a:gd name="T6" fmla="*/ 67 w 69"/>
                  <a:gd name="T7" fmla="*/ 11 h 98"/>
                  <a:gd name="T8" fmla="*/ 38 w 69"/>
                  <a:gd name="T9" fmla="*/ 0 h 98"/>
                  <a:gd name="T10" fmla="*/ 4 w 69"/>
                  <a:gd name="T11" fmla="*/ 28 h 98"/>
                  <a:gd name="T12" fmla="*/ 48 w 69"/>
                  <a:gd name="T13" fmla="*/ 71 h 98"/>
                  <a:gd name="T14" fmla="*/ 36 w 69"/>
                  <a:gd name="T15" fmla="*/ 81 h 98"/>
                  <a:gd name="T16" fmla="*/ 12 w 69"/>
                  <a:gd name="T17" fmla="*/ 69 h 98"/>
                  <a:gd name="T18" fmla="*/ 0 w 69"/>
                  <a:gd name="T19" fmla="*/ 86 h 98"/>
                  <a:gd name="T20" fmla="*/ 33 w 69"/>
                  <a:gd name="T21" fmla="*/ 98 h 98"/>
                  <a:gd name="T22" fmla="*/ 69 w 69"/>
                  <a:gd name="T23" fmla="*/ 70 h 98"/>
                  <a:gd name="T24" fmla="*/ 26 w 69"/>
                  <a:gd name="T25" fmla="*/ 2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98">
                    <a:moveTo>
                      <a:pt x="26" y="26"/>
                    </a:moveTo>
                    <a:cubicBezTo>
                      <a:pt x="26" y="22"/>
                      <a:pt x="29" y="18"/>
                      <a:pt x="36" y="18"/>
                    </a:cubicBezTo>
                    <a:cubicBezTo>
                      <a:pt x="46" y="18"/>
                      <a:pt x="52" y="24"/>
                      <a:pt x="54" y="27"/>
                    </a:cubicBezTo>
                    <a:lnTo>
                      <a:pt x="67" y="11"/>
                    </a:lnTo>
                    <a:cubicBezTo>
                      <a:pt x="64" y="7"/>
                      <a:pt x="54" y="0"/>
                      <a:pt x="38" y="0"/>
                    </a:cubicBezTo>
                    <a:cubicBezTo>
                      <a:pt x="18" y="0"/>
                      <a:pt x="4" y="12"/>
                      <a:pt x="4" y="28"/>
                    </a:cubicBezTo>
                    <a:cubicBezTo>
                      <a:pt x="4" y="58"/>
                      <a:pt x="48" y="56"/>
                      <a:pt x="48" y="71"/>
                    </a:cubicBezTo>
                    <a:cubicBezTo>
                      <a:pt x="48" y="76"/>
                      <a:pt x="44" y="81"/>
                      <a:pt x="36" y="81"/>
                    </a:cubicBezTo>
                    <a:cubicBezTo>
                      <a:pt x="24" y="81"/>
                      <a:pt x="16" y="73"/>
                      <a:pt x="12" y="69"/>
                    </a:cubicBezTo>
                    <a:lnTo>
                      <a:pt x="0" y="86"/>
                    </a:lnTo>
                    <a:cubicBezTo>
                      <a:pt x="4" y="90"/>
                      <a:pt x="15" y="98"/>
                      <a:pt x="33" y="98"/>
                    </a:cubicBezTo>
                    <a:cubicBezTo>
                      <a:pt x="58" y="98"/>
                      <a:pt x="69" y="84"/>
                      <a:pt x="69" y="70"/>
                    </a:cubicBezTo>
                    <a:cubicBezTo>
                      <a:pt x="69" y="40"/>
                      <a:pt x="26" y="42"/>
                      <a:pt x="2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" name="Freeform 48">
                <a:extLst>
                  <a:ext uri="{FF2B5EF4-FFF2-40B4-BE49-F238E27FC236}">
                    <a16:creationId xmlns:a16="http://schemas.microsoft.com/office/drawing/2014/main" id="{7DF84786-29CF-9077-5450-A5361B78CFE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83628" y="4104138"/>
                <a:ext cx="27148" cy="39816"/>
              </a:xfrm>
              <a:custGeom>
                <a:avLst/>
                <a:gdLst>
                  <a:gd name="T0" fmla="*/ 27 w 66"/>
                  <a:gd name="T1" fmla="*/ 45 h 96"/>
                  <a:gd name="T2" fmla="*/ 21 w 66"/>
                  <a:gd name="T3" fmla="*/ 45 h 96"/>
                  <a:gd name="T4" fmla="*/ 21 w 66"/>
                  <a:gd name="T5" fmla="*/ 18 h 96"/>
                  <a:gd name="T6" fmla="*/ 29 w 66"/>
                  <a:gd name="T7" fmla="*/ 18 h 96"/>
                  <a:gd name="T8" fmla="*/ 44 w 66"/>
                  <a:gd name="T9" fmla="*/ 31 h 96"/>
                  <a:gd name="T10" fmla="*/ 27 w 66"/>
                  <a:gd name="T11" fmla="*/ 45 h 96"/>
                  <a:gd name="T12" fmla="*/ 32 w 66"/>
                  <a:gd name="T13" fmla="*/ 0 h 96"/>
                  <a:gd name="T14" fmla="*/ 0 w 66"/>
                  <a:gd name="T15" fmla="*/ 0 h 96"/>
                  <a:gd name="T16" fmla="*/ 0 w 66"/>
                  <a:gd name="T17" fmla="*/ 96 h 96"/>
                  <a:gd name="T18" fmla="*/ 21 w 66"/>
                  <a:gd name="T19" fmla="*/ 96 h 96"/>
                  <a:gd name="T20" fmla="*/ 21 w 66"/>
                  <a:gd name="T21" fmla="*/ 62 h 96"/>
                  <a:gd name="T22" fmla="*/ 29 w 66"/>
                  <a:gd name="T23" fmla="*/ 62 h 96"/>
                  <a:gd name="T24" fmla="*/ 66 w 66"/>
                  <a:gd name="T25" fmla="*/ 29 h 96"/>
                  <a:gd name="T26" fmla="*/ 32 w 66"/>
                  <a:gd name="T27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6" h="96">
                    <a:moveTo>
                      <a:pt x="27" y="45"/>
                    </a:moveTo>
                    <a:lnTo>
                      <a:pt x="21" y="45"/>
                    </a:lnTo>
                    <a:lnTo>
                      <a:pt x="21" y="18"/>
                    </a:lnTo>
                    <a:lnTo>
                      <a:pt x="29" y="18"/>
                    </a:lnTo>
                    <a:cubicBezTo>
                      <a:pt x="40" y="18"/>
                      <a:pt x="44" y="22"/>
                      <a:pt x="44" y="31"/>
                    </a:cubicBezTo>
                    <a:cubicBezTo>
                      <a:pt x="44" y="39"/>
                      <a:pt x="41" y="45"/>
                      <a:pt x="27" y="45"/>
                    </a:cubicBezTo>
                    <a:close/>
                    <a:moveTo>
                      <a:pt x="32" y="0"/>
                    </a:move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2"/>
                    </a:lnTo>
                    <a:lnTo>
                      <a:pt x="29" y="62"/>
                    </a:lnTo>
                    <a:cubicBezTo>
                      <a:pt x="57" y="62"/>
                      <a:pt x="66" y="46"/>
                      <a:pt x="66" y="29"/>
                    </a:cubicBezTo>
                    <a:cubicBezTo>
                      <a:pt x="66" y="7"/>
                      <a:pt x="52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" name="Freeform 49">
                <a:extLst>
                  <a:ext uri="{FF2B5EF4-FFF2-40B4-BE49-F238E27FC236}">
                    <a16:creationId xmlns:a16="http://schemas.microsoft.com/office/drawing/2014/main" id="{28CF7D54-9617-1DD7-4977-2034381895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31143" y="4104138"/>
                <a:ext cx="39816" cy="39816"/>
              </a:xfrm>
              <a:custGeom>
                <a:avLst/>
                <a:gdLst>
                  <a:gd name="T0" fmla="*/ 51 w 100"/>
                  <a:gd name="T1" fmla="*/ 52 h 96"/>
                  <a:gd name="T2" fmla="*/ 50 w 100"/>
                  <a:gd name="T3" fmla="*/ 52 h 96"/>
                  <a:gd name="T4" fmla="*/ 32 w 100"/>
                  <a:gd name="T5" fmla="*/ 0 h 96"/>
                  <a:gd name="T6" fmla="*/ 0 w 100"/>
                  <a:gd name="T7" fmla="*/ 0 h 96"/>
                  <a:gd name="T8" fmla="*/ 0 w 100"/>
                  <a:gd name="T9" fmla="*/ 96 h 96"/>
                  <a:gd name="T10" fmla="*/ 19 w 100"/>
                  <a:gd name="T11" fmla="*/ 96 h 96"/>
                  <a:gd name="T12" fmla="*/ 19 w 100"/>
                  <a:gd name="T13" fmla="*/ 25 h 96"/>
                  <a:gd name="T14" fmla="*/ 20 w 100"/>
                  <a:gd name="T15" fmla="*/ 25 h 96"/>
                  <a:gd name="T16" fmla="*/ 41 w 100"/>
                  <a:gd name="T17" fmla="*/ 84 h 96"/>
                  <a:gd name="T18" fmla="*/ 58 w 100"/>
                  <a:gd name="T19" fmla="*/ 84 h 96"/>
                  <a:gd name="T20" fmla="*/ 80 w 100"/>
                  <a:gd name="T21" fmla="*/ 25 h 96"/>
                  <a:gd name="T22" fmla="*/ 80 w 100"/>
                  <a:gd name="T23" fmla="*/ 25 h 96"/>
                  <a:gd name="T24" fmla="*/ 80 w 100"/>
                  <a:gd name="T25" fmla="*/ 96 h 96"/>
                  <a:gd name="T26" fmla="*/ 100 w 100"/>
                  <a:gd name="T27" fmla="*/ 96 h 96"/>
                  <a:gd name="T28" fmla="*/ 100 w 100"/>
                  <a:gd name="T29" fmla="*/ 0 h 96"/>
                  <a:gd name="T30" fmla="*/ 69 w 100"/>
                  <a:gd name="T31" fmla="*/ 0 h 96"/>
                  <a:gd name="T32" fmla="*/ 51 w 100"/>
                  <a:gd name="T33" fmla="*/ 5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96">
                    <a:moveTo>
                      <a:pt x="51" y="52"/>
                    </a:moveTo>
                    <a:lnTo>
                      <a:pt x="50" y="52"/>
                    </a:lnTo>
                    <a:lnTo>
                      <a:pt x="32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25"/>
                    </a:lnTo>
                    <a:lnTo>
                      <a:pt x="20" y="25"/>
                    </a:lnTo>
                    <a:lnTo>
                      <a:pt x="41" y="84"/>
                    </a:lnTo>
                    <a:lnTo>
                      <a:pt x="58" y="84"/>
                    </a:lnTo>
                    <a:lnTo>
                      <a:pt x="80" y="25"/>
                    </a:lnTo>
                    <a:lnTo>
                      <a:pt x="80" y="25"/>
                    </a:lnTo>
                    <a:lnTo>
                      <a:pt x="80" y="96"/>
                    </a:lnTo>
                    <a:lnTo>
                      <a:pt x="100" y="96"/>
                    </a:lnTo>
                    <a:lnTo>
                      <a:pt x="100" y="0"/>
                    </a:lnTo>
                    <a:lnTo>
                      <a:pt x="69" y="0"/>
                    </a:lnTo>
                    <a:lnTo>
                      <a:pt x="51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" name="Freeform 50">
                <a:extLst>
                  <a:ext uri="{FF2B5EF4-FFF2-40B4-BE49-F238E27FC236}">
                    <a16:creationId xmlns:a16="http://schemas.microsoft.com/office/drawing/2014/main" id="{347C4EAB-25E0-1317-7E3A-70BCEE5A14E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1077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4 w 87"/>
                  <a:gd name="T7" fmla="*/ 15 h 96"/>
                  <a:gd name="T8" fmla="*/ 51 w 87"/>
                  <a:gd name="T9" fmla="*/ 43 h 96"/>
                  <a:gd name="T10" fmla="*/ 55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2" y="23"/>
                      <a:pt x="43" y="15"/>
                    </a:cubicBezTo>
                    <a:lnTo>
                      <a:pt x="44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5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" name="Freeform 51">
                <a:extLst>
                  <a:ext uri="{FF2B5EF4-FFF2-40B4-BE49-F238E27FC236}">
                    <a16:creationId xmlns:a16="http://schemas.microsoft.com/office/drawing/2014/main" id="{DFD74453-0C4D-4FD2-3976-FA2B804399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81819" y="4004596"/>
                <a:ext cx="59725" cy="74204"/>
              </a:xfrm>
              <a:custGeom>
                <a:avLst/>
                <a:gdLst>
                  <a:gd name="T0" fmla="*/ 0 w 146"/>
                  <a:gd name="T1" fmla="*/ 0 h 181"/>
                  <a:gd name="T2" fmla="*/ 0 w 146"/>
                  <a:gd name="T3" fmla="*/ 181 h 181"/>
                  <a:gd name="T4" fmla="*/ 38 w 146"/>
                  <a:gd name="T5" fmla="*/ 181 h 181"/>
                  <a:gd name="T6" fmla="*/ 38 w 146"/>
                  <a:gd name="T7" fmla="*/ 113 h 181"/>
                  <a:gd name="T8" fmla="*/ 35 w 146"/>
                  <a:gd name="T9" fmla="*/ 49 h 181"/>
                  <a:gd name="T10" fmla="*/ 36 w 146"/>
                  <a:gd name="T11" fmla="*/ 49 h 181"/>
                  <a:gd name="T12" fmla="*/ 60 w 146"/>
                  <a:gd name="T13" fmla="*/ 105 h 181"/>
                  <a:gd name="T14" fmla="*/ 100 w 146"/>
                  <a:gd name="T15" fmla="*/ 181 h 181"/>
                  <a:gd name="T16" fmla="*/ 146 w 146"/>
                  <a:gd name="T17" fmla="*/ 181 h 181"/>
                  <a:gd name="T18" fmla="*/ 146 w 146"/>
                  <a:gd name="T19" fmla="*/ 0 h 181"/>
                  <a:gd name="T20" fmla="*/ 109 w 146"/>
                  <a:gd name="T21" fmla="*/ 0 h 181"/>
                  <a:gd name="T22" fmla="*/ 109 w 146"/>
                  <a:gd name="T23" fmla="*/ 57 h 181"/>
                  <a:gd name="T24" fmla="*/ 111 w 146"/>
                  <a:gd name="T25" fmla="*/ 127 h 181"/>
                  <a:gd name="T26" fmla="*/ 110 w 146"/>
                  <a:gd name="T27" fmla="*/ 127 h 181"/>
                  <a:gd name="T28" fmla="*/ 84 w 146"/>
                  <a:gd name="T29" fmla="*/ 71 h 181"/>
                  <a:gd name="T30" fmla="*/ 47 w 146"/>
                  <a:gd name="T31" fmla="*/ 0 h 181"/>
                  <a:gd name="T32" fmla="*/ 0 w 146"/>
                  <a:gd name="T33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6" h="181">
                    <a:moveTo>
                      <a:pt x="0" y="0"/>
                    </a:moveTo>
                    <a:lnTo>
                      <a:pt x="0" y="181"/>
                    </a:lnTo>
                    <a:lnTo>
                      <a:pt x="38" y="181"/>
                    </a:lnTo>
                    <a:lnTo>
                      <a:pt x="38" y="113"/>
                    </a:lnTo>
                    <a:cubicBezTo>
                      <a:pt x="38" y="81"/>
                      <a:pt x="37" y="67"/>
                      <a:pt x="35" y="49"/>
                    </a:cubicBezTo>
                    <a:lnTo>
                      <a:pt x="36" y="49"/>
                    </a:lnTo>
                    <a:cubicBezTo>
                      <a:pt x="44" y="69"/>
                      <a:pt x="51" y="87"/>
                      <a:pt x="60" y="105"/>
                    </a:cubicBezTo>
                    <a:lnTo>
                      <a:pt x="100" y="181"/>
                    </a:lnTo>
                    <a:lnTo>
                      <a:pt x="146" y="181"/>
                    </a:lnTo>
                    <a:lnTo>
                      <a:pt x="146" y="0"/>
                    </a:lnTo>
                    <a:lnTo>
                      <a:pt x="109" y="0"/>
                    </a:lnTo>
                    <a:lnTo>
                      <a:pt x="109" y="57"/>
                    </a:lnTo>
                    <a:cubicBezTo>
                      <a:pt x="109" y="77"/>
                      <a:pt x="109" y="102"/>
                      <a:pt x="111" y="127"/>
                    </a:cubicBezTo>
                    <a:lnTo>
                      <a:pt x="110" y="127"/>
                    </a:lnTo>
                    <a:cubicBezTo>
                      <a:pt x="103" y="109"/>
                      <a:pt x="93" y="89"/>
                      <a:pt x="84" y="71"/>
                    </a:cubicBezTo>
                    <a:lnTo>
                      <a:pt x="4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" name="Freeform 52">
                <a:extLst>
                  <a:ext uri="{FF2B5EF4-FFF2-40B4-BE49-F238E27FC236}">
                    <a16:creationId xmlns:a16="http://schemas.microsoft.com/office/drawing/2014/main" id="{D1FC3F30-BE36-F71E-F605-9DCF6AE9CA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5421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2 w 77"/>
                  <a:gd name="T23" fmla="*/ 55 h 96"/>
                  <a:gd name="T24" fmla="*/ 53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2" y="55"/>
                    </a:cubicBezTo>
                    <a:lnTo>
                      <a:pt x="53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" name="Freeform 53">
                <a:extLst>
                  <a:ext uri="{FF2B5EF4-FFF2-40B4-BE49-F238E27FC236}">
                    <a16:creationId xmlns:a16="http://schemas.microsoft.com/office/drawing/2014/main" id="{51842938-D227-FC41-ECCC-84902079045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59641" y="4004596"/>
                <a:ext cx="68774" cy="74204"/>
              </a:xfrm>
              <a:custGeom>
                <a:avLst/>
                <a:gdLst>
                  <a:gd name="T0" fmla="*/ 61 w 165"/>
                  <a:gd name="T1" fmla="*/ 107 h 181"/>
                  <a:gd name="T2" fmla="*/ 68 w 165"/>
                  <a:gd name="T3" fmla="*/ 81 h 181"/>
                  <a:gd name="T4" fmla="*/ 82 w 165"/>
                  <a:gd name="T5" fmla="*/ 27 h 181"/>
                  <a:gd name="T6" fmla="*/ 83 w 165"/>
                  <a:gd name="T7" fmla="*/ 27 h 181"/>
                  <a:gd name="T8" fmla="*/ 96 w 165"/>
                  <a:gd name="T9" fmla="*/ 82 h 181"/>
                  <a:gd name="T10" fmla="*/ 103 w 165"/>
                  <a:gd name="T11" fmla="*/ 107 h 181"/>
                  <a:gd name="T12" fmla="*/ 61 w 165"/>
                  <a:gd name="T13" fmla="*/ 107 h 181"/>
                  <a:gd name="T14" fmla="*/ 55 w 165"/>
                  <a:gd name="T15" fmla="*/ 0 h 181"/>
                  <a:gd name="T16" fmla="*/ 0 w 165"/>
                  <a:gd name="T17" fmla="*/ 181 h 181"/>
                  <a:gd name="T18" fmla="*/ 40 w 165"/>
                  <a:gd name="T19" fmla="*/ 181 h 181"/>
                  <a:gd name="T20" fmla="*/ 52 w 165"/>
                  <a:gd name="T21" fmla="*/ 140 h 181"/>
                  <a:gd name="T22" fmla="*/ 112 w 165"/>
                  <a:gd name="T23" fmla="*/ 140 h 181"/>
                  <a:gd name="T24" fmla="*/ 124 w 165"/>
                  <a:gd name="T25" fmla="*/ 181 h 181"/>
                  <a:gd name="T26" fmla="*/ 165 w 165"/>
                  <a:gd name="T27" fmla="*/ 181 h 181"/>
                  <a:gd name="T28" fmla="*/ 110 w 165"/>
                  <a:gd name="T29" fmla="*/ 0 h 181"/>
                  <a:gd name="T30" fmla="*/ 55 w 165"/>
                  <a:gd name="T31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1" y="107"/>
                    </a:moveTo>
                    <a:lnTo>
                      <a:pt x="68" y="81"/>
                    </a:lnTo>
                    <a:cubicBezTo>
                      <a:pt x="75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close/>
                    <a:moveTo>
                      <a:pt x="55" y="0"/>
                    </a:move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" name="Freeform 54">
                <a:extLst>
                  <a:ext uri="{FF2B5EF4-FFF2-40B4-BE49-F238E27FC236}">
                    <a16:creationId xmlns:a16="http://schemas.microsoft.com/office/drawing/2014/main" id="{5A979611-55E5-D61E-8768-C55E2E31DE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94028" y="4104138"/>
                <a:ext cx="34387" cy="39816"/>
              </a:xfrm>
              <a:custGeom>
                <a:avLst/>
                <a:gdLst>
                  <a:gd name="T0" fmla="*/ 63 w 85"/>
                  <a:gd name="T1" fmla="*/ 0 h 96"/>
                  <a:gd name="T2" fmla="*/ 43 w 85"/>
                  <a:gd name="T3" fmla="*/ 44 h 96"/>
                  <a:gd name="T4" fmla="*/ 43 w 85"/>
                  <a:gd name="T5" fmla="*/ 44 h 96"/>
                  <a:gd name="T6" fmla="*/ 23 w 85"/>
                  <a:gd name="T7" fmla="*/ 0 h 96"/>
                  <a:gd name="T8" fmla="*/ 0 w 85"/>
                  <a:gd name="T9" fmla="*/ 0 h 96"/>
                  <a:gd name="T10" fmla="*/ 32 w 85"/>
                  <a:gd name="T11" fmla="*/ 65 h 96"/>
                  <a:gd name="T12" fmla="*/ 32 w 85"/>
                  <a:gd name="T13" fmla="*/ 96 h 96"/>
                  <a:gd name="T14" fmla="*/ 53 w 85"/>
                  <a:gd name="T15" fmla="*/ 96 h 96"/>
                  <a:gd name="T16" fmla="*/ 53 w 85"/>
                  <a:gd name="T17" fmla="*/ 65 h 96"/>
                  <a:gd name="T18" fmla="*/ 85 w 85"/>
                  <a:gd name="T19" fmla="*/ 0 h 96"/>
                  <a:gd name="T20" fmla="*/ 63 w 85"/>
                  <a:gd name="T2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" h="96">
                    <a:moveTo>
                      <a:pt x="63" y="0"/>
                    </a:moveTo>
                    <a:lnTo>
                      <a:pt x="43" y="44"/>
                    </a:lnTo>
                    <a:lnTo>
                      <a:pt x="43" y="44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32" y="65"/>
                    </a:lnTo>
                    <a:lnTo>
                      <a:pt x="32" y="96"/>
                    </a:lnTo>
                    <a:lnTo>
                      <a:pt x="53" y="96"/>
                    </a:lnTo>
                    <a:lnTo>
                      <a:pt x="53" y="65"/>
                    </a:lnTo>
                    <a:lnTo>
                      <a:pt x="85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" name="Freeform 55">
                <a:extLst>
                  <a:ext uri="{FF2B5EF4-FFF2-40B4-BE49-F238E27FC236}">
                    <a16:creationId xmlns:a16="http://schemas.microsoft.com/office/drawing/2014/main" id="{5A06A503-0349-B80B-B350-B3CFC72AE02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94946" y="4004596"/>
                <a:ext cx="66964" cy="74204"/>
              </a:xfrm>
              <a:custGeom>
                <a:avLst/>
                <a:gdLst>
                  <a:gd name="T0" fmla="*/ 68 w 165"/>
                  <a:gd name="T1" fmla="*/ 81 h 181"/>
                  <a:gd name="T2" fmla="*/ 82 w 165"/>
                  <a:gd name="T3" fmla="*/ 27 h 181"/>
                  <a:gd name="T4" fmla="*/ 83 w 165"/>
                  <a:gd name="T5" fmla="*/ 27 h 181"/>
                  <a:gd name="T6" fmla="*/ 96 w 165"/>
                  <a:gd name="T7" fmla="*/ 82 h 181"/>
                  <a:gd name="T8" fmla="*/ 103 w 165"/>
                  <a:gd name="T9" fmla="*/ 107 h 181"/>
                  <a:gd name="T10" fmla="*/ 61 w 165"/>
                  <a:gd name="T11" fmla="*/ 107 h 181"/>
                  <a:gd name="T12" fmla="*/ 68 w 165"/>
                  <a:gd name="T13" fmla="*/ 81 h 181"/>
                  <a:gd name="T14" fmla="*/ 52 w 165"/>
                  <a:gd name="T15" fmla="*/ 140 h 181"/>
                  <a:gd name="T16" fmla="*/ 112 w 165"/>
                  <a:gd name="T17" fmla="*/ 140 h 181"/>
                  <a:gd name="T18" fmla="*/ 124 w 165"/>
                  <a:gd name="T19" fmla="*/ 181 h 181"/>
                  <a:gd name="T20" fmla="*/ 165 w 165"/>
                  <a:gd name="T21" fmla="*/ 181 h 181"/>
                  <a:gd name="T22" fmla="*/ 110 w 165"/>
                  <a:gd name="T23" fmla="*/ 0 h 181"/>
                  <a:gd name="T24" fmla="*/ 55 w 165"/>
                  <a:gd name="T25" fmla="*/ 0 h 181"/>
                  <a:gd name="T26" fmla="*/ 0 w 165"/>
                  <a:gd name="T27" fmla="*/ 181 h 181"/>
                  <a:gd name="T28" fmla="*/ 40 w 165"/>
                  <a:gd name="T29" fmla="*/ 181 h 181"/>
                  <a:gd name="T30" fmla="*/ 52 w 165"/>
                  <a:gd name="T31" fmla="*/ 14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8" y="81"/>
                    </a:moveTo>
                    <a:cubicBezTo>
                      <a:pt x="74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lnTo>
                      <a:pt x="68" y="81"/>
                    </a:lnTo>
                    <a:close/>
                    <a:moveTo>
                      <a:pt x="52" y="140"/>
                    </a:move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" name="Freeform 56">
                <a:extLst>
                  <a:ext uri="{FF2B5EF4-FFF2-40B4-BE49-F238E27FC236}">
                    <a16:creationId xmlns:a16="http://schemas.microsoft.com/office/drawing/2014/main" id="{2598F916-0952-48DD-F888-3DA1144BB8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2482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19 w 77"/>
                  <a:gd name="T15" fmla="*/ 96 h 96"/>
                  <a:gd name="T16" fmla="*/ 19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60"/>
                    </a:lnTo>
                    <a:cubicBezTo>
                      <a:pt x="19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" name="Freeform 57">
                <a:extLst>
                  <a:ext uri="{FF2B5EF4-FFF2-40B4-BE49-F238E27FC236}">
                    <a16:creationId xmlns:a16="http://schemas.microsoft.com/office/drawing/2014/main" id="{519F0C0C-26A4-AEA7-775A-A691BBCB6B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448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" name="Freeform 58">
                <a:extLst>
                  <a:ext uri="{FF2B5EF4-FFF2-40B4-BE49-F238E27FC236}">
                    <a16:creationId xmlns:a16="http://schemas.microsoft.com/office/drawing/2014/main" id="{5D180926-7ADF-D7EE-EA9C-00A6C1BF85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19392" y="4002787"/>
                <a:ext cx="54295" cy="77823"/>
              </a:xfrm>
              <a:custGeom>
                <a:avLst/>
                <a:gdLst>
                  <a:gd name="T0" fmla="*/ 68 w 131"/>
                  <a:gd name="T1" fmla="*/ 154 h 187"/>
                  <a:gd name="T2" fmla="*/ 22 w 131"/>
                  <a:gd name="T3" fmla="*/ 132 h 187"/>
                  <a:gd name="T4" fmla="*/ 0 w 131"/>
                  <a:gd name="T5" fmla="*/ 164 h 187"/>
                  <a:gd name="T6" fmla="*/ 63 w 131"/>
                  <a:gd name="T7" fmla="*/ 187 h 187"/>
                  <a:gd name="T8" fmla="*/ 131 w 131"/>
                  <a:gd name="T9" fmla="*/ 133 h 187"/>
                  <a:gd name="T10" fmla="*/ 48 w 131"/>
                  <a:gd name="T11" fmla="*/ 51 h 187"/>
                  <a:gd name="T12" fmla="*/ 68 w 131"/>
                  <a:gd name="T13" fmla="*/ 35 h 187"/>
                  <a:gd name="T14" fmla="*/ 102 w 131"/>
                  <a:gd name="T15" fmla="*/ 51 h 187"/>
                  <a:gd name="T16" fmla="*/ 127 w 131"/>
                  <a:gd name="T17" fmla="*/ 22 h 187"/>
                  <a:gd name="T18" fmla="*/ 72 w 131"/>
                  <a:gd name="T19" fmla="*/ 0 h 187"/>
                  <a:gd name="T20" fmla="*/ 8 w 131"/>
                  <a:gd name="T21" fmla="*/ 54 h 187"/>
                  <a:gd name="T22" fmla="*/ 91 w 131"/>
                  <a:gd name="T23" fmla="*/ 136 h 187"/>
                  <a:gd name="T24" fmla="*/ 68 w 131"/>
                  <a:gd name="T25" fmla="*/ 154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1" h="187">
                    <a:moveTo>
                      <a:pt x="68" y="154"/>
                    </a:moveTo>
                    <a:cubicBezTo>
                      <a:pt x="46" y="154"/>
                      <a:pt x="30" y="140"/>
                      <a:pt x="22" y="132"/>
                    </a:cubicBezTo>
                    <a:lnTo>
                      <a:pt x="0" y="164"/>
                    </a:lnTo>
                    <a:cubicBezTo>
                      <a:pt x="6" y="171"/>
                      <a:pt x="28" y="187"/>
                      <a:pt x="63" y="187"/>
                    </a:cubicBezTo>
                    <a:cubicBezTo>
                      <a:pt x="109" y="187"/>
                      <a:pt x="131" y="160"/>
                      <a:pt x="131" y="133"/>
                    </a:cubicBezTo>
                    <a:cubicBezTo>
                      <a:pt x="131" y="76"/>
                      <a:pt x="48" y="80"/>
                      <a:pt x="48" y="51"/>
                    </a:cubicBezTo>
                    <a:cubicBezTo>
                      <a:pt x="48" y="42"/>
                      <a:pt x="55" y="35"/>
                      <a:pt x="68" y="35"/>
                    </a:cubicBezTo>
                    <a:cubicBezTo>
                      <a:pt x="87" y="35"/>
                      <a:pt x="98" y="46"/>
                      <a:pt x="102" y="51"/>
                    </a:cubicBezTo>
                    <a:lnTo>
                      <a:pt x="127" y="22"/>
                    </a:lnTo>
                    <a:cubicBezTo>
                      <a:pt x="121" y="14"/>
                      <a:pt x="102" y="0"/>
                      <a:pt x="72" y="0"/>
                    </a:cubicBezTo>
                    <a:cubicBezTo>
                      <a:pt x="34" y="0"/>
                      <a:pt x="8" y="24"/>
                      <a:pt x="8" y="54"/>
                    </a:cubicBezTo>
                    <a:cubicBezTo>
                      <a:pt x="8" y="111"/>
                      <a:pt x="91" y="107"/>
                      <a:pt x="91" y="136"/>
                    </a:cubicBezTo>
                    <a:cubicBezTo>
                      <a:pt x="91" y="145"/>
                      <a:pt x="84" y="154"/>
                      <a:pt x="68" y="1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" name="Freeform 59">
                <a:extLst>
                  <a:ext uri="{FF2B5EF4-FFF2-40B4-BE49-F238E27FC236}">
                    <a16:creationId xmlns:a16="http://schemas.microsoft.com/office/drawing/2014/main" id="{9B52BA26-0092-30FB-F960-84B5CB9199A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48809" y="4104138"/>
                <a:ext cx="28957" cy="39816"/>
              </a:xfrm>
              <a:custGeom>
                <a:avLst/>
                <a:gdLst>
                  <a:gd name="T0" fmla="*/ 29 w 71"/>
                  <a:gd name="T1" fmla="*/ 44 h 96"/>
                  <a:gd name="T2" fmla="*/ 21 w 71"/>
                  <a:gd name="T3" fmla="*/ 44 h 96"/>
                  <a:gd name="T4" fmla="*/ 21 w 71"/>
                  <a:gd name="T5" fmla="*/ 17 h 96"/>
                  <a:gd name="T6" fmla="*/ 29 w 71"/>
                  <a:gd name="T7" fmla="*/ 17 h 96"/>
                  <a:gd name="T8" fmla="*/ 43 w 71"/>
                  <a:gd name="T9" fmla="*/ 30 h 96"/>
                  <a:gd name="T10" fmla="*/ 29 w 71"/>
                  <a:gd name="T11" fmla="*/ 44 h 96"/>
                  <a:gd name="T12" fmla="*/ 44 w 71"/>
                  <a:gd name="T13" fmla="*/ 55 h 96"/>
                  <a:gd name="T14" fmla="*/ 44 w 71"/>
                  <a:gd name="T15" fmla="*/ 55 h 96"/>
                  <a:gd name="T16" fmla="*/ 64 w 71"/>
                  <a:gd name="T17" fmla="*/ 28 h 96"/>
                  <a:gd name="T18" fmla="*/ 31 w 71"/>
                  <a:gd name="T19" fmla="*/ 0 h 96"/>
                  <a:gd name="T20" fmla="*/ 0 w 71"/>
                  <a:gd name="T21" fmla="*/ 0 h 96"/>
                  <a:gd name="T22" fmla="*/ 0 w 71"/>
                  <a:gd name="T23" fmla="*/ 96 h 96"/>
                  <a:gd name="T24" fmla="*/ 21 w 71"/>
                  <a:gd name="T25" fmla="*/ 96 h 96"/>
                  <a:gd name="T26" fmla="*/ 21 w 71"/>
                  <a:gd name="T27" fmla="*/ 60 h 96"/>
                  <a:gd name="T28" fmla="*/ 22 w 71"/>
                  <a:gd name="T29" fmla="*/ 60 h 96"/>
                  <a:gd name="T30" fmla="*/ 31 w 71"/>
                  <a:gd name="T31" fmla="*/ 65 h 96"/>
                  <a:gd name="T32" fmla="*/ 47 w 71"/>
                  <a:gd name="T33" fmla="*/ 96 h 96"/>
                  <a:gd name="T34" fmla="*/ 71 w 71"/>
                  <a:gd name="T35" fmla="*/ 96 h 96"/>
                  <a:gd name="T36" fmla="*/ 57 w 71"/>
                  <a:gd name="T37" fmla="*/ 69 h 96"/>
                  <a:gd name="T38" fmla="*/ 44 w 71"/>
                  <a:gd name="T39" fmla="*/ 55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96">
                    <a:moveTo>
                      <a:pt x="29" y="44"/>
                    </a:moveTo>
                    <a:lnTo>
                      <a:pt x="21" y="44"/>
                    </a:lnTo>
                    <a:lnTo>
                      <a:pt x="21" y="17"/>
                    </a:lnTo>
                    <a:lnTo>
                      <a:pt x="29" y="17"/>
                    </a:lnTo>
                    <a:cubicBezTo>
                      <a:pt x="38" y="17"/>
                      <a:pt x="43" y="21"/>
                      <a:pt x="43" y="30"/>
                    </a:cubicBezTo>
                    <a:cubicBezTo>
                      <a:pt x="43" y="39"/>
                      <a:pt x="40" y="44"/>
                      <a:pt x="29" y="44"/>
                    </a:cubicBezTo>
                    <a:close/>
                    <a:moveTo>
                      <a:pt x="44" y="55"/>
                    </a:moveTo>
                    <a:lnTo>
                      <a:pt x="44" y="55"/>
                    </a:lnTo>
                    <a:cubicBezTo>
                      <a:pt x="55" y="53"/>
                      <a:pt x="64" y="45"/>
                      <a:pt x="64" y="28"/>
                    </a:cubicBezTo>
                    <a:cubicBezTo>
                      <a:pt x="64" y="8"/>
                      <a:pt x="52" y="0"/>
                      <a:pt x="31" y="0"/>
                    </a:cubicBez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0"/>
                    </a:lnTo>
                    <a:lnTo>
                      <a:pt x="22" y="60"/>
                    </a:lnTo>
                    <a:cubicBezTo>
                      <a:pt x="26" y="60"/>
                      <a:pt x="29" y="61"/>
                      <a:pt x="31" y="65"/>
                    </a:cubicBezTo>
                    <a:lnTo>
                      <a:pt x="47" y="96"/>
                    </a:lnTo>
                    <a:lnTo>
                      <a:pt x="71" y="96"/>
                    </a:lnTo>
                    <a:lnTo>
                      <a:pt x="57" y="69"/>
                    </a:lnTo>
                    <a:cubicBezTo>
                      <a:pt x="52" y="61"/>
                      <a:pt x="49" y="58"/>
                      <a:pt x="44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3" name="Freeform 60">
                <a:extLst>
                  <a:ext uri="{FF2B5EF4-FFF2-40B4-BE49-F238E27FC236}">
                    <a16:creationId xmlns:a16="http://schemas.microsoft.com/office/drawing/2014/main" id="{6C9D3E94-8240-5E7C-3FF7-0E3B273149A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8138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3 w 87"/>
                  <a:gd name="T7" fmla="*/ 15 h 96"/>
                  <a:gd name="T8" fmla="*/ 51 w 87"/>
                  <a:gd name="T9" fmla="*/ 43 h 96"/>
                  <a:gd name="T10" fmla="*/ 54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1" y="23"/>
                      <a:pt x="43" y="15"/>
                    </a:cubicBezTo>
                    <a:lnTo>
                      <a:pt x="43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4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4" name="Freeform 61">
                <a:extLst>
                  <a:ext uri="{FF2B5EF4-FFF2-40B4-BE49-F238E27FC236}">
                    <a16:creationId xmlns:a16="http://schemas.microsoft.com/office/drawing/2014/main" id="{0F17F7EB-46EF-1DC9-6A59-544A82E9A8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89516" y="4104138"/>
                <a:ext cx="32577" cy="39816"/>
              </a:xfrm>
              <a:custGeom>
                <a:avLst/>
                <a:gdLst>
                  <a:gd name="T0" fmla="*/ 40 w 79"/>
                  <a:gd name="T1" fmla="*/ 81 h 98"/>
                  <a:gd name="T2" fmla="*/ 21 w 79"/>
                  <a:gd name="T3" fmla="*/ 48 h 98"/>
                  <a:gd name="T4" fmla="*/ 39 w 79"/>
                  <a:gd name="T5" fmla="*/ 17 h 98"/>
                  <a:gd name="T6" fmla="*/ 57 w 79"/>
                  <a:gd name="T7" fmla="*/ 49 h 98"/>
                  <a:gd name="T8" fmla="*/ 40 w 79"/>
                  <a:gd name="T9" fmla="*/ 81 h 98"/>
                  <a:gd name="T10" fmla="*/ 40 w 79"/>
                  <a:gd name="T11" fmla="*/ 0 h 98"/>
                  <a:gd name="T12" fmla="*/ 0 w 79"/>
                  <a:gd name="T13" fmla="*/ 50 h 98"/>
                  <a:gd name="T14" fmla="*/ 39 w 79"/>
                  <a:gd name="T15" fmla="*/ 98 h 98"/>
                  <a:gd name="T16" fmla="*/ 79 w 79"/>
                  <a:gd name="T17" fmla="*/ 48 h 98"/>
                  <a:gd name="T18" fmla="*/ 40 w 79"/>
                  <a:gd name="T19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98">
                    <a:moveTo>
                      <a:pt x="40" y="81"/>
                    </a:moveTo>
                    <a:cubicBezTo>
                      <a:pt x="28" y="81"/>
                      <a:pt x="21" y="72"/>
                      <a:pt x="21" y="48"/>
                    </a:cubicBezTo>
                    <a:cubicBezTo>
                      <a:pt x="21" y="25"/>
                      <a:pt x="28" y="17"/>
                      <a:pt x="39" y="17"/>
                    </a:cubicBezTo>
                    <a:cubicBezTo>
                      <a:pt x="50" y="17"/>
                      <a:pt x="57" y="26"/>
                      <a:pt x="57" y="49"/>
                    </a:cubicBezTo>
                    <a:cubicBezTo>
                      <a:pt x="57" y="73"/>
                      <a:pt x="51" y="81"/>
                      <a:pt x="40" y="81"/>
                    </a:cubicBezTo>
                    <a:close/>
                    <a:moveTo>
                      <a:pt x="40" y="0"/>
                    </a:moveTo>
                    <a:cubicBezTo>
                      <a:pt x="17" y="0"/>
                      <a:pt x="0" y="15"/>
                      <a:pt x="0" y="50"/>
                    </a:cubicBezTo>
                    <a:cubicBezTo>
                      <a:pt x="0" y="85"/>
                      <a:pt x="15" y="98"/>
                      <a:pt x="39" y="98"/>
                    </a:cubicBezTo>
                    <a:cubicBezTo>
                      <a:pt x="62" y="98"/>
                      <a:pt x="79" y="83"/>
                      <a:pt x="79" y="48"/>
                    </a:cubicBezTo>
                    <a:cubicBezTo>
                      <a:pt x="79" y="13"/>
                      <a:pt x="64" y="0"/>
                      <a:pt x="4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5" name="Freeform 62">
                <a:extLst>
                  <a:ext uri="{FF2B5EF4-FFF2-40B4-BE49-F238E27FC236}">
                    <a16:creationId xmlns:a16="http://schemas.microsoft.com/office/drawing/2014/main" id="{DDF503F3-293B-CECE-929F-ACC97FDD43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04455" y="4104138"/>
                <a:ext cx="23528" cy="39816"/>
              </a:xfrm>
              <a:custGeom>
                <a:avLst/>
                <a:gdLst>
                  <a:gd name="T0" fmla="*/ 0 w 58"/>
                  <a:gd name="T1" fmla="*/ 0 h 96"/>
                  <a:gd name="T2" fmla="*/ 0 w 58"/>
                  <a:gd name="T3" fmla="*/ 96 h 96"/>
                  <a:gd name="T4" fmla="*/ 58 w 58"/>
                  <a:gd name="T5" fmla="*/ 96 h 96"/>
                  <a:gd name="T6" fmla="*/ 58 w 58"/>
                  <a:gd name="T7" fmla="*/ 79 h 96"/>
                  <a:gd name="T8" fmla="*/ 20 w 58"/>
                  <a:gd name="T9" fmla="*/ 79 h 96"/>
                  <a:gd name="T10" fmla="*/ 20 w 58"/>
                  <a:gd name="T11" fmla="*/ 56 h 96"/>
                  <a:gd name="T12" fmla="*/ 51 w 58"/>
                  <a:gd name="T13" fmla="*/ 56 h 96"/>
                  <a:gd name="T14" fmla="*/ 51 w 58"/>
                  <a:gd name="T15" fmla="*/ 39 h 96"/>
                  <a:gd name="T16" fmla="*/ 20 w 58"/>
                  <a:gd name="T17" fmla="*/ 39 h 96"/>
                  <a:gd name="T18" fmla="*/ 20 w 58"/>
                  <a:gd name="T19" fmla="*/ 17 h 96"/>
                  <a:gd name="T20" fmla="*/ 56 w 58"/>
                  <a:gd name="T21" fmla="*/ 17 h 96"/>
                  <a:gd name="T22" fmla="*/ 56 w 58"/>
                  <a:gd name="T23" fmla="*/ 0 h 96"/>
                  <a:gd name="T24" fmla="*/ 0 w 58"/>
                  <a:gd name="T25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" h="96">
                    <a:moveTo>
                      <a:pt x="0" y="0"/>
                    </a:moveTo>
                    <a:lnTo>
                      <a:pt x="0" y="96"/>
                    </a:lnTo>
                    <a:lnTo>
                      <a:pt x="58" y="96"/>
                    </a:lnTo>
                    <a:lnTo>
                      <a:pt x="58" y="79"/>
                    </a:lnTo>
                    <a:lnTo>
                      <a:pt x="20" y="79"/>
                    </a:lnTo>
                    <a:lnTo>
                      <a:pt x="20" y="56"/>
                    </a:lnTo>
                    <a:lnTo>
                      <a:pt x="51" y="56"/>
                    </a:lnTo>
                    <a:lnTo>
                      <a:pt x="51" y="39"/>
                    </a:lnTo>
                    <a:lnTo>
                      <a:pt x="20" y="39"/>
                    </a:lnTo>
                    <a:lnTo>
                      <a:pt x="20" y="17"/>
                    </a:lnTo>
                    <a:lnTo>
                      <a:pt x="56" y="17"/>
                    </a:lnTo>
                    <a:lnTo>
                      <a:pt x="5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6" name="Freeform 63">
                <a:extLst>
                  <a:ext uri="{FF2B5EF4-FFF2-40B4-BE49-F238E27FC236}">
                    <a16:creationId xmlns:a16="http://schemas.microsoft.com/office/drawing/2014/main" id="{96336945-B614-23A3-4628-9049D7D00E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3320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7" name="Freeform 64">
                <a:extLst>
                  <a:ext uri="{FF2B5EF4-FFF2-40B4-BE49-F238E27FC236}">
                    <a16:creationId xmlns:a16="http://schemas.microsoft.com/office/drawing/2014/main" id="{68C171AE-89C5-26AC-0B39-4EC1B1CA59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6356" y="4004596"/>
                <a:ext cx="101351" cy="74204"/>
              </a:xfrm>
              <a:custGeom>
                <a:avLst/>
                <a:gdLst>
                  <a:gd name="T0" fmla="*/ 188 w 246"/>
                  <a:gd name="T1" fmla="*/ 77 h 181"/>
                  <a:gd name="T2" fmla="*/ 178 w 246"/>
                  <a:gd name="T3" fmla="*/ 137 h 181"/>
                  <a:gd name="T4" fmla="*/ 177 w 246"/>
                  <a:gd name="T5" fmla="*/ 137 h 181"/>
                  <a:gd name="T6" fmla="*/ 168 w 246"/>
                  <a:gd name="T7" fmla="*/ 88 h 181"/>
                  <a:gd name="T8" fmla="*/ 148 w 246"/>
                  <a:gd name="T9" fmla="*/ 0 h 181"/>
                  <a:gd name="T10" fmla="*/ 101 w 246"/>
                  <a:gd name="T11" fmla="*/ 0 h 181"/>
                  <a:gd name="T12" fmla="*/ 81 w 246"/>
                  <a:gd name="T13" fmla="*/ 89 h 181"/>
                  <a:gd name="T14" fmla="*/ 73 w 246"/>
                  <a:gd name="T15" fmla="*/ 137 h 181"/>
                  <a:gd name="T16" fmla="*/ 72 w 246"/>
                  <a:gd name="T17" fmla="*/ 137 h 181"/>
                  <a:gd name="T18" fmla="*/ 61 w 246"/>
                  <a:gd name="T19" fmla="*/ 73 h 181"/>
                  <a:gd name="T20" fmla="*/ 43 w 246"/>
                  <a:gd name="T21" fmla="*/ 0 h 181"/>
                  <a:gd name="T22" fmla="*/ 0 w 246"/>
                  <a:gd name="T23" fmla="*/ 0 h 181"/>
                  <a:gd name="T24" fmla="*/ 46 w 246"/>
                  <a:gd name="T25" fmla="*/ 181 h 181"/>
                  <a:gd name="T26" fmla="*/ 93 w 246"/>
                  <a:gd name="T27" fmla="*/ 181 h 181"/>
                  <a:gd name="T28" fmla="*/ 114 w 246"/>
                  <a:gd name="T29" fmla="*/ 93 h 181"/>
                  <a:gd name="T30" fmla="*/ 123 w 246"/>
                  <a:gd name="T31" fmla="*/ 44 h 181"/>
                  <a:gd name="T32" fmla="*/ 124 w 246"/>
                  <a:gd name="T33" fmla="*/ 44 h 181"/>
                  <a:gd name="T34" fmla="*/ 134 w 246"/>
                  <a:gd name="T35" fmla="*/ 101 h 181"/>
                  <a:gd name="T36" fmla="*/ 153 w 246"/>
                  <a:gd name="T37" fmla="*/ 181 h 181"/>
                  <a:gd name="T38" fmla="*/ 199 w 246"/>
                  <a:gd name="T39" fmla="*/ 181 h 181"/>
                  <a:gd name="T40" fmla="*/ 246 w 246"/>
                  <a:gd name="T41" fmla="*/ 0 h 181"/>
                  <a:gd name="T42" fmla="*/ 206 w 246"/>
                  <a:gd name="T43" fmla="*/ 0 h 181"/>
                  <a:gd name="T44" fmla="*/ 188 w 246"/>
                  <a:gd name="T45" fmla="*/ 77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6" h="181">
                    <a:moveTo>
                      <a:pt x="188" y="77"/>
                    </a:moveTo>
                    <a:cubicBezTo>
                      <a:pt x="183" y="100"/>
                      <a:pt x="179" y="121"/>
                      <a:pt x="178" y="137"/>
                    </a:cubicBezTo>
                    <a:lnTo>
                      <a:pt x="177" y="137"/>
                    </a:lnTo>
                    <a:cubicBezTo>
                      <a:pt x="175" y="120"/>
                      <a:pt x="173" y="108"/>
                      <a:pt x="168" y="88"/>
                    </a:cubicBezTo>
                    <a:lnTo>
                      <a:pt x="148" y="0"/>
                    </a:lnTo>
                    <a:lnTo>
                      <a:pt x="101" y="0"/>
                    </a:lnTo>
                    <a:lnTo>
                      <a:pt x="81" y="89"/>
                    </a:lnTo>
                    <a:cubicBezTo>
                      <a:pt x="78" y="106"/>
                      <a:pt x="75" y="116"/>
                      <a:pt x="73" y="137"/>
                    </a:cubicBezTo>
                    <a:lnTo>
                      <a:pt x="72" y="137"/>
                    </a:lnTo>
                    <a:cubicBezTo>
                      <a:pt x="71" y="118"/>
                      <a:pt x="66" y="93"/>
                      <a:pt x="61" y="73"/>
                    </a:cubicBezTo>
                    <a:lnTo>
                      <a:pt x="43" y="0"/>
                    </a:lnTo>
                    <a:lnTo>
                      <a:pt x="0" y="0"/>
                    </a:lnTo>
                    <a:lnTo>
                      <a:pt x="46" y="181"/>
                    </a:lnTo>
                    <a:lnTo>
                      <a:pt x="93" y="181"/>
                    </a:lnTo>
                    <a:lnTo>
                      <a:pt x="114" y="93"/>
                    </a:lnTo>
                    <a:cubicBezTo>
                      <a:pt x="118" y="77"/>
                      <a:pt x="120" y="63"/>
                      <a:pt x="123" y="44"/>
                    </a:cubicBezTo>
                    <a:lnTo>
                      <a:pt x="124" y="44"/>
                    </a:lnTo>
                    <a:cubicBezTo>
                      <a:pt x="126" y="62"/>
                      <a:pt x="129" y="76"/>
                      <a:pt x="134" y="101"/>
                    </a:cubicBezTo>
                    <a:lnTo>
                      <a:pt x="153" y="181"/>
                    </a:lnTo>
                    <a:lnTo>
                      <a:pt x="199" y="181"/>
                    </a:lnTo>
                    <a:lnTo>
                      <a:pt x="246" y="0"/>
                    </a:lnTo>
                    <a:lnTo>
                      <a:pt x="206" y="0"/>
                    </a:lnTo>
                    <a:lnTo>
                      <a:pt x="188" y="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8" name="Freeform 65">
                <a:extLst>
                  <a:ext uri="{FF2B5EF4-FFF2-40B4-BE49-F238E27FC236}">
                    <a16:creationId xmlns:a16="http://schemas.microsoft.com/office/drawing/2014/main" id="{716BF435-0864-3C11-4C7C-49E2E5F0D4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6815" y="3935822"/>
                <a:ext cx="3620" cy="5430"/>
              </a:xfrm>
              <a:custGeom>
                <a:avLst/>
                <a:gdLst>
                  <a:gd name="T0" fmla="*/ 2 w 7"/>
                  <a:gd name="T1" fmla="*/ 11 h 12"/>
                  <a:gd name="T2" fmla="*/ 3 w 7"/>
                  <a:gd name="T3" fmla="*/ 12 h 12"/>
                  <a:gd name="T4" fmla="*/ 7 w 7"/>
                  <a:gd name="T5" fmla="*/ 0 h 12"/>
                  <a:gd name="T6" fmla="*/ 0 w 7"/>
                  <a:gd name="T7" fmla="*/ 4 h 12"/>
                  <a:gd name="T8" fmla="*/ 2 w 7"/>
                  <a:gd name="T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2" y="11"/>
                    </a:moveTo>
                    <a:cubicBezTo>
                      <a:pt x="2" y="11"/>
                      <a:pt x="2" y="12"/>
                      <a:pt x="3" y="12"/>
                    </a:cubicBezTo>
                    <a:cubicBezTo>
                      <a:pt x="3" y="9"/>
                      <a:pt x="5" y="5"/>
                      <a:pt x="7" y="0"/>
                    </a:cubicBezTo>
                    <a:cubicBezTo>
                      <a:pt x="5" y="2"/>
                      <a:pt x="3" y="3"/>
                      <a:pt x="0" y="4"/>
                    </a:cubicBezTo>
                    <a:cubicBezTo>
                      <a:pt x="1" y="6"/>
                      <a:pt x="2" y="6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9" name="Freeform 66">
                <a:extLst>
                  <a:ext uri="{FF2B5EF4-FFF2-40B4-BE49-F238E27FC236}">
                    <a16:creationId xmlns:a16="http://schemas.microsoft.com/office/drawing/2014/main" id="{BE07557B-A83C-771C-B0DE-43C0DDF100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1386" y="3941252"/>
                <a:ext cx="0" cy="0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0" name="Freeform 67">
                <a:extLst>
                  <a:ext uri="{FF2B5EF4-FFF2-40B4-BE49-F238E27FC236}">
                    <a16:creationId xmlns:a16="http://schemas.microsoft.com/office/drawing/2014/main" id="{D9D128CF-3700-9D38-AB3D-DF24E35C7C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8992" y="3937633"/>
                <a:ext cx="0" cy="5430"/>
              </a:xfrm>
              <a:custGeom>
                <a:avLst/>
                <a:gdLst>
                  <a:gd name="T0" fmla="*/ 1 w 2"/>
                  <a:gd name="T1" fmla="*/ 0 h 14"/>
                  <a:gd name="T2" fmla="*/ 1 w 2"/>
                  <a:gd name="T3" fmla="*/ 11 h 14"/>
                  <a:gd name="T4" fmla="*/ 2 w 2"/>
                  <a:gd name="T5" fmla="*/ 14 h 14"/>
                  <a:gd name="T6" fmla="*/ 1 w 2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4">
                    <a:moveTo>
                      <a:pt x="1" y="0"/>
                    </a:moveTo>
                    <a:cubicBezTo>
                      <a:pt x="0" y="4"/>
                      <a:pt x="1" y="8"/>
                      <a:pt x="1" y="11"/>
                    </a:cubicBezTo>
                    <a:cubicBezTo>
                      <a:pt x="1" y="12"/>
                      <a:pt x="2" y="13"/>
                      <a:pt x="2" y="14"/>
                    </a:cubicBezTo>
                    <a:cubicBezTo>
                      <a:pt x="2" y="9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1" name="Freeform 68">
                <a:extLst>
                  <a:ext uri="{FF2B5EF4-FFF2-40B4-BE49-F238E27FC236}">
                    <a16:creationId xmlns:a16="http://schemas.microsoft.com/office/drawing/2014/main" id="{04677334-B32C-D78F-CCF6-75E41199CC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6907" y="3926774"/>
                <a:ext cx="7239" cy="16289"/>
              </a:xfrm>
              <a:custGeom>
                <a:avLst/>
                <a:gdLst>
                  <a:gd name="T0" fmla="*/ 6 w 19"/>
                  <a:gd name="T1" fmla="*/ 26 h 42"/>
                  <a:gd name="T2" fmla="*/ 13 w 19"/>
                  <a:gd name="T3" fmla="*/ 34 h 42"/>
                  <a:gd name="T4" fmla="*/ 15 w 19"/>
                  <a:gd name="T5" fmla="*/ 23 h 42"/>
                  <a:gd name="T6" fmla="*/ 19 w 19"/>
                  <a:gd name="T7" fmla="*/ 27 h 42"/>
                  <a:gd name="T8" fmla="*/ 19 w 19"/>
                  <a:gd name="T9" fmla="*/ 25 h 42"/>
                  <a:gd name="T10" fmla="*/ 13 w 19"/>
                  <a:gd name="T11" fmla="*/ 0 h 42"/>
                  <a:gd name="T12" fmla="*/ 4 w 19"/>
                  <a:gd name="T13" fmla="*/ 8 h 42"/>
                  <a:gd name="T14" fmla="*/ 0 w 19"/>
                  <a:gd name="T15" fmla="*/ 25 h 42"/>
                  <a:gd name="T16" fmla="*/ 4 w 19"/>
                  <a:gd name="T17" fmla="*/ 42 h 42"/>
                  <a:gd name="T18" fmla="*/ 7 w 19"/>
                  <a:gd name="T19" fmla="*/ 40 h 42"/>
                  <a:gd name="T20" fmla="*/ 7 w 19"/>
                  <a:gd name="T21" fmla="*/ 39 h 42"/>
                  <a:gd name="T22" fmla="*/ 3 w 19"/>
                  <a:gd name="T23" fmla="*/ 26 h 42"/>
                  <a:gd name="T24" fmla="*/ 3 w 19"/>
                  <a:gd name="T25" fmla="*/ 20 h 42"/>
                  <a:gd name="T26" fmla="*/ 6 w 19"/>
                  <a:gd name="T27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42">
                    <a:moveTo>
                      <a:pt x="6" y="26"/>
                    </a:moveTo>
                    <a:cubicBezTo>
                      <a:pt x="8" y="28"/>
                      <a:pt x="10" y="30"/>
                      <a:pt x="13" y="34"/>
                    </a:cubicBezTo>
                    <a:cubicBezTo>
                      <a:pt x="14" y="31"/>
                      <a:pt x="15" y="26"/>
                      <a:pt x="15" y="23"/>
                    </a:cubicBezTo>
                    <a:cubicBezTo>
                      <a:pt x="16" y="24"/>
                      <a:pt x="18" y="25"/>
                      <a:pt x="19" y="27"/>
                    </a:cubicBezTo>
                    <a:lnTo>
                      <a:pt x="19" y="25"/>
                    </a:lnTo>
                    <a:cubicBezTo>
                      <a:pt x="19" y="17"/>
                      <a:pt x="15" y="8"/>
                      <a:pt x="13" y="0"/>
                    </a:cubicBezTo>
                    <a:cubicBezTo>
                      <a:pt x="10" y="3"/>
                      <a:pt x="5" y="5"/>
                      <a:pt x="4" y="8"/>
                    </a:cubicBezTo>
                    <a:cubicBezTo>
                      <a:pt x="2" y="13"/>
                      <a:pt x="1" y="19"/>
                      <a:pt x="0" y="25"/>
                    </a:cubicBezTo>
                    <a:cubicBezTo>
                      <a:pt x="0" y="31"/>
                      <a:pt x="1" y="37"/>
                      <a:pt x="4" y="42"/>
                    </a:cubicBezTo>
                    <a:cubicBezTo>
                      <a:pt x="5" y="42"/>
                      <a:pt x="6" y="41"/>
                      <a:pt x="7" y="40"/>
                    </a:cubicBezTo>
                    <a:cubicBezTo>
                      <a:pt x="7" y="40"/>
                      <a:pt x="7" y="40"/>
                      <a:pt x="7" y="39"/>
                    </a:cubicBezTo>
                    <a:cubicBezTo>
                      <a:pt x="6" y="35"/>
                      <a:pt x="4" y="30"/>
                      <a:pt x="3" y="26"/>
                    </a:cubicBezTo>
                    <a:cubicBezTo>
                      <a:pt x="3" y="23"/>
                      <a:pt x="2" y="25"/>
                      <a:pt x="3" y="20"/>
                    </a:cubicBezTo>
                    <a:cubicBezTo>
                      <a:pt x="2" y="22"/>
                      <a:pt x="4" y="25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2" name="Freeform 69">
                <a:extLst>
                  <a:ext uri="{FF2B5EF4-FFF2-40B4-BE49-F238E27FC236}">
                    <a16:creationId xmlns:a16="http://schemas.microsoft.com/office/drawing/2014/main" id="{BC8EE769-7F69-68E6-4E0F-74D048F0A2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98133" y="3785607"/>
                <a:ext cx="18098" cy="9050"/>
              </a:xfrm>
              <a:custGeom>
                <a:avLst/>
                <a:gdLst>
                  <a:gd name="T0" fmla="*/ 36 w 44"/>
                  <a:gd name="T1" fmla="*/ 20 h 25"/>
                  <a:gd name="T2" fmla="*/ 22 w 44"/>
                  <a:gd name="T3" fmla="*/ 3 h 25"/>
                  <a:gd name="T4" fmla="*/ 1 w 44"/>
                  <a:gd name="T5" fmla="*/ 10 h 25"/>
                  <a:gd name="T6" fmla="*/ 36 w 44"/>
                  <a:gd name="T7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25">
                    <a:moveTo>
                      <a:pt x="36" y="20"/>
                    </a:moveTo>
                    <a:cubicBezTo>
                      <a:pt x="27" y="12"/>
                      <a:pt x="32" y="6"/>
                      <a:pt x="22" y="3"/>
                    </a:cubicBezTo>
                    <a:cubicBezTo>
                      <a:pt x="12" y="0"/>
                      <a:pt x="0" y="4"/>
                      <a:pt x="1" y="10"/>
                    </a:cubicBezTo>
                    <a:cubicBezTo>
                      <a:pt x="3" y="19"/>
                      <a:pt x="44" y="25"/>
                      <a:pt x="3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3" name="Freeform 70">
                <a:extLst>
                  <a:ext uri="{FF2B5EF4-FFF2-40B4-BE49-F238E27FC236}">
                    <a16:creationId xmlns:a16="http://schemas.microsoft.com/office/drawing/2014/main" id="{E55442D0-DA80-D289-C156-8BDD56CCAE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9451" y="3628150"/>
                <a:ext cx="217180" cy="322151"/>
              </a:xfrm>
              <a:custGeom>
                <a:avLst/>
                <a:gdLst>
                  <a:gd name="T0" fmla="*/ 357 w 531"/>
                  <a:gd name="T1" fmla="*/ 727 h 784"/>
                  <a:gd name="T2" fmla="*/ 383 w 531"/>
                  <a:gd name="T3" fmla="*/ 715 h 784"/>
                  <a:gd name="T4" fmla="*/ 380 w 531"/>
                  <a:gd name="T5" fmla="*/ 734 h 784"/>
                  <a:gd name="T6" fmla="*/ 400 w 531"/>
                  <a:gd name="T7" fmla="*/ 720 h 784"/>
                  <a:gd name="T8" fmla="*/ 413 w 531"/>
                  <a:gd name="T9" fmla="*/ 743 h 784"/>
                  <a:gd name="T10" fmla="*/ 421 w 531"/>
                  <a:gd name="T11" fmla="*/ 759 h 784"/>
                  <a:gd name="T12" fmla="*/ 420 w 531"/>
                  <a:gd name="T13" fmla="*/ 690 h 784"/>
                  <a:gd name="T14" fmla="*/ 431 w 531"/>
                  <a:gd name="T15" fmla="*/ 748 h 784"/>
                  <a:gd name="T16" fmla="*/ 440 w 531"/>
                  <a:gd name="T17" fmla="*/ 746 h 784"/>
                  <a:gd name="T18" fmla="*/ 449 w 531"/>
                  <a:gd name="T19" fmla="*/ 731 h 784"/>
                  <a:gd name="T20" fmla="*/ 465 w 531"/>
                  <a:gd name="T21" fmla="*/ 727 h 784"/>
                  <a:gd name="T22" fmla="*/ 501 w 531"/>
                  <a:gd name="T23" fmla="*/ 448 h 784"/>
                  <a:gd name="T24" fmla="*/ 455 w 531"/>
                  <a:gd name="T25" fmla="*/ 349 h 784"/>
                  <a:gd name="T26" fmla="*/ 463 w 531"/>
                  <a:gd name="T27" fmla="*/ 58 h 784"/>
                  <a:gd name="T28" fmla="*/ 0 w 531"/>
                  <a:gd name="T29" fmla="*/ 0 h 784"/>
                  <a:gd name="T30" fmla="*/ 203 w 531"/>
                  <a:gd name="T31" fmla="*/ 234 h 784"/>
                  <a:gd name="T32" fmla="*/ 274 w 531"/>
                  <a:gd name="T33" fmla="*/ 227 h 784"/>
                  <a:gd name="T34" fmla="*/ 341 w 531"/>
                  <a:gd name="T35" fmla="*/ 226 h 784"/>
                  <a:gd name="T36" fmla="*/ 269 w 531"/>
                  <a:gd name="T37" fmla="*/ 284 h 784"/>
                  <a:gd name="T38" fmla="*/ 321 w 531"/>
                  <a:gd name="T39" fmla="*/ 312 h 784"/>
                  <a:gd name="T40" fmla="*/ 362 w 531"/>
                  <a:gd name="T41" fmla="*/ 425 h 784"/>
                  <a:gd name="T42" fmla="*/ 99 w 531"/>
                  <a:gd name="T43" fmla="*/ 574 h 784"/>
                  <a:gd name="T44" fmla="*/ 65 w 531"/>
                  <a:gd name="T45" fmla="*/ 605 h 784"/>
                  <a:gd name="T46" fmla="*/ 63 w 531"/>
                  <a:gd name="T47" fmla="*/ 728 h 784"/>
                  <a:gd name="T48" fmla="*/ 151 w 531"/>
                  <a:gd name="T49" fmla="*/ 776 h 784"/>
                  <a:gd name="T50" fmla="*/ 158 w 531"/>
                  <a:gd name="T51" fmla="*/ 772 h 784"/>
                  <a:gd name="T52" fmla="*/ 160 w 531"/>
                  <a:gd name="T53" fmla="*/ 753 h 784"/>
                  <a:gd name="T54" fmla="*/ 171 w 531"/>
                  <a:gd name="T55" fmla="*/ 751 h 784"/>
                  <a:gd name="T56" fmla="*/ 172 w 531"/>
                  <a:gd name="T57" fmla="*/ 754 h 784"/>
                  <a:gd name="T58" fmla="*/ 181 w 531"/>
                  <a:gd name="T59" fmla="*/ 763 h 784"/>
                  <a:gd name="T60" fmla="*/ 190 w 531"/>
                  <a:gd name="T61" fmla="*/ 747 h 784"/>
                  <a:gd name="T62" fmla="*/ 196 w 531"/>
                  <a:gd name="T63" fmla="*/ 750 h 784"/>
                  <a:gd name="T64" fmla="*/ 202 w 531"/>
                  <a:gd name="T65" fmla="*/ 756 h 784"/>
                  <a:gd name="T66" fmla="*/ 211 w 531"/>
                  <a:gd name="T67" fmla="*/ 760 h 784"/>
                  <a:gd name="T68" fmla="*/ 217 w 531"/>
                  <a:gd name="T69" fmla="*/ 746 h 784"/>
                  <a:gd name="T70" fmla="*/ 221 w 531"/>
                  <a:gd name="T71" fmla="*/ 735 h 784"/>
                  <a:gd name="T72" fmla="*/ 229 w 531"/>
                  <a:gd name="T73" fmla="*/ 733 h 784"/>
                  <a:gd name="T74" fmla="*/ 237 w 531"/>
                  <a:gd name="T75" fmla="*/ 770 h 784"/>
                  <a:gd name="T76" fmla="*/ 247 w 531"/>
                  <a:gd name="T77" fmla="*/ 754 h 784"/>
                  <a:gd name="T78" fmla="*/ 253 w 531"/>
                  <a:gd name="T79" fmla="*/ 769 h 784"/>
                  <a:gd name="T80" fmla="*/ 256 w 531"/>
                  <a:gd name="T81" fmla="*/ 753 h 784"/>
                  <a:gd name="T82" fmla="*/ 264 w 531"/>
                  <a:gd name="T83" fmla="*/ 753 h 784"/>
                  <a:gd name="T84" fmla="*/ 267 w 531"/>
                  <a:gd name="T85" fmla="*/ 774 h 784"/>
                  <a:gd name="T86" fmla="*/ 266 w 531"/>
                  <a:gd name="T87" fmla="*/ 726 h 784"/>
                  <a:gd name="T88" fmla="*/ 280 w 531"/>
                  <a:gd name="T89" fmla="*/ 761 h 784"/>
                  <a:gd name="T90" fmla="*/ 286 w 531"/>
                  <a:gd name="T91" fmla="*/ 763 h 784"/>
                  <a:gd name="T92" fmla="*/ 289 w 531"/>
                  <a:gd name="T93" fmla="*/ 753 h 784"/>
                  <a:gd name="T94" fmla="*/ 298 w 531"/>
                  <a:gd name="T95" fmla="*/ 760 h 784"/>
                  <a:gd name="T96" fmla="*/ 299 w 531"/>
                  <a:gd name="T97" fmla="*/ 724 h 784"/>
                  <a:gd name="T98" fmla="*/ 316 w 531"/>
                  <a:gd name="T99" fmla="*/ 730 h 784"/>
                  <a:gd name="T100" fmla="*/ 324 w 531"/>
                  <a:gd name="T101" fmla="*/ 745 h 784"/>
                  <a:gd name="T102" fmla="*/ 334 w 531"/>
                  <a:gd name="T103" fmla="*/ 725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31" h="784">
                    <a:moveTo>
                      <a:pt x="349" y="756"/>
                    </a:moveTo>
                    <a:cubicBezTo>
                      <a:pt x="349" y="754"/>
                      <a:pt x="350" y="748"/>
                      <a:pt x="351" y="746"/>
                    </a:cubicBezTo>
                    <a:cubicBezTo>
                      <a:pt x="354" y="741"/>
                      <a:pt x="355" y="732"/>
                      <a:pt x="356" y="726"/>
                    </a:cubicBezTo>
                    <a:cubicBezTo>
                      <a:pt x="356" y="726"/>
                      <a:pt x="356" y="727"/>
                      <a:pt x="357" y="727"/>
                    </a:cubicBezTo>
                    <a:cubicBezTo>
                      <a:pt x="359" y="736"/>
                      <a:pt x="360" y="742"/>
                      <a:pt x="363" y="753"/>
                    </a:cubicBezTo>
                    <a:cubicBezTo>
                      <a:pt x="364" y="742"/>
                      <a:pt x="368" y="732"/>
                      <a:pt x="373" y="723"/>
                    </a:cubicBezTo>
                    <a:cubicBezTo>
                      <a:pt x="378" y="714"/>
                      <a:pt x="384" y="705"/>
                      <a:pt x="388" y="694"/>
                    </a:cubicBezTo>
                    <a:cubicBezTo>
                      <a:pt x="387" y="702"/>
                      <a:pt x="388" y="708"/>
                      <a:pt x="383" y="715"/>
                    </a:cubicBezTo>
                    <a:cubicBezTo>
                      <a:pt x="379" y="722"/>
                      <a:pt x="377" y="725"/>
                      <a:pt x="376" y="730"/>
                    </a:cubicBezTo>
                    <a:cubicBezTo>
                      <a:pt x="375" y="734"/>
                      <a:pt x="374" y="740"/>
                      <a:pt x="371" y="751"/>
                    </a:cubicBezTo>
                    <a:cubicBezTo>
                      <a:pt x="371" y="750"/>
                      <a:pt x="374" y="747"/>
                      <a:pt x="374" y="745"/>
                    </a:cubicBezTo>
                    <a:cubicBezTo>
                      <a:pt x="375" y="741"/>
                      <a:pt x="378" y="737"/>
                      <a:pt x="380" y="734"/>
                    </a:cubicBezTo>
                    <a:cubicBezTo>
                      <a:pt x="384" y="727"/>
                      <a:pt x="390" y="723"/>
                      <a:pt x="396" y="721"/>
                    </a:cubicBezTo>
                    <a:cubicBezTo>
                      <a:pt x="396" y="721"/>
                      <a:pt x="396" y="720"/>
                      <a:pt x="395" y="720"/>
                    </a:cubicBezTo>
                    <a:cubicBezTo>
                      <a:pt x="396" y="720"/>
                      <a:pt x="396" y="720"/>
                      <a:pt x="397" y="721"/>
                    </a:cubicBezTo>
                    <a:cubicBezTo>
                      <a:pt x="398" y="720"/>
                      <a:pt x="399" y="720"/>
                      <a:pt x="400" y="720"/>
                    </a:cubicBezTo>
                    <a:cubicBezTo>
                      <a:pt x="399" y="721"/>
                      <a:pt x="399" y="722"/>
                      <a:pt x="398" y="722"/>
                    </a:cubicBezTo>
                    <a:cubicBezTo>
                      <a:pt x="400" y="725"/>
                      <a:pt x="403" y="730"/>
                      <a:pt x="405" y="735"/>
                    </a:cubicBezTo>
                    <a:cubicBezTo>
                      <a:pt x="407" y="741"/>
                      <a:pt x="410" y="747"/>
                      <a:pt x="412" y="753"/>
                    </a:cubicBezTo>
                    <a:cubicBezTo>
                      <a:pt x="412" y="750"/>
                      <a:pt x="413" y="746"/>
                      <a:pt x="413" y="743"/>
                    </a:cubicBezTo>
                    <a:cubicBezTo>
                      <a:pt x="413" y="736"/>
                      <a:pt x="411" y="731"/>
                      <a:pt x="407" y="727"/>
                    </a:cubicBezTo>
                    <a:cubicBezTo>
                      <a:pt x="408" y="727"/>
                      <a:pt x="413" y="734"/>
                      <a:pt x="413" y="735"/>
                    </a:cubicBezTo>
                    <a:cubicBezTo>
                      <a:pt x="418" y="741"/>
                      <a:pt x="419" y="751"/>
                      <a:pt x="421" y="759"/>
                    </a:cubicBezTo>
                    <a:cubicBezTo>
                      <a:pt x="421" y="759"/>
                      <a:pt x="421" y="759"/>
                      <a:pt x="421" y="759"/>
                    </a:cubicBezTo>
                    <a:cubicBezTo>
                      <a:pt x="421" y="755"/>
                      <a:pt x="421" y="751"/>
                      <a:pt x="421" y="747"/>
                    </a:cubicBezTo>
                    <a:cubicBezTo>
                      <a:pt x="420" y="742"/>
                      <a:pt x="419" y="737"/>
                      <a:pt x="419" y="731"/>
                    </a:cubicBezTo>
                    <a:cubicBezTo>
                      <a:pt x="418" y="725"/>
                      <a:pt x="418" y="718"/>
                      <a:pt x="418" y="711"/>
                    </a:cubicBezTo>
                    <a:cubicBezTo>
                      <a:pt x="418" y="704"/>
                      <a:pt x="419" y="697"/>
                      <a:pt x="420" y="690"/>
                    </a:cubicBezTo>
                    <a:cubicBezTo>
                      <a:pt x="419" y="699"/>
                      <a:pt x="420" y="709"/>
                      <a:pt x="422" y="718"/>
                    </a:cubicBezTo>
                    <a:cubicBezTo>
                      <a:pt x="424" y="727"/>
                      <a:pt x="427" y="736"/>
                      <a:pt x="429" y="744"/>
                    </a:cubicBezTo>
                    <a:cubicBezTo>
                      <a:pt x="430" y="743"/>
                      <a:pt x="431" y="740"/>
                      <a:pt x="432" y="739"/>
                    </a:cubicBezTo>
                    <a:cubicBezTo>
                      <a:pt x="431" y="742"/>
                      <a:pt x="431" y="745"/>
                      <a:pt x="431" y="748"/>
                    </a:cubicBezTo>
                    <a:cubicBezTo>
                      <a:pt x="431" y="748"/>
                      <a:pt x="431" y="748"/>
                      <a:pt x="431" y="749"/>
                    </a:cubicBezTo>
                    <a:cubicBezTo>
                      <a:pt x="432" y="751"/>
                      <a:pt x="432" y="752"/>
                      <a:pt x="433" y="752"/>
                    </a:cubicBezTo>
                    <a:cubicBezTo>
                      <a:pt x="435" y="751"/>
                      <a:pt x="437" y="750"/>
                      <a:pt x="439" y="748"/>
                    </a:cubicBezTo>
                    <a:cubicBezTo>
                      <a:pt x="439" y="747"/>
                      <a:pt x="440" y="747"/>
                      <a:pt x="440" y="746"/>
                    </a:cubicBezTo>
                    <a:cubicBezTo>
                      <a:pt x="440" y="743"/>
                      <a:pt x="439" y="739"/>
                      <a:pt x="439" y="736"/>
                    </a:cubicBezTo>
                    <a:cubicBezTo>
                      <a:pt x="439" y="736"/>
                      <a:pt x="440" y="738"/>
                      <a:pt x="441" y="738"/>
                    </a:cubicBezTo>
                    <a:cubicBezTo>
                      <a:pt x="441" y="739"/>
                      <a:pt x="442" y="740"/>
                      <a:pt x="442" y="742"/>
                    </a:cubicBezTo>
                    <a:cubicBezTo>
                      <a:pt x="445" y="738"/>
                      <a:pt x="447" y="734"/>
                      <a:pt x="449" y="731"/>
                    </a:cubicBezTo>
                    <a:cubicBezTo>
                      <a:pt x="454" y="724"/>
                      <a:pt x="465" y="714"/>
                      <a:pt x="466" y="703"/>
                    </a:cubicBezTo>
                    <a:cubicBezTo>
                      <a:pt x="465" y="712"/>
                      <a:pt x="461" y="720"/>
                      <a:pt x="457" y="728"/>
                    </a:cubicBezTo>
                    <a:cubicBezTo>
                      <a:pt x="455" y="731"/>
                      <a:pt x="452" y="736"/>
                      <a:pt x="451" y="739"/>
                    </a:cubicBezTo>
                    <a:cubicBezTo>
                      <a:pt x="455" y="736"/>
                      <a:pt x="460" y="731"/>
                      <a:pt x="465" y="727"/>
                    </a:cubicBezTo>
                    <a:cubicBezTo>
                      <a:pt x="465" y="726"/>
                      <a:pt x="466" y="726"/>
                      <a:pt x="466" y="725"/>
                    </a:cubicBezTo>
                    <a:cubicBezTo>
                      <a:pt x="468" y="724"/>
                      <a:pt x="469" y="723"/>
                      <a:pt x="470" y="722"/>
                    </a:cubicBezTo>
                    <a:cubicBezTo>
                      <a:pt x="510" y="683"/>
                      <a:pt x="530" y="629"/>
                      <a:pt x="531" y="561"/>
                    </a:cubicBezTo>
                    <a:cubicBezTo>
                      <a:pt x="531" y="520"/>
                      <a:pt x="521" y="482"/>
                      <a:pt x="501" y="448"/>
                    </a:cubicBezTo>
                    <a:cubicBezTo>
                      <a:pt x="489" y="429"/>
                      <a:pt x="473" y="413"/>
                      <a:pt x="455" y="401"/>
                    </a:cubicBezTo>
                    <a:lnTo>
                      <a:pt x="407" y="381"/>
                    </a:lnTo>
                    <a:lnTo>
                      <a:pt x="407" y="378"/>
                    </a:lnTo>
                    <a:cubicBezTo>
                      <a:pt x="426" y="369"/>
                      <a:pt x="441" y="360"/>
                      <a:pt x="455" y="349"/>
                    </a:cubicBezTo>
                    <a:cubicBezTo>
                      <a:pt x="457" y="347"/>
                      <a:pt x="460" y="345"/>
                      <a:pt x="463" y="343"/>
                    </a:cubicBezTo>
                    <a:cubicBezTo>
                      <a:pt x="477" y="330"/>
                      <a:pt x="489" y="317"/>
                      <a:pt x="497" y="303"/>
                    </a:cubicBezTo>
                    <a:cubicBezTo>
                      <a:pt x="512" y="273"/>
                      <a:pt x="520" y="242"/>
                      <a:pt x="519" y="210"/>
                    </a:cubicBezTo>
                    <a:cubicBezTo>
                      <a:pt x="519" y="147"/>
                      <a:pt x="500" y="96"/>
                      <a:pt x="463" y="58"/>
                    </a:cubicBezTo>
                    <a:cubicBezTo>
                      <a:pt x="460" y="56"/>
                      <a:pt x="457" y="53"/>
                      <a:pt x="455" y="51"/>
                    </a:cubicBezTo>
                    <a:cubicBezTo>
                      <a:pt x="448" y="45"/>
                      <a:pt x="442" y="40"/>
                      <a:pt x="434" y="36"/>
                    </a:cubicBezTo>
                    <a:cubicBezTo>
                      <a:pt x="399" y="13"/>
                      <a:pt x="352" y="0"/>
                      <a:pt x="294" y="0"/>
                    </a:cubicBezTo>
                    <a:lnTo>
                      <a:pt x="0" y="0"/>
                    </a:lnTo>
                    <a:lnTo>
                      <a:pt x="0" y="275"/>
                    </a:lnTo>
                    <a:cubicBezTo>
                      <a:pt x="70" y="281"/>
                      <a:pt x="147" y="280"/>
                      <a:pt x="168" y="249"/>
                    </a:cubicBezTo>
                    <a:cubicBezTo>
                      <a:pt x="172" y="244"/>
                      <a:pt x="173" y="231"/>
                      <a:pt x="193" y="233"/>
                    </a:cubicBezTo>
                    <a:cubicBezTo>
                      <a:pt x="195" y="233"/>
                      <a:pt x="199" y="233"/>
                      <a:pt x="203" y="234"/>
                    </a:cubicBezTo>
                    <a:cubicBezTo>
                      <a:pt x="205" y="234"/>
                      <a:pt x="207" y="234"/>
                      <a:pt x="209" y="234"/>
                    </a:cubicBezTo>
                    <a:cubicBezTo>
                      <a:pt x="225" y="234"/>
                      <a:pt x="246" y="233"/>
                      <a:pt x="269" y="229"/>
                    </a:cubicBezTo>
                    <a:cubicBezTo>
                      <a:pt x="270" y="228"/>
                      <a:pt x="272" y="228"/>
                      <a:pt x="273" y="228"/>
                    </a:cubicBezTo>
                    <a:cubicBezTo>
                      <a:pt x="273" y="227"/>
                      <a:pt x="273" y="227"/>
                      <a:pt x="274" y="227"/>
                    </a:cubicBezTo>
                    <a:cubicBezTo>
                      <a:pt x="282" y="225"/>
                      <a:pt x="290" y="223"/>
                      <a:pt x="298" y="220"/>
                    </a:cubicBezTo>
                    <a:cubicBezTo>
                      <a:pt x="303" y="218"/>
                      <a:pt x="309" y="215"/>
                      <a:pt x="314" y="212"/>
                    </a:cubicBezTo>
                    <a:cubicBezTo>
                      <a:pt x="357" y="188"/>
                      <a:pt x="379" y="160"/>
                      <a:pt x="379" y="160"/>
                    </a:cubicBezTo>
                    <a:cubicBezTo>
                      <a:pt x="379" y="160"/>
                      <a:pt x="366" y="196"/>
                      <a:pt x="341" y="226"/>
                    </a:cubicBezTo>
                    <a:cubicBezTo>
                      <a:pt x="326" y="245"/>
                      <a:pt x="311" y="259"/>
                      <a:pt x="295" y="270"/>
                    </a:cubicBezTo>
                    <a:cubicBezTo>
                      <a:pt x="288" y="275"/>
                      <a:pt x="280" y="279"/>
                      <a:pt x="273" y="282"/>
                    </a:cubicBezTo>
                    <a:cubicBezTo>
                      <a:pt x="272" y="283"/>
                      <a:pt x="271" y="283"/>
                      <a:pt x="270" y="284"/>
                    </a:cubicBezTo>
                    <a:cubicBezTo>
                      <a:pt x="270" y="284"/>
                      <a:pt x="270" y="284"/>
                      <a:pt x="269" y="284"/>
                    </a:cubicBezTo>
                    <a:cubicBezTo>
                      <a:pt x="232" y="301"/>
                      <a:pt x="203" y="299"/>
                      <a:pt x="203" y="299"/>
                    </a:cubicBezTo>
                    <a:cubicBezTo>
                      <a:pt x="244" y="303"/>
                      <a:pt x="282" y="299"/>
                      <a:pt x="319" y="280"/>
                    </a:cubicBezTo>
                    <a:cubicBezTo>
                      <a:pt x="352" y="264"/>
                      <a:pt x="361" y="248"/>
                      <a:pt x="363" y="244"/>
                    </a:cubicBezTo>
                    <a:cubicBezTo>
                      <a:pt x="360" y="251"/>
                      <a:pt x="339" y="297"/>
                      <a:pt x="321" y="312"/>
                    </a:cubicBezTo>
                    <a:lnTo>
                      <a:pt x="302" y="329"/>
                    </a:lnTo>
                    <a:lnTo>
                      <a:pt x="288" y="340"/>
                    </a:lnTo>
                    <a:cubicBezTo>
                      <a:pt x="288" y="340"/>
                      <a:pt x="284" y="352"/>
                      <a:pt x="314" y="383"/>
                    </a:cubicBezTo>
                    <a:cubicBezTo>
                      <a:pt x="326" y="394"/>
                      <a:pt x="345" y="411"/>
                      <a:pt x="362" y="425"/>
                    </a:cubicBezTo>
                    <a:cubicBezTo>
                      <a:pt x="371" y="433"/>
                      <a:pt x="379" y="440"/>
                      <a:pt x="385" y="446"/>
                    </a:cubicBezTo>
                    <a:cubicBezTo>
                      <a:pt x="418" y="478"/>
                      <a:pt x="348" y="531"/>
                      <a:pt x="304" y="504"/>
                    </a:cubicBezTo>
                    <a:cubicBezTo>
                      <a:pt x="282" y="491"/>
                      <a:pt x="211" y="521"/>
                      <a:pt x="167" y="515"/>
                    </a:cubicBezTo>
                    <a:cubicBezTo>
                      <a:pt x="111" y="508"/>
                      <a:pt x="121" y="546"/>
                      <a:pt x="99" y="574"/>
                    </a:cubicBezTo>
                    <a:cubicBezTo>
                      <a:pt x="68" y="614"/>
                      <a:pt x="45" y="559"/>
                      <a:pt x="42" y="540"/>
                    </a:cubicBezTo>
                    <a:cubicBezTo>
                      <a:pt x="38" y="513"/>
                      <a:pt x="28" y="484"/>
                      <a:pt x="0" y="472"/>
                    </a:cubicBezTo>
                    <a:lnTo>
                      <a:pt x="0" y="474"/>
                    </a:lnTo>
                    <a:cubicBezTo>
                      <a:pt x="50" y="501"/>
                      <a:pt x="11" y="562"/>
                      <a:pt x="65" y="605"/>
                    </a:cubicBezTo>
                    <a:cubicBezTo>
                      <a:pt x="58" y="622"/>
                      <a:pt x="49" y="636"/>
                      <a:pt x="45" y="650"/>
                    </a:cubicBezTo>
                    <a:cubicBezTo>
                      <a:pt x="46" y="653"/>
                      <a:pt x="48" y="655"/>
                      <a:pt x="49" y="657"/>
                    </a:cubicBezTo>
                    <a:cubicBezTo>
                      <a:pt x="54" y="665"/>
                      <a:pt x="69" y="666"/>
                      <a:pt x="69" y="675"/>
                    </a:cubicBezTo>
                    <a:cubicBezTo>
                      <a:pt x="70" y="683"/>
                      <a:pt x="68" y="722"/>
                      <a:pt x="63" y="728"/>
                    </a:cubicBezTo>
                    <a:cubicBezTo>
                      <a:pt x="59" y="733"/>
                      <a:pt x="60" y="761"/>
                      <a:pt x="41" y="784"/>
                    </a:cubicBezTo>
                    <a:lnTo>
                      <a:pt x="129" y="784"/>
                    </a:lnTo>
                    <a:cubicBezTo>
                      <a:pt x="136" y="782"/>
                      <a:pt x="143" y="779"/>
                      <a:pt x="151" y="777"/>
                    </a:cubicBezTo>
                    <a:cubicBezTo>
                      <a:pt x="151" y="777"/>
                      <a:pt x="151" y="776"/>
                      <a:pt x="151" y="776"/>
                    </a:cubicBezTo>
                    <a:cubicBezTo>
                      <a:pt x="153" y="768"/>
                      <a:pt x="150" y="762"/>
                      <a:pt x="146" y="756"/>
                    </a:cubicBezTo>
                    <a:cubicBezTo>
                      <a:pt x="143" y="749"/>
                      <a:pt x="139" y="743"/>
                      <a:pt x="138" y="736"/>
                    </a:cubicBezTo>
                    <a:cubicBezTo>
                      <a:pt x="139" y="743"/>
                      <a:pt x="146" y="749"/>
                      <a:pt x="149" y="754"/>
                    </a:cubicBezTo>
                    <a:cubicBezTo>
                      <a:pt x="152" y="758"/>
                      <a:pt x="158" y="767"/>
                      <a:pt x="158" y="772"/>
                    </a:cubicBezTo>
                    <a:cubicBezTo>
                      <a:pt x="159" y="770"/>
                      <a:pt x="161" y="767"/>
                      <a:pt x="161" y="765"/>
                    </a:cubicBezTo>
                    <a:lnTo>
                      <a:pt x="161" y="762"/>
                    </a:lnTo>
                    <a:cubicBezTo>
                      <a:pt x="161" y="761"/>
                      <a:pt x="161" y="760"/>
                      <a:pt x="161" y="759"/>
                    </a:cubicBezTo>
                    <a:cubicBezTo>
                      <a:pt x="161" y="757"/>
                      <a:pt x="160" y="755"/>
                      <a:pt x="160" y="753"/>
                    </a:cubicBezTo>
                    <a:cubicBezTo>
                      <a:pt x="161" y="756"/>
                      <a:pt x="162" y="758"/>
                      <a:pt x="163" y="761"/>
                    </a:cubicBezTo>
                    <a:cubicBezTo>
                      <a:pt x="164" y="763"/>
                      <a:pt x="166" y="766"/>
                      <a:pt x="166" y="769"/>
                    </a:cubicBezTo>
                    <a:cubicBezTo>
                      <a:pt x="167" y="764"/>
                      <a:pt x="168" y="759"/>
                      <a:pt x="170" y="755"/>
                    </a:cubicBezTo>
                    <a:cubicBezTo>
                      <a:pt x="170" y="753"/>
                      <a:pt x="171" y="752"/>
                      <a:pt x="171" y="751"/>
                    </a:cubicBezTo>
                    <a:cubicBezTo>
                      <a:pt x="171" y="751"/>
                      <a:pt x="171" y="752"/>
                      <a:pt x="171" y="752"/>
                    </a:cubicBezTo>
                    <a:cubicBezTo>
                      <a:pt x="171" y="752"/>
                      <a:pt x="171" y="751"/>
                      <a:pt x="172" y="751"/>
                    </a:cubicBezTo>
                    <a:cubicBezTo>
                      <a:pt x="172" y="750"/>
                      <a:pt x="175" y="747"/>
                      <a:pt x="176" y="747"/>
                    </a:cubicBezTo>
                    <a:cubicBezTo>
                      <a:pt x="173" y="749"/>
                      <a:pt x="172" y="751"/>
                      <a:pt x="172" y="754"/>
                    </a:cubicBezTo>
                    <a:cubicBezTo>
                      <a:pt x="173" y="756"/>
                      <a:pt x="174" y="757"/>
                      <a:pt x="175" y="758"/>
                    </a:cubicBezTo>
                    <a:cubicBezTo>
                      <a:pt x="175" y="759"/>
                      <a:pt x="177" y="760"/>
                      <a:pt x="179" y="761"/>
                    </a:cubicBezTo>
                    <a:cubicBezTo>
                      <a:pt x="179" y="760"/>
                      <a:pt x="180" y="760"/>
                      <a:pt x="181" y="759"/>
                    </a:cubicBezTo>
                    <a:cubicBezTo>
                      <a:pt x="181" y="760"/>
                      <a:pt x="181" y="761"/>
                      <a:pt x="181" y="763"/>
                    </a:cubicBezTo>
                    <a:cubicBezTo>
                      <a:pt x="184" y="764"/>
                      <a:pt x="187" y="765"/>
                      <a:pt x="190" y="765"/>
                    </a:cubicBezTo>
                    <a:cubicBezTo>
                      <a:pt x="191" y="760"/>
                      <a:pt x="189" y="754"/>
                      <a:pt x="188" y="750"/>
                    </a:cubicBezTo>
                    <a:cubicBezTo>
                      <a:pt x="187" y="747"/>
                      <a:pt x="181" y="745"/>
                      <a:pt x="180" y="742"/>
                    </a:cubicBezTo>
                    <a:cubicBezTo>
                      <a:pt x="184" y="743"/>
                      <a:pt x="187" y="745"/>
                      <a:pt x="190" y="747"/>
                    </a:cubicBezTo>
                    <a:cubicBezTo>
                      <a:pt x="189" y="747"/>
                      <a:pt x="189" y="746"/>
                      <a:pt x="189" y="746"/>
                    </a:cubicBezTo>
                    <a:cubicBezTo>
                      <a:pt x="189" y="744"/>
                      <a:pt x="189" y="745"/>
                      <a:pt x="189" y="741"/>
                    </a:cubicBezTo>
                    <a:cubicBezTo>
                      <a:pt x="189" y="742"/>
                      <a:pt x="191" y="746"/>
                      <a:pt x="192" y="746"/>
                    </a:cubicBezTo>
                    <a:cubicBezTo>
                      <a:pt x="193" y="747"/>
                      <a:pt x="194" y="748"/>
                      <a:pt x="196" y="750"/>
                    </a:cubicBezTo>
                    <a:cubicBezTo>
                      <a:pt x="195" y="746"/>
                      <a:pt x="193" y="744"/>
                      <a:pt x="191" y="739"/>
                    </a:cubicBezTo>
                    <a:cubicBezTo>
                      <a:pt x="188" y="735"/>
                      <a:pt x="188" y="731"/>
                      <a:pt x="188" y="726"/>
                    </a:cubicBezTo>
                    <a:cubicBezTo>
                      <a:pt x="190" y="732"/>
                      <a:pt x="193" y="737"/>
                      <a:pt x="195" y="741"/>
                    </a:cubicBezTo>
                    <a:cubicBezTo>
                      <a:pt x="198" y="746"/>
                      <a:pt x="200" y="751"/>
                      <a:pt x="202" y="756"/>
                    </a:cubicBezTo>
                    <a:cubicBezTo>
                      <a:pt x="203" y="757"/>
                      <a:pt x="204" y="758"/>
                      <a:pt x="205" y="759"/>
                    </a:cubicBezTo>
                    <a:cubicBezTo>
                      <a:pt x="206" y="755"/>
                      <a:pt x="207" y="752"/>
                      <a:pt x="208" y="748"/>
                    </a:cubicBezTo>
                    <a:cubicBezTo>
                      <a:pt x="208" y="748"/>
                      <a:pt x="208" y="747"/>
                      <a:pt x="208" y="747"/>
                    </a:cubicBezTo>
                    <a:cubicBezTo>
                      <a:pt x="209" y="751"/>
                      <a:pt x="209" y="756"/>
                      <a:pt x="211" y="760"/>
                    </a:cubicBezTo>
                    <a:lnTo>
                      <a:pt x="211" y="760"/>
                    </a:lnTo>
                    <a:cubicBezTo>
                      <a:pt x="212" y="757"/>
                      <a:pt x="212" y="754"/>
                      <a:pt x="212" y="751"/>
                    </a:cubicBezTo>
                    <a:cubicBezTo>
                      <a:pt x="214" y="740"/>
                      <a:pt x="206" y="737"/>
                      <a:pt x="199" y="729"/>
                    </a:cubicBezTo>
                    <a:cubicBezTo>
                      <a:pt x="204" y="728"/>
                      <a:pt x="213" y="736"/>
                      <a:pt x="217" y="746"/>
                    </a:cubicBezTo>
                    <a:cubicBezTo>
                      <a:pt x="219" y="749"/>
                      <a:pt x="220" y="753"/>
                      <a:pt x="221" y="757"/>
                    </a:cubicBezTo>
                    <a:cubicBezTo>
                      <a:pt x="222" y="753"/>
                      <a:pt x="222" y="750"/>
                      <a:pt x="222" y="747"/>
                    </a:cubicBezTo>
                    <a:cubicBezTo>
                      <a:pt x="223" y="749"/>
                      <a:pt x="223" y="751"/>
                      <a:pt x="224" y="753"/>
                    </a:cubicBezTo>
                    <a:cubicBezTo>
                      <a:pt x="223" y="748"/>
                      <a:pt x="222" y="742"/>
                      <a:pt x="221" y="735"/>
                    </a:cubicBezTo>
                    <a:cubicBezTo>
                      <a:pt x="219" y="727"/>
                      <a:pt x="220" y="721"/>
                      <a:pt x="223" y="716"/>
                    </a:cubicBezTo>
                    <a:cubicBezTo>
                      <a:pt x="225" y="711"/>
                      <a:pt x="229" y="708"/>
                      <a:pt x="231" y="704"/>
                    </a:cubicBezTo>
                    <a:cubicBezTo>
                      <a:pt x="229" y="711"/>
                      <a:pt x="228" y="715"/>
                      <a:pt x="228" y="720"/>
                    </a:cubicBezTo>
                    <a:cubicBezTo>
                      <a:pt x="227" y="724"/>
                      <a:pt x="228" y="728"/>
                      <a:pt x="229" y="733"/>
                    </a:cubicBezTo>
                    <a:cubicBezTo>
                      <a:pt x="230" y="732"/>
                      <a:pt x="231" y="731"/>
                      <a:pt x="232" y="731"/>
                    </a:cubicBezTo>
                    <a:cubicBezTo>
                      <a:pt x="231" y="733"/>
                      <a:pt x="231" y="734"/>
                      <a:pt x="230" y="736"/>
                    </a:cubicBezTo>
                    <a:cubicBezTo>
                      <a:pt x="231" y="739"/>
                      <a:pt x="232" y="742"/>
                      <a:pt x="233" y="746"/>
                    </a:cubicBezTo>
                    <a:cubicBezTo>
                      <a:pt x="236" y="752"/>
                      <a:pt x="236" y="761"/>
                      <a:pt x="237" y="770"/>
                    </a:cubicBezTo>
                    <a:cubicBezTo>
                      <a:pt x="237" y="763"/>
                      <a:pt x="237" y="755"/>
                      <a:pt x="242" y="749"/>
                    </a:cubicBezTo>
                    <a:cubicBezTo>
                      <a:pt x="242" y="747"/>
                      <a:pt x="242" y="744"/>
                      <a:pt x="241" y="742"/>
                    </a:cubicBezTo>
                    <a:cubicBezTo>
                      <a:pt x="241" y="743"/>
                      <a:pt x="243" y="744"/>
                      <a:pt x="243" y="745"/>
                    </a:cubicBezTo>
                    <a:cubicBezTo>
                      <a:pt x="245" y="747"/>
                      <a:pt x="247" y="752"/>
                      <a:pt x="247" y="754"/>
                    </a:cubicBezTo>
                    <a:cubicBezTo>
                      <a:pt x="248" y="758"/>
                      <a:pt x="250" y="762"/>
                      <a:pt x="251" y="765"/>
                    </a:cubicBezTo>
                    <a:cubicBezTo>
                      <a:pt x="252" y="764"/>
                      <a:pt x="253" y="762"/>
                      <a:pt x="253" y="760"/>
                    </a:cubicBezTo>
                    <a:cubicBezTo>
                      <a:pt x="253" y="763"/>
                      <a:pt x="253" y="766"/>
                      <a:pt x="253" y="769"/>
                    </a:cubicBezTo>
                    <a:lnTo>
                      <a:pt x="253" y="769"/>
                    </a:lnTo>
                    <a:cubicBezTo>
                      <a:pt x="253" y="770"/>
                      <a:pt x="254" y="771"/>
                      <a:pt x="254" y="772"/>
                    </a:cubicBezTo>
                    <a:cubicBezTo>
                      <a:pt x="254" y="772"/>
                      <a:pt x="255" y="772"/>
                      <a:pt x="255" y="771"/>
                    </a:cubicBezTo>
                    <a:cubicBezTo>
                      <a:pt x="256" y="768"/>
                      <a:pt x="256" y="765"/>
                      <a:pt x="256" y="762"/>
                    </a:cubicBezTo>
                    <a:cubicBezTo>
                      <a:pt x="256" y="759"/>
                      <a:pt x="256" y="756"/>
                      <a:pt x="256" y="753"/>
                    </a:cubicBezTo>
                    <a:cubicBezTo>
                      <a:pt x="256" y="751"/>
                      <a:pt x="258" y="747"/>
                      <a:pt x="259" y="744"/>
                    </a:cubicBezTo>
                    <a:cubicBezTo>
                      <a:pt x="258" y="749"/>
                      <a:pt x="259" y="755"/>
                      <a:pt x="261" y="760"/>
                    </a:cubicBezTo>
                    <a:cubicBezTo>
                      <a:pt x="261" y="760"/>
                      <a:pt x="261" y="760"/>
                      <a:pt x="261" y="759"/>
                    </a:cubicBezTo>
                    <a:cubicBezTo>
                      <a:pt x="261" y="758"/>
                      <a:pt x="263" y="754"/>
                      <a:pt x="264" y="753"/>
                    </a:cubicBezTo>
                    <a:cubicBezTo>
                      <a:pt x="264" y="752"/>
                      <a:pt x="266" y="750"/>
                      <a:pt x="266" y="749"/>
                    </a:cubicBezTo>
                    <a:cubicBezTo>
                      <a:pt x="264" y="754"/>
                      <a:pt x="263" y="760"/>
                      <a:pt x="263" y="765"/>
                    </a:cubicBezTo>
                    <a:cubicBezTo>
                      <a:pt x="264" y="768"/>
                      <a:pt x="265" y="770"/>
                      <a:pt x="266" y="772"/>
                    </a:cubicBezTo>
                    <a:cubicBezTo>
                      <a:pt x="267" y="773"/>
                      <a:pt x="267" y="774"/>
                      <a:pt x="267" y="774"/>
                    </a:cubicBezTo>
                    <a:cubicBezTo>
                      <a:pt x="269" y="770"/>
                      <a:pt x="270" y="765"/>
                      <a:pt x="270" y="761"/>
                    </a:cubicBezTo>
                    <a:cubicBezTo>
                      <a:pt x="270" y="762"/>
                      <a:pt x="271" y="763"/>
                      <a:pt x="271" y="764"/>
                    </a:cubicBezTo>
                    <a:cubicBezTo>
                      <a:pt x="271" y="758"/>
                      <a:pt x="270" y="751"/>
                      <a:pt x="269" y="745"/>
                    </a:cubicBezTo>
                    <a:cubicBezTo>
                      <a:pt x="269" y="739"/>
                      <a:pt x="267" y="733"/>
                      <a:pt x="266" y="726"/>
                    </a:cubicBezTo>
                    <a:cubicBezTo>
                      <a:pt x="266" y="728"/>
                      <a:pt x="268" y="731"/>
                      <a:pt x="269" y="731"/>
                    </a:cubicBezTo>
                    <a:cubicBezTo>
                      <a:pt x="270" y="734"/>
                      <a:pt x="272" y="739"/>
                      <a:pt x="273" y="743"/>
                    </a:cubicBezTo>
                    <a:cubicBezTo>
                      <a:pt x="274" y="747"/>
                      <a:pt x="277" y="754"/>
                      <a:pt x="279" y="759"/>
                    </a:cubicBezTo>
                    <a:cubicBezTo>
                      <a:pt x="279" y="760"/>
                      <a:pt x="280" y="760"/>
                      <a:pt x="280" y="761"/>
                    </a:cubicBezTo>
                    <a:cubicBezTo>
                      <a:pt x="281" y="761"/>
                      <a:pt x="281" y="760"/>
                      <a:pt x="281" y="760"/>
                    </a:cubicBezTo>
                    <a:lnTo>
                      <a:pt x="281" y="761"/>
                    </a:lnTo>
                    <a:cubicBezTo>
                      <a:pt x="282" y="762"/>
                      <a:pt x="284" y="763"/>
                      <a:pt x="286" y="763"/>
                    </a:cubicBezTo>
                    <a:cubicBezTo>
                      <a:pt x="286" y="763"/>
                      <a:pt x="286" y="763"/>
                      <a:pt x="286" y="763"/>
                    </a:cubicBezTo>
                    <a:cubicBezTo>
                      <a:pt x="286" y="762"/>
                      <a:pt x="286" y="762"/>
                      <a:pt x="286" y="762"/>
                    </a:cubicBezTo>
                    <a:cubicBezTo>
                      <a:pt x="286" y="760"/>
                      <a:pt x="286" y="758"/>
                      <a:pt x="286" y="758"/>
                    </a:cubicBezTo>
                    <a:cubicBezTo>
                      <a:pt x="286" y="753"/>
                      <a:pt x="285" y="748"/>
                      <a:pt x="285" y="743"/>
                    </a:cubicBezTo>
                    <a:cubicBezTo>
                      <a:pt x="285" y="747"/>
                      <a:pt x="287" y="750"/>
                      <a:pt x="289" y="753"/>
                    </a:cubicBezTo>
                    <a:cubicBezTo>
                      <a:pt x="290" y="748"/>
                      <a:pt x="290" y="744"/>
                      <a:pt x="287" y="736"/>
                    </a:cubicBezTo>
                    <a:cubicBezTo>
                      <a:pt x="290" y="740"/>
                      <a:pt x="297" y="746"/>
                      <a:pt x="294" y="756"/>
                    </a:cubicBezTo>
                    <a:cubicBezTo>
                      <a:pt x="294" y="757"/>
                      <a:pt x="294" y="757"/>
                      <a:pt x="294" y="758"/>
                    </a:cubicBezTo>
                    <a:cubicBezTo>
                      <a:pt x="295" y="759"/>
                      <a:pt x="297" y="760"/>
                      <a:pt x="298" y="760"/>
                    </a:cubicBezTo>
                    <a:cubicBezTo>
                      <a:pt x="299" y="759"/>
                      <a:pt x="300" y="758"/>
                      <a:pt x="300" y="757"/>
                    </a:cubicBezTo>
                    <a:cubicBezTo>
                      <a:pt x="300" y="757"/>
                      <a:pt x="300" y="756"/>
                      <a:pt x="300" y="756"/>
                    </a:cubicBezTo>
                    <a:cubicBezTo>
                      <a:pt x="301" y="754"/>
                      <a:pt x="302" y="750"/>
                      <a:pt x="303" y="748"/>
                    </a:cubicBezTo>
                    <a:cubicBezTo>
                      <a:pt x="303" y="740"/>
                      <a:pt x="304" y="730"/>
                      <a:pt x="299" y="724"/>
                    </a:cubicBezTo>
                    <a:cubicBezTo>
                      <a:pt x="305" y="729"/>
                      <a:pt x="307" y="735"/>
                      <a:pt x="309" y="741"/>
                    </a:cubicBezTo>
                    <a:cubicBezTo>
                      <a:pt x="310" y="748"/>
                      <a:pt x="310" y="754"/>
                      <a:pt x="311" y="761"/>
                    </a:cubicBezTo>
                    <a:cubicBezTo>
                      <a:pt x="311" y="755"/>
                      <a:pt x="312" y="750"/>
                      <a:pt x="313" y="745"/>
                    </a:cubicBezTo>
                    <a:cubicBezTo>
                      <a:pt x="313" y="741"/>
                      <a:pt x="315" y="736"/>
                      <a:pt x="316" y="730"/>
                    </a:cubicBezTo>
                    <a:cubicBezTo>
                      <a:pt x="319" y="724"/>
                      <a:pt x="320" y="718"/>
                      <a:pt x="321" y="713"/>
                    </a:cubicBezTo>
                    <a:cubicBezTo>
                      <a:pt x="322" y="708"/>
                      <a:pt x="321" y="704"/>
                      <a:pt x="318" y="700"/>
                    </a:cubicBezTo>
                    <a:cubicBezTo>
                      <a:pt x="330" y="700"/>
                      <a:pt x="327" y="720"/>
                      <a:pt x="326" y="728"/>
                    </a:cubicBezTo>
                    <a:cubicBezTo>
                      <a:pt x="325" y="735"/>
                      <a:pt x="324" y="741"/>
                      <a:pt x="324" y="745"/>
                    </a:cubicBezTo>
                    <a:cubicBezTo>
                      <a:pt x="324" y="750"/>
                      <a:pt x="325" y="754"/>
                      <a:pt x="330" y="759"/>
                    </a:cubicBezTo>
                    <a:cubicBezTo>
                      <a:pt x="330" y="758"/>
                      <a:pt x="330" y="756"/>
                      <a:pt x="330" y="754"/>
                    </a:cubicBezTo>
                    <a:cubicBezTo>
                      <a:pt x="329" y="749"/>
                      <a:pt x="330" y="744"/>
                      <a:pt x="330" y="740"/>
                    </a:cubicBezTo>
                    <a:cubicBezTo>
                      <a:pt x="331" y="736"/>
                      <a:pt x="333" y="731"/>
                      <a:pt x="334" y="725"/>
                    </a:cubicBezTo>
                    <a:cubicBezTo>
                      <a:pt x="334" y="730"/>
                      <a:pt x="335" y="738"/>
                      <a:pt x="338" y="744"/>
                    </a:cubicBezTo>
                    <a:cubicBezTo>
                      <a:pt x="340" y="750"/>
                      <a:pt x="344" y="755"/>
                      <a:pt x="349" y="7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4" name="Freeform 71">
                <a:extLst>
                  <a:ext uri="{FF2B5EF4-FFF2-40B4-BE49-F238E27FC236}">
                    <a16:creationId xmlns:a16="http://schemas.microsoft.com/office/drawing/2014/main" id="{4AC9149E-97D6-07CE-70D4-EC5FD689F1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9851" y="3743980"/>
                <a:ext cx="1810" cy="1810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1 w 4"/>
                  <a:gd name="T5" fmla="*/ 2 h 2"/>
                  <a:gd name="T6" fmla="*/ 4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cubicBezTo>
                      <a:pt x="3" y="1"/>
                      <a:pt x="2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3" y="1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15" name="Line 72">
              <a:extLst>
                <a:ext uri="{FF2B5EF4-FFF2-40B4-BE49-F238E27FC236}">
                  <a16:creationId xmlns:a16="http://schemas.microsoft.com/office/drawing/2014/main" id="{234250B4-4ECD-3DC7-2DB7-C0ACCE30B05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228600" y="3438118"/>
              <a:ext cx="2880000" cy="0"/>
            </a:xfrm>
            <a:prstGeom prst="line">
              <a:avLst/>
            </a:prstGeom>
            <a:grp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868BD23-9AC6-2EA4-7E80-AE4071CB8F6A}"/>
                </a:ext>
              </a:extLst>
            </p:cNvPr>
            <p:cNvGrpSpPr/>
            <p:nvPr userDrawn="1"/>
          </p:nvGrpSpPr>
          <p:grpSpPr>
            <a:xfrm>
              <a:off x="230912" y="2150376"/>
              <a:ext cx="2904030" cy="1130935"/>
              <a:chOff x="230912" y="1828800"/>
              <a:chExt cx="2904030" cy="1130935"/>
            </a:xfrm>
            <a:grpFill/>
          </p:grpSpPr>
          <p:sp>
            <p:nvSpPr>
              <p:cNvPr id="117" name="Freeform 5">
                <a:extLst>
                  <a:ext uri="{FF2B5EF4-FFF2-40B4-BE49-F238E27FC236}">
                    <a16:creationId xmlns:a16="http://schemas.microsoft.com/office/drawing/2014/main" id="{710D7C26-FC26-F26E-2791-673B32C20D5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62437" y="2629387"/>
                <a:ext cx="333719" cy="330348"/>
              </a:xfrm>
              <a:custGeom>
                <a:avLst/>
                <a:gdLst>
                  <a:gd name="T0" fmla="*/ 864 w 870"/>
                  <a:gd name="T1" fmla="*/ 406 h 856"/>
                  <a:gd name="T2" fmla="*/ 435 w 870"/>
                  <a:gd name="T3" fmla="*/ 0 h 856"/>
                  <a:gd name="T4" fmla="*/ 0 w 870"/>
                  <a:gd name="T5" fmla="*/ 430 h 856"/>
                  <a:gd name="T6" fmla="*/ 432 w 870"/>
                  <a:gd name="T7" fmla="*/ 856 h 856"/>
                  <a:gd name="T8" fmla="*/ 735 w 870"/>
                  <a:gd name="T9" fmla="*/ 744 h 856"/>
                  <a:gd name="T10" fmla="*/ 864 w 870"/>
                  <a:gd name="T11" fmla="*/ 406 h 856"/>
                  <a:gd name="T12" fmla="*/ 665 w 870"/>
                  <a:gd name="T13" fmla="*/ 684 h 856"/>
                  <a:gd name="T14" fmla="*/ 434 w 870"/>
                  <a:gd name="T15" fmla="*/ 808 h 856"/>
                  <a:gd name="T16" fmla="*/ 148 w 870"/>
                  <a:gd name="T17" fmla="*/ 553 h 856"/>
                  <a:gd name="T18" fmla="*/ 136 w 870"/>
                  <a:gd name="T19" fmla="*/ 422 h 856"/>
                  <a:gd name="T20" fmla="*/ 304 w 870"/>
                  <a:gd name="T21" fmla="*/ 77 h 856"/>
                  <a:gd name="T22" fmla="*/ 431 w 870"/>
                  <a:gd name="T23" fmla="*/ 48 h 856"/>
                  <a:gd name="T24" fmla="*/ 655 w 870"/>
                  <a:gd name="T25" fmla="*/ 159 h 856"/>
                  <a:gd name="T26" fmla="*/ 727 w 870"/>
                  <a:gd name="T27" fmla="*/ 412 h 856"/>
                  <a:gd name="T28" fmla="*/ 665 w 870"/>
                  <a:gd name="T29" fmla="*/ 68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0" h="856">
                    <a:moveTo>
                      <a:pt x="864" y="406"/>
                    </a:moveTo>
                    <a:cubicBezTo>
                      <a:pt x="854" y="204"/>
                      <a:pt x="717" y="0"/>
                      <a:pt x="435" y="0"/>
                    </a:cubicBezTo>
                    <a:cubicBezTo>
                      <a:pt x="175" y="0"/>
                      <a:pt x="0" y="173"/>
                      <a:pt x="0" y="430"/>
                    </a:cubicBezTo>
                    <a:cubicBezTo>
                      <a:pt x="0" y="724"/>
                      <a:pt x="217" y="856"/>
                      <a:pt x="432" y="856"/>
                    </a:cubicBezTo>
                    <a:cubicBezTo>
                      <a:pt x="552" y="856"/>
                      <a:pt x="657" y="817"/>
                      <a:pt x="735" y="744"/>
                    </a:cubicBezTo>
                    <a:cubicBezTo>
                      <a:pt x="825" y="661"/>
                      <a:pt x="870" y="541"/>
                      <a:pt x="864" y="406"/>
                    </a:cubicBezTo>
                    <a:close/>
                    <a:moveTo>
                      <a:pt x="665" y="684"/>
                    </a:moveTo>
                    <a:cubicBezTo>
                      <a:pt x="590" y="796"/>
                      <a:pt x="478" y="808"/>
                      <a:pt x="434" y="808"/>
                    </a:cubicBezTo>
                    <a:cubicBezTo>
                      <a:pt x="395" y="808"/>
                      <a:pt x="199" y="796"/>
                      <a:pt x="148" y="553"/>
                    </a:cubicBezTo>
                    <a:cubicBezTo>
                      <a:pt x="140" y="514"/>
                      <a:pt x="136" y="471"/>
                      <a:pt x="136" y="422"/>
                    </a:cubicBezTo>
                    <a:cubicBezTo>
                      <a:pt x="136" y="249"/>
                      <a:pt x="193" y="133"/>
                      <a:pt x="304" y="77"/>
                    </a:cubicBezTo>
                    <a:cubicBezTo>
                      <a:pt x="341" y="58"/>
                      <a:pt x="386" y="48"/>
                      <a:pt x="431" y="48"/>
                    </a:cubicBezTo>
                    <a:cubicBezTo>
                      <a:pt x="546" y="48"/>
                      <a:pt x="617" y="109"/>
                      <a:pt x="655" y="159"/>
                    </a:cubicBezTo>
                    <a:cubicBezTo>
                      <a:pt x="717" y="243"/>
                      <a:pt x="726" y="344"/>
                      <a:pt x="727" y="412"/>
                    </a:cubicBezTo>
                    <a:cubicBezTo>
                      <a:pt x="729" y="526"/>
                      <a:pt x="708" y="617"/>
                      <a:pt x="665" y="6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6">
                <a:extLst>
                  <a:ext uri="{FF2B5EF4-FFF2-40B4-BE49-F238E27FC236}">
                    <a16:creationId xmlns:a16="http://schemas.microsoft.com/office/drawing/2014/main" id="{538F93D2-D74F-0A2D-003A-0A4A737A3E5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97293" y="2632758"/>
                <a:ext cx="237649" cy="321921"/>
              </a:xfrm>
              <a:custGeom>
                <a:avLst/>
                <a:gdLst>
                  <a:gd name="T0" fmla="*/ 0 w 619"/>
                  <a:gd name="T1" fmla="*/ 839 h 839"/>
                  <a:gd name="T2" fmla="*/ 0 w 619"/>
                  <a:gd name="T3" fmla="*/ 0 h 839"/>
                  <a:gd name="T4" fmla="*/ 239 w 619"/>
                  <a:gd name="T5" fmla="*/ 0 h 839"/>
                  <a:gd name="T6" fmla="*/ 619 w 619"/>
                  <a:gd name="T7" fmla="*/ 230 h 839"/>
                  <a:gd name="T8" fmla="*/ 243 w 619"/>
                  <a:gd name="T9" fmla="*/ 461 h 839"/>
                  <a:gd name="T10" fmla="*/ 122 w 619"/>
                  <a:gd name="T11" fmla="*/ 461 h 839"/>
                  <a:gd name="T12" fmla="*/ 122 w 619"/>
                  <a:gd name="T13" fmla="*/ 839 h 839"/>
                  <a:gd name="T14" fmla="*/ 0 w 619"/>
                  <a:gd name="T15" fmla="*/ 839 h 839"/>
                  <a:gd name="T16" fmla="*/ 227 w 619"/>
                  <a:gd name="T17" fmla="*/ 40 h 839"/>
                  <a:gd name="T18" fmla="*/ 122 w 619"/>
                  <a:gd name="T19" fmla="*/ 49 h 839"/>
                  <a:gd name="T20" fmla="*/ 122 w 619"/>
                  <a:gd name="T21" fmla="*/ 412 h 839"/>
                  <a:gd name="T22" fmla="*/ 218 w 619"/>
                  <a:gd name="T23" fmla="*/ 412 h 839"/>
                  <a:gd name="T24" fmla="*/ 487 w 619"/>
                  <a:gd name="T25" fmla="*/ 231 h 839"/>
                  <a:gd name="T26" fmla="*/ 227 w 619"/>
                  <a:gd name="T27" fmla="*/ 4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9" h="839">
                    <a:moveTo>
                      <a:pt x="0" y="839"/>
                    </a:moveTo>
                    <a:lnTo>
                      <a:pt x="0" y="0"/>
                    </a:lnTo>
                    <a:lnTo>
                      <a:pt x="239" y="0"/>
                    </a:lnTo>
                    <a:cubicBezTo>
                      <a:pt x="494" y="0"/>
                      <a:pt x="619" y="76"/>
                      <a:pt x="619" y="230"/>
                    </a:cubicBezTo>
                    <a:cubicBezTo>
                      <a:pt x="619" y="446"/>
                      <a:pt x="356" y="461"/>
                      <a:pt x="243" y="461"/>
                    </a:cubicBezTo>
                    <a:lnTo>
                      <a:pt x="122" y="461"/>
                    </a:lnTo>
                    <a:lnTo>
                      <a:pt x="122" y="839"/>
                    </a:lnTo>
                    <a:lnTo>
                      <a:pt x="0" y="839"/>
                    </a:lnTo>
                    <a:close/>
                    <a:moveTo>
                      <a:pt x="227" y="40"/>
                    </a:moveTo>
                    <a:cubicBezTo>
                      <a:pt x="165" y="40"/>
                      <a:pt x="122" y="49"/>
                      <a:pt x="122" y="49"/>
                    </a:cubicBezTo>
                    <a:lnTo>
                      <a:pt x="122" y="412"/>
                    </a:lnTo>
                    <a:lnTo>
                      <a:pt x="218" y="412"/>
                    </a:lnTo>
                    <a:cubicBezTo>
                      <a:pt x="397" y="412"/>
                      <a:pt x="487" y="368"/>
                      <a:pt x="487" y="231"/>
                    </a:cubicBezTo>
                    <a:cubicBezTo>
                      <a:pt x="487" y="140"/>
                      <a:pt x="442" y="40"/>
                      <a:pt x="227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7">
                <a:extLst>
                  <a:ext uri="{FF2B5EF4-FFF2-40B4-BE49-F238E27FC236}">
                    <a16:creationId xmlns:a16="http://schemas.microsoft.com/office/drawing/2014/main" id="{A01F8BB3-B00E-2B3B-89D7-262C85C8E1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70316" y="2632758"/>
                <a:ext cx="242705" cy="326977"/>
              </a:xfrm>
              <a:custGeom>
                <a:avLst/>
                <a:gdLst>
                  <a:gd name="T0" fmla="*/ 336 w 631"/>
                  <a:gd name="T1" fmla="*/ 848 h 848"/>
                  <a:gd name="T2" fmla="*/ 29 w 631"/>
                  <a:gd name="T3" fmla="*/ 729 h 848"/>
                  <a:gd name="T4" fmla="*/ 0 w 631"/>
                  <a:gd name="T5" fmla="*/ 593 h 848"/>
                  <a:gd name="T6" fmla="*/ 0 w 631"/>
                  <a:gd name="T7" fmla="*/ 0 h 848"/>
                  <a:gd name="T8" fmla="*/ 122 w 631"/>
                  <a:gd name="T9" fmla="*/ 0 h 848"/>
                  <a:gd name="T10" fmla="*/ 122 w 631"/>
                  <a:gd name="T11" fmla="*/ 588 h 848"/>
                  <a:gd name="T12" fmla="*/ 336 w 631"/>
                  <a:gd name="T13" fmla="*/ 800 h 848"/>
                  <a:gd name="T14" fmla="*/ 545 w 631"/>
                  <a:gd name="T15" fmla="*/ 601 h 848"/>
                  <a:gd name="T16" fmla="*/ 545 w 631"/>
                  <a:gd name="T17" fmla="*/ 0 h 848"/>
                  <a:gd name="T18" fmla="*/ 631 w 631"/>
                  <a:gd name="T19" fmla="*/ 0 h 848"/>
                  <a:gd name="T20" fmla="*/ 631 w 631"/>
                  <a:gd name="T21" fmla="*/ 609 h 848"/>
                  <a:gd name="T22" fmla="*/ 604 w 631"/>
                  <a:gd name="T23" fmla="*/ 726 h 848"/>
                  <a:gd name="T24" fmla="*/ 336 w 631"/>
                  <a:gd name="T25" fmla="*/ 848 h 8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1" h="848">
                    <a:moveTo>
                      <a:pt x="336" y="848"/>
                    </a:moveTo>
                    <a:cubicBezTo>
                      <a:pt x="236" y="848"/>
                      <a:pt x="88" y="835"/>
                      <a:pt x="29" y="729"/>
                    </a:cubicBezTo>
                    <a:cubicBezTo>
                      <a:pt x="11" y="697"/>
                      <a:pt x="0" y="651"/>
                      <a:pt x="0" y="593"/>
                    </a:cubicBezTo>
                    <a:lnTo>
                      <a:pt x="0" y="0"/>
                    </a:lnTo>
                    <a:lnTo>
                      <a:pt x="122" y="0"/>
                    </a:lnTo>
                    <a:lnTo>
                      <a:pt x="122" y="588"/>
                    </a:lnTo>
                    <a:cubicBezTo>
                      <a:pt x="123" y="641"/>
                      <a:pt x="128" y="800"/>
                      <a:pt x="336" y="800"/>
                    </a:cubicBezTo>
                    <a:cubicBezTo>
                      <a:pt x="399" y="800"/>
                      <a:pt x="545" y="780"/>
                      <a:pt x="545" y="601"/>
                    </a:cubicBezTo>
                    <a:lnTo>
                      <a:pt x="545" y="0"/>
                    </a:lnTo>
                    <a:lnTo>
                      <a:pt x="631" y="0"/>
                    </a:lnTo>
                    <a:lnTo>
                      <a:pt x="631" y="609"/>
                    </a:lnTo>
                    <a:cubicBezTo>
                      <a:pt x="629" y="645"/>
                      <a:pt x="628" y="686"/>
                      <a:pt x="604" y="726"/>
                    </a:cubicBezTo>
                    <a:cubicBezTo>
                      <a:pt x="579" y="771"/>
                      <a:pt x="529" y="848"/>
                      <a:pt x="336" y="8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8">
                <a:extLst>
                  <a:ext uri="{FF2B5EF4-FFF2-40B4-BE49-F238E27FC236}">
                    <a16:creationId xmlns:a16="http://schemas.microsoft.com/office/drawing/2014/main" id="{5F1544A6-66A1-10BB-0575-4A8183369B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83200" y="2629387"/>
                <a:ext cx="294954" cy="330348"/>
              </a:xfrm>
              <a:custGeom>
                <a:avLst/>
                <a:gdLst>
                  <a:gd name="T0" fmla="*/ 457 w 767"/>
                  <a:gd name="T1" fmla="*/ 856 h 856"/>
                  <a:gd name="T2" fmla="*/ 0 w 767"/>
                  <a:gd name="T3" fmla="*/ 428 h 856"/>
                  <a:gd name="T4" fmla="*/ 443 w 767"/>
                  <a:gd name="T5" fmla="*/ 0 h 856"/>
                  <a:gd name="T6" fmla="*/ 767 w 767"/>
                  <a:gd name="T7" fmla="*/ 156 h 856"/>
                  <a:gd name="T8" fmla="*/ 717 w 767"/>
                  <a:gd name="T9" fmla="*/ 208 h 856"/>
                  <a:gd name="T10" fmla="*/ 651 w 767"/>
                  <a:gd name="T11" fmla="*/ 163 h 856"/>
                  <a:gd name="T12" fmla="*/ 441 w 767"/>
                  <a:gd name="T13" fmla="*/ 48 h 856"/>
                  <a:gd name="T14" fmla="*/ 142 w 767"/>
                  <a:gd name="T15" fmla="*/ 407 h 856"/>
                  <a:gd name="T16" fmla="*/ 471 w 767"/>
                  <a:gd name="T17" fmla="*/ 808 h 856"/>
                  <a:gd name="T18" fmla="*/ 600 w 767"/>
                  <a:gd name="T19" fmla="*/ 779 h 856"/>
                  <a:gd name="T20" fmla="*/ 650 w 767"/>
                  <a:gd name="T21" fmla="*/ 668 h 856"/>
                  <a:gd name="T22" fmla="*/ 650 w 767"/>
                  <a:gd name="T23" fmla="*/ 469 h 856"/>
                  <a:gd name="T24" fmla="*/ 543 w 767"/>
                  <a:gd name="T25" fmla="*/ 469 h 856"/>
                  <a:gd name="T26" fmla="*/ 585 w 767"/>
                  <a:gd name="T27" fmla="*/ 420 h 856"/>
                  <a:gd name="T28" fmla="*/ 766 w 767"/>
                  <a:gd name="T29" fmla="*/ 420 h 856"/>
                  <a:gd name="T30" fmla="*/ 766 w 767"/>
                  <a:gd name="T31" fmla="*/ 746 h 856"/>
                  <a:gd name="T32" fmla="*/ 721 w 767"/>
                  <a:gd name="T33" fmla="*/ 788 h 856"/>
                  <a:gd name="T34" fmla="*/ 457 w 767"/>
                  <a:gd name="T35" fmla="*/ 856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67" h="856">
                    <a:moveTo>
                      <a:pt x="457" y="856"/>
                    </a:moveTo>
                    <a:cubicBezTo>
                      <a:pt x="33" y="856"/>
                      <a:pt x="0" y="529"/>
                      <a:pt x="0" y="428"/>
                    </a:cubicBezTo>
                    <a:cubicBezTo>
                      <a:pt x="0" y="172"/>
                      <a:pt x="178" y="0"/>
                      <a:pt x="443" y="0"/>
                    </a:cubicBezTo>
                    <a:cubicBezTo>
                      <a:pt x="671" y="0"/>
                      <a:pt x="767" y="112"/>
                      <a:pt x="767" y="156"/>
                    </a:cubicBezTo>
                    <a:cubicBezTo>
                      <a:pt x="767" y="182"/>
                      <a:pt x="741" y="208"/>
                      <a:pt x="717" y="208"/>
                    </a:cubicBezTo>
                    <a:cubicBezTo>
                      <a:pt x="686" y="208"/>
                      <a:pt x="673" y="193"/>
                      <a:pt x="651" y="163"/>
                    </a:cubicBezTo>
                    <a:cubicBezTo>
                      <a:pt x="619" y="120"/>
                      <a:pt x="565" y="48"/>
                      <a:pt x="441" y="48"/>
                    </a:cubicBezTo>
                    <a:cubicBezTo>
                      <a:pt x="259" y="48"/>
                      <a:pt x="142" y="182"/>
                      <a:pt x="142" y="407"/>
                    </a:cubicBezTo>
                    <a:cubicBezTo>
                      <a:pt x="142" y="654"/>
                      <a:pt x="268" y="808"/>
                      <a:pt x="471" y="808"/>
                    </a:cubicBezTo>
                    <a:cubicBezTo>
                      <a:pt x="521" y="808"/>
                      <a:pt x="569" y="797"/>
                      <a:pt x="600" y="779"/>
                    </a:cubicBezTo>
                    <a:cubicBezTo>
                      <a:pt x="650" y="748"/>
                      <a:pt x="650" y="706"/>
                      <a:pt x="650" y="668"/>
                    </a:cubicBezTo>
                    <a:lnTo>
                      <a:pt x="650" y="469"/>
                    </a:lnTo>
                    <a:lnTo>
                      <a:pt x="543" y="469"/>
                    </a:lnTo>
                    <a:lnTo>
                      <a:pt x="585" y="420"/>
                    </a:lnTo>
                    <a:lnTo>
                      <a:pt x="766" y="420"/>
                    </a:lnTo>
                    <a:lnTo>
                      <a:pt x="766" y="746"/>
                    </a:lnTo>
                    <a:cubicBezTo>
                      <a:pt x="756" y="759"/>
                      <a:pt x="741" y="773"/>
                      <a:pt x="721" y="788"/>
                    </a:cubicBezTo>
                    <a:cubicBezTo>
                      <a:pt x="682" y="817"/>
                      <a:pt x="613" y="856"/>
                      <a:pt x="457" y="8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9">
                <a:extLst>
                  <a:ext uri="{FF2B5EF4-FFF2-40B4-BE49-F238E27FC236}">
                    <a16:creationId xmlns:a16="http://schemas.microsoft.com/office/drawing/2014/main" id="{535441DB-04F2-E539-E4A6-E441D25468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70854" y="2632758"/>
                <a:ext cx="247762" cy="321921"/>
              </a:xfrm>
              <a:custGeom>
                <a:avLst/>
                <a:gdLst>
                  <a:gd name="T0" fmla="*/ 646 w 646"/>
                  <a:gd name="T1" fmla="*/ 839 h 839"/>
                  <a:gd name="T2" fmla="*/ 358 w 646"/>
                  <a:gd name="T3" fmla="*/ 451 h 839"/>
                  <a:gd name="T4" fmla="*/ 410 w 646"/>
                  <a:gd name="T5" fmla="*/ 440 h 839"/>
                  <a:gd name="T6" fmla="*/ 601 w 646"/>
                  <a:gd name="T7" fmla="*/ 230 h 839"/>
                  <a:gd name="T8" fmla="*/ 514 w 646"/>
                  <a:gd name="T9" fmla="*/ 58 h 839"/>
                  <a:gd name="T10" fmla="*/ 231 w 646"/>
                  <a:gd name="T11" fmla="*/ 0 h 839"/>
                  <a:gd name="T12" fmla="*/ 0 w 646"/>
                  <a:gd name="T13" fmla="*/ 0 h 839"/>
                  <a:gd name="T14" fmla="*/ 0 w 646"/>
                  <a:gd name="T15" fmla="*/ 839 h 839"/>
                  <a:gd name="T16" fmla="*/ 121 w 646"/>
                  <a:gd name="T17" fmla="*/ 839 h 839"/>
                  <a:gd name="T18" fmla="*/ 121 w 646"/>
                  <a:gd name="T19" fmla="*/ 527 h 839"/>
                  <a:gd name="T20" fmla="*/ 196 w 646"/>
                  <a:gd name="T21" fmla="*/ 461 h 839"/>
                  <a:gd name="T22" fmla="*/ 279 w 646"/>
                  <a:gd name="T23" fmla="*/ 508 h 839"/>
                  <a:gd name="T24" fmla="*/ 513 w 646"/>
                  <a:gd name="T25" fmla="*/ 839 h 839"/>
                  <a:gd name="T26" fmla="*/ 646 w 646"/>
                  <a:gd name="T27" fmla="*/ 839 h 839"/>
                  <a:gd name="T28" fmla="*/ 258 w 646"/>
                  <a:gd name="T29" fmla="*/ 410 h 839"/>
                  <a:gd name="T30" fmla="*/ 210 w 646"/>
                  <a:gd name="T31" fmla="*/ 412 h 839"/>
                  <a:gd name="T32" fmla="*/ 121 w 646"/>
                  <a:gd name="T33" fmla="*/ 412 h 839"/>
                  <a:gd name="T34" fmla="*/ 121 w 646"/>
                  <a:gd name="T35" fmla="*/ 49 h 839"/>
                  <a:gd name="T36" fmla="*/ 224 w 646"/>
                  <a:gd name="T37" fmla="*/ 40 h 839"/>
                  <a:gd name="T38" fmla="*/ 469 w 646"/>
                  <a:gd name="T39" fmla="*/ 234 h 839"/>
                  <a:gd name="T40" fmla="*/ 258 w 646"/>
                  <a:gd name="T41" fmla="*/ 41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6" h="839">
                    <a:moveTo>
                      <a:pt x="646" y="839"/>
                    </a:moveTo>
                    <a:lnTo>
                      <a:pt x="358" y="451"/>
                    </a:lnTo>
                    <a:cubicBezTo>
                      <a:pt x="358" y="451"/>
                      <a:pt x="398" y="443"/>
                      <a:pt x="410" y="440"/>
                    </a:cubicBezTo>
                    <a:cubicBezTo>
                      <a:pt x="458" y="427"/>
                      <a:pt x="601" y="390"/>
                      <a:pt x="601" y="230"/>
                    </a:cubicBezTo>
                    <a:cubicBezTo>
                      <a:pt x="601" y="153"/>
                      <a:pt x="566" y="94"/>
                      <a:pt x="514" y="58"/>
                    </a:cubicBezTo>
                    <a:cubicBezTo>
                      <a:pt x="440" y="8"/>
                      <a:pt x="330" y="0"/>
                      <a:pt x="231" y="0"/>
                    </a:cubicBezTo>
                    <a:lnTo>
                      <a:pt x="0" y="0"/>
                    </a:lnTo>
                    <a:lnTo>
                      <a:pt x="0" y="839"/>
                    </a:lnTo>
                    <a:lnTo>
                      <a:pt x="121" y="839"/>
                    </a:lnTo>
                    <a:lnTo>
                      <a:pt x="121" y="527"/>
                    </a:lnTo>
                    <a:cubicBezTo>
                      <a:pt x="121" y="474"/>
                      <a:pt x="153" y="461"/>
                      <a:pt x="196" y="461"/>
                    </a:cubicBezTo>
                    <a:cubicBezTo>
                      <a:pt x="220" y="461"/>
                      <a:pt x="254" y="469"/>
                      <a:pt x="279" y="508"/>
                    </a:cubicBezTo>
                    <a:lnTo>
                      <a:pt x="513" y="839"/>
                    </a:lnTo>
                    <a:lnTo>
                      <a:pt x="646" y="839"/>
                    </a:lnTo>
                    <a:close/>
                    <a:moveTo>
                      <a:pt x="258" y="410"/>
                    </a:moveTo>
                    <a:cubicBezTo>
                      <a:pt x="242" y="412"/>
                      <a:pt x="229" y="412"/>
                      <a:pt x="210" y="412"/>
                    </a:cubicBezTo>
                    <a:lnTo>
                      <a:pt x="121" y="412"/>
                    </a:lnTo>
                    <a:lnTo>
                      <a:pt x="121" y="49"/>
                    </a:lnTo>
                    <a:cubicBezTo>
                      <a:pt x="121" y="49"/>
                      <a:pt x="163" y="40"/>
                      <a:pt x="224" y="40"/>
                    </a:cubicBezTo>
                    <a:cubicBezTo>
                      <a:pt x="387" y="40"/>
                      <a:pt x="469" y="110"/>
                      <a:pt x="469" y="234"/>
                    </a:cubicBezTo>
                    <a:cubicBezTo>
                      <a:pt x="469" y="359"/>
                      <a:pt x="390" y="397"/>
                      <a:pt x="258" y="4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0">
                <a:extLst>
                  <a:ext uri="{FF2B5EF4-FFF2-40B4-BE49-F238E27FC236}">
                    <a16:creationId xmlns:a16="http://schemas.microsoft.com/office/drawing/2014/main" id="{2E365AA1-706B-61C6-8C29-4C980A28A1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8330" y="1828800"/>
                <a:ext cx="1324763" cy="571367"/>
              </a:xfrm>
              <a:custGeom>
                <a:avLst/>
                <a:gdLst>
                  <a:gd name="T0" fmla="*/ 3369 w 3451"/>
                  <a:gd name="T1" fmla="*/ 1140 h 1483"/>
                  <a:gd name="T2" fmla="*/ 3309 w 3451"/>
                  <a:gd name="T3" fmla="*/ 1133 h 1483"/>
                  <a:gd name="T4" fmla="*/ 3226 w 3451"/>
                  <a:gd name="T5" fmla="*/ 1142 h 1483"/>
                  <a:gd name="T6" fmla="*/ 3249 w 3451"/>
                  <a:gd name="T7" fmla="*/ 1310 h 1483"/>
                  <a:gd name="T8" fmla="*/ 2720 w 3451"/>
                  <a:gd name="T9" fmla="*/ 1296 h 1483"/>
                  <a:gd name="T10" fmla="*/ 1915 w 3451"/>
                  <a:gd name="T11" fmla="*/ 339 h 1483"/>
                  <a:gd name="T12" fmla="*/ 920 w 3451"/>
                  <a:gd name="T13" fmla="*/ 132 h 1483"/>
                  <a:gd name="T14" fmla="*/ 629 w 3451"/>
                  <a:gd name="T15" fmla="*/ 1140 h 1483"/>
                  <a:gd name="T16" fmla="*/ 477 w 3451"/>
                  <a:gd name="T17" fmla="*/ 602 h 1483"/>
                  <a:gd name="T18" fmla="*/ 432 w 3451"/>
                  <a:gd name="T19" fmla="*/ 614 h 1483"/>
                  <a:gd name="T20" fmla="*/ 1 w 3451"/>
                  <a:gd name="T21" fmla="*/ 502 h 1483"/>
                  <a:gd name="T22" fmla="*/ 1 w 3451"/>
                  <a:gd name="T23" fmla="*/ 508 h 1483"/>
                  <a:gd name="T24" fmla="*/ 318 w 3451"/>
                  <a:gd name="T25" fmla="*/ 709 h 1483"/>
                  <a:gd name="T26" fmla="*/ 783 w 3451"/>
                  <a:gd name="T27" fmla="*/ 1225 h 1483"/>
                  <a:gd name="T28" fmla="*/ 721 w 3451"/>
                  <a:gd name="T29" fmla="*/ 716 h 1483"/>
                  <a:gd name="T30" fmla="*/ 1302 w 3451"/>
                  <a:gd name="T31" fmla="*/ 155 h 1483"/>
                  <a:gd name="T32" fmla="*/ 2060 w 3451"/>
                  <a:gd name="T33" fmla="*/ 739 h 1483"/>
                  <a:gd name="T34" fmla="*/ 2831 w 3451"/>
                  <a:gd name="T35" fmla="*/ 1417 h 1483"/>
                  <a:gd name="T36" fmla="*/ 3332 w 3451"/>
                  <a:gd name="T37" fmla="*/ 1403 h 1483"/>
                  <a:gd name="T38" fmla="*/ 3369 w 3451"/>
                  <a:gd name="T39" fmla="*/ 1140 h 1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451" h="1483">
                    <a:moveTo>
                      <a:pt x="3369" y="1140"/>
                    </a:moveTo>
                    <a:cubicBezTo>
                      <a:pt x="3355" y="1137"/>
                      <a:pt x="3325" y="1134"/>
                      <a:pt x="3309" y="1133"/>
                    </a:cubicBezTo>
                    <a:cubicBezTo>
                      <a:pt x="3280" y="1132"/>
                      <a:pt x="3252" y="1136"/>
                      <a:pt x="3226" y="1142"/>
                    </a:cubicBezTo>
                    <a:cubicBezTo>
                      <a:pt x="3279" y="1188"/>
                      <a:pt x="3277" y="1256"/>
                      <a:pt x="3249" y="1310"/>
                    </a:cubicBezTo>
                    <a:cubicBezTo>
                      <a:pt x="3166" y="1476"/>
                      <a:pt x="2841" y="1377"/>
                      <a:pt x="2720" y="1296"/>
                    </a:cubicBezTo>
                    <a:cubicBezTo>
                      <a:pt x="2348" y="1048"/>
                      <a:pt x="2126" y="577"/>
                      <a:pt x="1915" y="339"/>
                    </a:cubicBezTo>
                    <a:cubicBezTo>
                      <a:pt x="1619" y="7"/>
                      <a:pt x="1185" y="0"/>
                      <a:pt x="920" y="132"/>
                    </a:cubicBezTo>
                    <a:cubicBezTo>
                      <a:pt x="590" y="296"/>
                      <a:pt x="509" y="754"/>
                      <a:pt x="629" y="1140"/>
                    </a:cubicBezTo>
                    <a:cubicBezTo>
                      <a:pt x="469" y="1092"/>
                      <a:pt x="401" y="783"/>
                      <a:pt x="477" y="602"/>
                    </a:cubicBezTo>
                    <a:cubicBezTo>
                      <a:pt x="463" y="606"/>
                      <a:pt x="448" y="610"/>
                      <a:pt x="432" y="614"/>
                    </a:cubicBezTo>
                    <a:cubicBezTo>
                      <a:pt x="262" y="653"/>
                      <a:pt x="95" y="605"/>
                      <a:pt x="1" y="502"/>
                    </a:cubicBezTo>
                    <a:cubicBezTo>
                      <a:pt x="0" y="504"/>
                      <a:pt x="0" y="506"/>
                      <a:pt x="1" y="508"/>
                    </a:cubicBezTo>
                    <a:cubicBezTo>
                      <a:pt x="54" y="629"/>
                      <a:pt x="163" y="706"/>
                      <a:pt x="318" y="709"/>
                    </a:cubicBezTo>
                    <a:cubicBezTo>
                      <a:pt x="308" y="1119"/>
                      <a:pt x="539" y="1245"/>
                      <a:pt x="783" y="1225"/>
                    </a:cubicBezTo>
                    <a:cubicBezTo>
                      <a:pt x="716" y="1100"/>
                      <a:pt x="698" y="880"/>
                      <a:pt x="721" y="716"/>
                    </a:cubicBezTo>
                    <a:cubicBezTo>
                      <a:pt x="743" y="563"/>
                      <a:pt x="878" y="167"/>
                      <a:pt x="1302" y="155"/>
                    </a:cubicBezTo>
                    <a:cubicBezTo>
                      <a:pt x="1710" y="143"/>
                      <a:pt x="1863" y="492"/>
                      <a:pt x="2060" y="739"/>
                    </a:cubicBezTo>
                    <a:cubicBezTo>
                      <a:pt x="2230" y="952"/>
                      <a:pt x="2501" y="1307"/>
                      <a:pt x="2831" y="1417"/>
                    </a:cubicBezTo>
                    <a:cubicBezTo>
                      <a:pt x="2984" y="1468"/>
                      <a:pt x="3195" y="1483"/>
                      <a:pt x="3332" y="1403"/>
                    </a:cubicBezTo>
                    <a:cubicBezTo>
                      <a:pt x="3417" y="1354"/>
                      <a:pt x="3451" y="1217"/>
                      <a:pt x="3369" y="11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1">
                <a:extLst>
                  <a:ext uri="{FF2B5EF4-FFF2-40B4-BE49-F238E27FC236}">
                    <a16:creationId xmlns:a16="http://schemas.microsoft.com/office/drawing/2014/main" id="{7AF94B6A-CDD1-EC11-3693-357572F6C6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8688" y="2273758"/>
                <a:ext cx="524175" cy="291583"/>
              </a:xfrm>
              <a:custGeom>
                <a:avLst/>
                <a:gdLst>
                  <a:gd name="T0" fmla="*/ 1257 w 1369"/>
                  <a:gd name="T1" fmla="*/ 706 h 756"/>
                  <a:gd name="T2" fmla="*/ 1001 w 1369"/>
                  <a:gd name="T3" fmla="*/ 535 h 756"/>
                  <a:gd name="T4" fmla="*/ 912 w 1369"/>
                  <a:gd name="T5" fmla="*/ 292 h 756"/>
                  <a:gd name="T6" fmla="*/ 915 w 1369"/>
                  <a:gd name="T7" fmla="*/ 255 h 756"/>
                  <a:gd name="T8" fmla="*/ 848 w 1369"/>
                  <a:gd name="T9" fmla="*/ 248 h 756"/>
                  <a:gd name="T10" fmla="*/ 764 w 1369"/>
                  <a:gd name="T11" fmla="*/ 257 h 756"/>
                  <a:gd name="T12" fmla="*/ 420 w 1369"/>
                  <a:gd name="T13" fmla="*/ 354 h 756"/>
                  <a:gd name="T14" fmla="*/ 134 w 1369"/>
                  <a:gd name="T15" fmla="*/ 21 h 756"/>
                  <a:gd name="T16" fmla="*/ 115 w 1369"/>
                  <a:gd name="T17" fmla="*/ 0 h 756"/>
                  <a:gd name="T18" fmla="*/ 0 w 1369"/>
                  <a:gd name="T19" fmla="*/ 38 h 756"/>
                  <a:gd name="T20" fmla="*/ 84 w 1369"/>
                  <a:gd name="T21" fmla="*/ 169 h 756"/>
                  <a:gd name="T22" fmla="*/ 380 w 1369"/>
                  <a:gd name="T23" fmla="*/ 391 h 756"/>
                  <a:gd name="T24" fmla="*/ 768 w 1369"/>
                  <a:gd name="T25" fmla="*/ 359 h 756"/>
                  <a:gd name="T26" fmla="*/ 876 w 1369"/>
                  <a:gd name="T27" fmla="*/ 567 h 756"/>
                  <a:gd name="T28" fmla="*/ 1158 w 1369"/>
                  <a:gd name="T29" fmla="*/ 732 h 756"/>
                  <a:gd name="T30" fmla="*/ 1369 w 1369"/>
                  <a:gd name="T31" fmla="*/ 735 h 756"/>
                  <a:gd name="T32" fmla="*/ 1257 w 1369"/>
                  <a:gd name="T33" fmla="*/ 706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69" h="756">
                    <a:moveTo>
                      <a:pt x="1257" y="706"/>
                    </a:moveTo>
                    <a:cubicBezTo>
                      <a:pt x="1149" y="670"/>
                      <a:pt x="1061" y="610"/>
                      <a:pt x="1001" y="535"/>
                    </a:cubicBezTo>
                    <a:cubicBezTo>
                      <a:pt x="944" y="465"/>
                      <a:pt x="911" y="375"/>
                      <a:pt x="912" y="292"/>
                    </a:cubicBezTo>
                    <a:cubicBezTo>
                      <a:pt x="912" y="279"/>
                      <a:pt x="915" y="255"/>
                      <a:pt x="915" y="255"/>
                    </a:cubicBezTo>
                    <a:cubicBezTo>
                      <a:pt x="915" y="255"/>
                      <a:pt x="883" y="248"/>
                      <a:pt x="848" y="248"/>
                    </a:cubicBezTo>
                    <a:cubicBezTo>
                      <a:pt x="791" y="248"/>
                      <a:pt x="764" y="257"/>
                      <a:pt x="764" y="257"/>
                    </a:cubicBezTo>
                    <a:cubicBezTo>
                      <a:pt x="764" y="257"/>
                      <a:pt x="631" y="406"/>
                      <a:pt x="420" y="354"/>
                    </a:cubicBezTo>
                    <a:cubicBezTo>
                      <a:pt x="219" y="304"/>
                      <a:pt x="225" y="126"/>
                      <a:pt x="134" y="21"/>
                    </a:cubicBezTo>
                    <a:cubicBezTo>
                      <a:pt x="128" y="13"/>
                      <a:pt x="122" y="7"/>
                      <a:pt x="115" y="0"/>
                    </a:cubicBezTo>
                    <a:lnTo>
                      <a:pt x="0" y="38"/>
                    </a:lnTo>
                    <a:cubicBezTo>
                      <a:pt x="28" y="69"/>
                      <a:pt x="57" y="111"/>
                      <a:pt x="84" y="169"/>
                    </a:cubicBezTo>
                    <a:cubicBezTo>
                      <a:pt x="123" y="256"/>
                      <a:pt x="214" y="355"/>
                      <a:pt x="380" y="391"/>
                    </a:cubicBezTo>
                    <a:cubicBezTo>
                      <a:pt x="503" y="418"/>
                      <a:pt x="639" y="411"/>
                      <a:pt x="768" y="359"/>
                    </a:cubicBezTo>
                    <a:cubicBezTo>
                      <a:pt x="782" y="433"/>
                      <a:pt x="820" y="506"/>
                      <a:pt x="876" y="567"/>
                    </a:cubicBezTo>
                    <a:cubicBezTo>
                      <a:pt x="942" y="639"/>
                      <a:pt x="1048" y="699"/>
                      <a:pt x="1158" y="732"/>
                    </a:cubicBezTo>
                    <a:cubicBezTo>
                      <a:pt x="1239" y="756"/>
                      <a:pt x="1330" y="754"/>
                      <a:pt x="1369" y="735"/>
                    </a:cubicBezTo>
                    <a:cubicBezTo>
                      <a:pt x="1331" y="728"/>
                      <a:pt x="1293" y="718"/>
                      <a:pt x="1257" y="7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2">
                <a:extLst>
                  <a:ext uri="{FF2B5EF4-FFF2-40B4-BE49-F238E27FC236}">
                    <a16:creationId xmlns:a16="http://schemas.microsoft.com/office/drawing/2014/main" id="{D1504049-4F71-2FB5-F9A5-E7CB3BB2AF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678" y="2074875"/>
                <a:ext cx="372485" cy="353944"/>
              </a:xfrm>
              <a:custGeom>
                <a:avLst/>
                <a:gdLst>
                  <a:gd name="T0" fmla="*/ 714 w 973"/>
                  <a:gd name="T1" fmla="*/ 43 h 919"/>
                  <a:gd name="T2" fmla="*/ 246 w 973"/>
                  <a:gd name="T3" fmla="*/ 151 h 919"/>
                  <a:gd name="T4" fmla="*/ 208 w 973"/>
                  <a:gd name="T5" fmla="*/ 877 h 919"/>
                  <a:gd name="T6" fmla="*/ 240 w 973"/>
                  <a:gd name="T7" fmla="*/ 912 h 919"/>
                  <a:gd name="T8" fmla="*/ 314 w 973"/>
                  <a:gd name="T9" fmla="*/ 912 h 919"/>
                  <a:gd name="T10" fmla="*/ 396 w 973"/>
                  <a:gd name="T11" fmla="*/ 879 h 919"/>
                  <a:gd name="T12" fmla="*/ 209 w 973"/>
                  <a:gd name="T13" fmla="*/ 575 h 919"/>
                  <a:gd name="T14" fmla="*/ 688 w 973"/>
                  <a:gd name="T15" fmla="*/ 98 h 919"/>
                  <a:gd name="T16" fmla="*/ 772 w 973"/>
                  <a:gd name="T17" fmla="*/ 320 h 919"/>
                  <a:gd name="T18" fmla="*/ 578 w 973"/>
                  <a:gd name="T19" fmla="*/ 371 h 919"/>
                  <a:gd name="T20" fmla="*/ 683 w 973"/>
                  <a:gd name="T21" fmla="*/ 473 h 919"/>
                  <a:gd name="T22" fmla="*/ 898 w 973"/>
                  <a:gd name="T23" fmla="*/ 348 h 919"/>
                  <a:gd name="T24" fmla="*/ 714 w 973"/>
                  <a:gd name="T25" fmla="*/ 43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73" h="919">
                    <a:moveTo>
                      <a:pt x="714" y="43"/>
                    </a:moveTo>
                    <a:cubicBezTo>
                      <a:pt x="514" y="0"/>
                      <a:pt x="346" y="70"/>
                      <a:pt x="246" y="151"/>
                    </a:cubicBezTo>
                    <a:cubicBezTo>
                      <a:pt x="0" y="348"/>
                      <a:pt x="25" y="659"/>
                      <a:pt x="208" y="877"/>
                    </a:cubicBezTo>
                    <a:cubicBezTo>
                      <a:pt x="218" y="889"/>
                      <a:pt x="240" y="912"/>
                      <a:pt x="240" y="912"/>
                    </a:cubicBezTo>
                    <a:cubicBezTo>
                      <a:pt x="240" y="912"/>
                      <a:pt x="266" y="919"/>
                      <a:pt x="314" y="912"/>
                    </a:cubicBezTo>
                    <a:cubicBezTo>
                      <a:pt x="348" y="907"/>
                      <a:pt x="396" y="879"/>
                      <a:pt x="396" y="879"/>
                    </a:cubicBezTo>
                    <a:cubicBezTo>
                      <a:pt x="396" y="879"/>
                      <a:pt x="245" y="761"/>
                      <a:pt x="209" y="575"/>
                    </a:cubicBezTo>
                    <a:cubicBezTo>
                      <a:pt x="145" y="243"/>
                      <a:pt x="437" y="52"/>
                      <a:pt x="688" y="98"/>
                    </a:cubicBezTo>
                    <a:cubicBezTo>
                      <a:pt x="831" y="124"/>
                      <a:pt x="842" y="257"/>
                      <a:pt x="772" y="320"/>
                    </a:cubicBezTo>
                    <a:cubicBezTo>
                      <a:pt x="708" y="377"/>
                      <a:pt x="622" y="376"/>
                      <a:pt x="578" y="371"/>
                    </a:cubicBezTo>
                    <a:cubicBezTo>
                      <a:pt x="616" y="392"/>
                      <a:pt x="653" y="427"/>
                      <a:pt x="683" y="473"/>
                    </a:cubicBezTo>
                    <a:cubicBezTo>
                      <a:pt x="683" y="473"/>
                      <a:pt x="819" y="458"/>
                      <a:pt x="898" y="348"/>
                    </a:cubicBezTo>
                    <a:cubicBezTo>
                      <a:pt x="973" y="245"/>
                      <a:pt x="913" y="86"/>
                      <a:pt x="71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0CAF858-3CA7-9454-1A14-9DC8C3C554F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89912" y="2632758"/>
                <a:ext cx="64047" cy="3219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4">
                <a:extLst>
                  <a:ext uri="{FF2B5EF4-FFF2-40B4-BE49-F238E27FC236}">
                    <a16:creationId xmlns:a16="http://schemas.microsoft.com/office/drawing/2014/main" id="{9633F193-F5B4-706B-C659-386F513E4D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4313" y="2632758"/>
                <a:ext cx="215738" cy="321921"/>
              </a:xfrm>
              <a:custGeom>
                <a:avLst/>
                <a:gdLst>
                  <a:gd name="T0" fmla="*/ 0 w 562"/>
                  <a:gd name="T1" fmla="*/ 839 h 839"/>
                  <a:gd name="T2" fmla="*/ 0 w 562"/>
                  <a:gd name="T3" fmla="*/ 0 h 839"/>
                  <a:gd name="T4" fmla="*/ 164 w 562"/>
                  <a:gd name="T5" fmla="*/ 0 h 839"/>
                  <a:gd name="T6" fmla="*/ 164 w 562"/>
                  <a:gd name="T7" fmla="*/ 756 h 839"/>
                  <a:gd name="T8" fmla="*/ 485 w 562"/>
                  <a:gd name="T9" fmla="*/ 756 h 839"/>
                  <a:gd name="T10" fmla="*/ 562 w 562"/>
                  <a:gd name="T11" fmla="*/ 839 h 839"/>
                  <a:gd name="T12" fmla="*/ 0 w 562"/>
                  <a:gd name="T13" fmla="*/ 839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2" h="839">
                    <a:moveTo>
                      <a:pt x="0" y="839"/>
                    </a:moveTo>
                    <a:lnTo>
                      <a:pt x="0" y="0"/>
                    </a:lnTo>
                    <a:lnTo>
                      <a:pt x="164" y="0"/>
                    </a:lnTo>
                    <a:lnTo>
                      <a:pt x="164" y="756"/>
                    </a:lnTo>
                    <a:lnTo>
                      <a:pt x="485" y="756"/>
                    </a:lnTo>
                    <a:lnTo>
                      <a:pt x="562" y="839"/>
                    </a:lnTo>
                    <a:lnTo>
                      <a:pt x="0" y="8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5">
                <a:extLst>
                  <a:ext uri="{FF2B5EF4-FFF2-40B4-BE49-F238E27FC236}">
                    <a16:creationId xmlns:a16="http://schemas.microsoft.com/office/drawing/2014/main" id="{FE808231-49D5-D802-D675-C6746713E4F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30912" y="2629387"/>
                <a:ext cx="267987" cy="330348"/>
              </a:xfrm>
              <a:custGeom>
                <a:avLst/>
                <a:gdLst>
                  <a:gd name="T0" fmla="*/ 0 w 698"/>
                  <a:gd name="T1" fmla="*/ 856 h 856"/>
                  <a:gd name="T2" fmla="*/ 0 w 698"/>
                  <a:gd name="T3" fmla="*/ 0 h 856"/>
                  <a:gd name="T4" fmla="*/ 250 w 698"/>
                  <a:gd name="T5" fmla="*/ 0 h 856"/>
                  <a:gd name="T6" fmla="*/ 537 w 698"/>
                  <a:gd name="T7" fmla="*/ 45 h 856"/>
                  <a:gd name="T8" fmla="*/ 641 w 698"/>
                  <a:gd name="T9" fmla="*/ 197 h 856"/>
                  <a:gd name="T10" fmla="*/ 488 w 698"/>
                  <a:gd name="T11" fmla="*/ 379 h 856"/>
                  <a:gd name="T12" fmla="*/ 443 w 698"/>
                  <a:gd name="T13" fmla="*/ 394 h 856"/>
                  <a:gd name="T14" fmla="*/ 501 w 698"/>
                  <a:gd name="T15" fmla="*/ 414 h 856"/>
                  <a:gd name="T16" fmla="*/ 698 w 698"/>
                  <a:gd name="T17" fmla="*/ 630 h 856"/>
                  <a:gd name="T18" fmla="*/ 541 w 698"/>
                  <a:gd name="T19" fmla="*/ 822 h 856"/>
                  <a:gd name="T20" fmla="*/ 250 w 698"/>
                  <a:gd name="T21" fmla="*/ 856 h 856"/>
                  <a:gd name="T22" fmla="*/ 0 w 698"/>
                  <a:gd name="T23" fmla="*/ 856 h 856"/>
                  <a:gd name="T24" fmla="*/ 161 w 698"/>
                  <a:gd name="T25" fmla="*/ 712 h 856"/>
                  <a:gd name="T26" fmla="*/ 177 w 698"/>
                  <a:gd name="T27" fmla="*/ 763 h 856"/>
                  <a:gd name="T28" fmla="*/ 277 w 698"/>
                  <a:gd name="T29" fmla="*/ 785 h 856"/>
                  <a:gd name="T30" fmla="*/ 528 w 698"/>
                  <a:gd name="T31" fmla="*/ 619 h 856"/>
                  <a:gd name="T32" fmla="*/ 267 w 698"/>
                  <a:gd name="T33" fmla="*/ 435 h 856"/>
                  <a:gd name="T34" fmla="*/ 251 w 698"/>
                  <a:gd name="T35" fmla="*/ 435 h 856"/>
                  <a:gd name="T36" fmla="*/ 161 w 698"/>
                  <a:gd name="T37" fmla="*/ 435 h 856"/>
                  <a:gd name="T38" fmla="*/ 161 w 698"/>
                  <a:gd name="T39" fmla="*/ 712 h 856"/>
                  <a:gd name="T40" fmla="*/ 296 w 698"/>
                  <a:gd name="T41" fmla="*/ 374 h 856"/>
                  <a:gd name="T42" fmla="*/ 479 w 698"/>
                  <a:gd name="T43" fmla="*/ 222 h 856"/>
                  <a:gd name="T44" fmla="*/ 260 w 698"/>
                  <a:gd name="T45" fmla="*/ 65 h 856"/>
                  <a:gd name="T46" fmla="*/ 177 w 698"/>
                  <a:gd name="T47" fmla="*/ 70 h 856"/>
                  <a:gd name="T48" fmla="*/ 161 w 698"/>
                  <a:gd name="T49" fmla="*/ 72 h 856"/>
                  <a:gd name="T50" fmla="*/ 161 w 698"/>
                  <a:gd name="T51" fmla="*/ 374 h 856"/>
                  <a:gd name="T52" fmla="*/ 296 w 698"/>
                  <a:gd name="T53" fmla="*/ 37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8" h="856">
                    <a:moveTo>
                      <a:pt x="0" y="856"/>
                    </a:moveTo>
                    <a:lnTo>
                      <a:pt x="0" y="0"/>
                    </a:lnTo>
                    <a:lnTo>
                      <a:pt x="250" y="0"/>
                    </a:lnTo>
                    <a:cubicBezTo>
                      <a:pt x="342" y="0"/>
                      <a:pt x="457" y="5"/>
                      <a:pt x="537" y="45"/>
                    </a:cubicBezTo>
                    <a:cubicBezTo>
                      <a:pt x="605" y="80"/>
                      <a:pt x="641" y="132"/>
                      <a:pt x="641" y="197"/>
                    </a:cubicBezTo>
                    <a:cubicBezTo>
                      <a:pt x="641" y="289"/>
                      <a:pt x="562" y="352"/>
                      <a:pt x="488" y="379"/>
                    </a:cubicBezTo>
                    <a:cubicBezTo>
                      <a:pt x="468" y="386"/>
                      <a:pt x="454" y="391"/>
                      <a:pt x="443" y="394"/>
                    </a:cubicBezTo>
                    <a:cubicBezTo>
                      <a:pt x="459" y="399"/>
                      <a:pt x="481" y="406"/>
                      <a:pt x="501" y="414"/>
                    </a:cubicBezTo>
                    <a:cubicBezTo>
                      <a:pt x="673" y="480"/>
                      <a:pt x="698" y="578"/>
                      <a:pt x="698" y="630"/>
                    </a:cubicBezTo>
                    <a:cubicBezTo>
                      <a:pt x="698" y="740"/>
                      <a:pt x="612" y="795"/>
                      <a:pt x="541" y="822"/>
                    </a:cubicBezTo>
                    <a:cubicBezTo>
                      <a:pt x="471" y="845"/>
                      <a:pt x="381" y="856"/>
                      <a:pt x="250" y="856"/>
                    </a:cubicBezTo>
                    <a:lnTo>
                      <a:pt x="0" y="856"/>
                    </a:lnTo>
                    <a:close/>
                    <a:moveTo>
                      <a:pt x="161" y="712"/>
                    </a:moveTo>
                    <a:cubicBezTo>
                      <a:pt x="161" y="728"/>
                      <a:pt x="160" y="748"/>
                      <a:pt x="177" y="763"/>
                    </a:cubicBezTo>
                    <a:cubicBezTo>
                      <a:pt x="194" y="779"/>
                      <a:pt x="225" y="785"/>
                      <a:pt x="277" y="785"/>
                    </a:cubicBezTo>
                    <a:cubicBezTo>
                      <a:pt x="439" y="785"/>
                      <a:pt x="528" y="726"/>
                      <a:pt x="528" y="619"/>
                    </a:cubicBezTo>
                    <a:cubicBezTo>
                      <a:pt x="528" y="505"/>
                      <a:pt x="440" y="443"/>
                      <a:pt x="267" y="435"/>
                    </a:cubicBezTo>
                    <a:cubicBezTo>
                      <a:pt x="266" y="435"/>
                      <a:pt x="252" y="435"/>
                      <a:pt x="251" y="435"/>
                    </a:cubicBezTo>
                    <a:lnTo>
                      <a:pt x="161" y="435"/>
                    </a:lnTo>
                    <a:lnTo>
                      <a:pt x="161" y="712"/>
                    </a:lnTo>
                    <a:close/>
                    <a:moveTo>
                      <a:pt x="296" y="374"/>
                    </a:moveTo>
                    <a:cubicBezTo>
                      <a:pt x="425" y="374"/>
                      <a:pt x="479" y="265"/>
                      <a:pt x="479" y="222"/>
                    </a:cubicBezTo>
                    <a:cubicBezTo>
                      <a:pt x="479" y="122"/>
                      <a:pt x="399" y="65"/>
                      <a:pt x="260" y="65"/>
                    </a:cubicBezTo>
                    <a:cubicBezTo>
                      <a:pt x="228" y="65"/>
                      <a:pt x="209" y="67"/>
                      <a:pt x="177" y="70"/>
                    </a:cubicBezTo>
                    <a:lnTo>
                      <a:pt x="161" y="72"/>
                    </a:lnTo>
                    <a:lnTo>
                      <a:pt x="161" y="374"/>
                    </a:lnTo>
                    <a:lnTo>
                      <a:pt x="296" y="3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6">
                <a:extLst>
                  <a:ext uri="{FF2B5EF4-FFF2-40B4-BE49-F238E27FC236}">
                    <a16:creationId xmlns:a16="http://schemas.microsoft.com/office/drawing/2014/main" id="{122A07AC-2CFD-E538-2F27-207CBAAC35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5086" y="2632758"/>
                <a:ext cx="276414" cy="321921"/>
              </a:xfrm>
              <a:custGeom>
                <a:avLst/>
                <a:gdLst>
                  <a:gd name="T0" fmla="*/ 558 w 723"/>
                  <a:gd name="T1" fmla="*/ 0 h 839"/>
                  <a:gd name="T2" fmla="*/ 558 w 723"/>
                  <a:gd name="T3" fmla="*/ 364 h 839"/>
                  <a:gd name="T4" fmla="*/ 165 w 723"/>
                  <a:gd name="T5" fmla="*/ 364 h 839"/>
                  <a:gd name="T6" fmla="*/ 165 w 723"/>
                  <a:gd name="T7" fmla="*/ 0 h 839"/>
                  <a:gd name="T8" fmla="*/ 0 w 723"/>
                  <a:gd name="T9" fmla="*/ 0 h 839"/>
                  <a:gd name="T10" fmla="*/ 0 w 723"/>
                  <a:gd name="T11" fmla="*/ 839 h 839"/>
                  <a:gd name="T12" fmla="*/ 165 w 723"/>
                  <a:gd name="T13" fmla="*/ 839 h 839"/>
                  <a:gd name="T14" fmla="*/ 165 w 723"/>
                  <a:gd name="T15" fmla="*/ 480 h 839"/>
                  <a:gd name="T16" fmla="*/ 212 w 723"/>
                  <a:gd name="T17" fmla="*/ 442 h 839"/>
                  <a:gd name="T18" fmla="*/ 512 w 723"/>
                  <a:gd name="T19" fmla="*/ 442 h 839"/>
                  <a:gd name="T20" fmla="*/ 558 w 723"/>
                  <a:gd name="T21" fmla="*/ 480 h 839"/>
                  <a:gd name="T22" fmla="*/ 558 w 723"/>
                  <a:gd name="T23" fmla="*/ 839 h 839"/>
                  <a:gd name="T24" fmla="*/ 723 w 723"/>
                  <a:gd name="T25" fmla="*/ 839 h 839"/>
                  <a:gd name="T26" fmla="*/ 723 w 723"/>
                  <a:gd name="T27" fmla="*/ 0 h 839"/>
                  <a:gd name="T28" fmla="*/ 558 w 723"/>
                  <a:gd name="T29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23" h="839">
                    <a:moveTo>
                      <a:pt x="558" y="0"/>
                    </a:moveTo>
                    <a:lnTo>
                      <a:pt x="558" y="364"/>
                    </a:lnTo>
                    <a:lnTo>
                      <a:pt x="165" y="364"/>
                    </a:lnTo>
                    <a:lnTo>
                      <a:pt x="165" y="0"/>
                    </a:lnTo>
                    <a:lnTo>
                      <a:pt x="0" y="0"/>
                    </a:lnTo>
                    <a:lnTo>
                      <a:pt x="0" y="839"/>
                    </a:lnTo>
                    <a:lnTo>
                      <a:pt x="165" y="839"/>
                    </a:lnTo>
                    <a:lnTo>
                      <a:pt x="165" y="480"/>
                    </a:lnTo>
                    <a:cubicBezTo>
                      <a:pt x="165" y="454"/>
                      <a:pt x="189" y="442"/>
                      <a:pt x="212" y="442"/>
                    </a:cubicBezTo>
                    <a:lnTo>
                      <a:pt x="512" y="442"/>
                    </a:lnTo>
                    <a:cubicBezTo>
                      <a:pt x="535" y="442"/>
                      <a:pt x="558" y="454"/>
                      <a:pt x="558" y="480"/>
                    </a:cubicBezTo>
                    <a:lnTo>
                      <a:pt x="558" y="839"/>
                    </a:lnTo>
                    <a:lnTo>
                      <a:pt x="723" y="839"/>
                    </a:lnTo>
                    <a:lnTo>
                      <a:pt x="723" y="0"/>
                    </a:lnTo>
                    <a:lnTo>
                      <a:pt x="55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3" name="object 6">
            <a:extLst>
              <a:ext uri="{FF2B5EF4-FFF2-40B4-BE49-F238E27FC236}">
                <a16:creationId xmlns:a16="http://schemas.microsoft.com/office/drawing/2014/main" id="{117D7637-DEE6-C4BD-F3D0-6B9468CA12FC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864684" y="1891656"/>
            <a:ext cx="10074082" cy="4481006"/>
          </a:xfrm>
          <a:prstGeom prst="rect">
            <a:avLst/>
          </a:prstGeom>
        </p:spPr>
      </p:pic>
      <p:sp>
        <p:nvSpPr>
          <p:cNvPr id="14" name="object 7">
            <a:extLst>
              <a:ext uri="{FF2B5EF4-FFF2-40B4-BE49-F238E27FC236}">
                <a16:creationId xmlns:a16="http://schemas.microsoft.com/office/drawing/2014/main" id="{00F37AEF-7CAC-DF19-056E-7705CA3EAD16}"/>
              </a:ext>
            </a:extLst>
          </p:cNvPr>
          <p:cNvSpPr txBox="1"/>
          <p:nvPr userDrawn="1"/>
        </p:nvSpPr>
        <p:spPr>
          <a:xfrm>
            <a:off x="9540291" y="4491117"/>
            <a:ext cx="1673225" cy="6146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320"/>
              </a:lnSpc>
              <a:spcBef>
                <a:spcPts val="100"/>
              </a:spcBef>
            </a:pPr>
            <a:r>
              <a:rPr sz="2200" b="1" spc="-10">
                <a:solidFill>
                  <a:srgbClr val="FFFFFF"/>
                </a:solidFill>
                <a:latin typeface="Trebuchet MS"/>
                <a:cs typeface="Trebuchet MS"/>
              </a:rPr>
              <a:t>IMPROVING</a:t>
            </a:r>
            <a:endParaRPr sz="2200">
              <a:latin typeface="Trebuchet MS"/>
              <a:cs typeface="Trebuchet MS"/>
            </a:endParaRPr>
          </a:p>
          <a:p>
            <a:pPr marL="12700">
              <a:lnSpc>
                <a:spcPts val="2320"/>
              </a:lnSpc>
            </a:pPr>
            <a:r>
              <a:rPr sz="2200" b="1" spc="-40">
                <a:solidFill>
                  <a:srgbClr val="FFFFFF"/>
                </a:solidFill>
                <a:latin typeface="Trebuchet MS"/>
                <a:cs typeface="Trebuchet MS"/>
              </a:rPr>
              <a:t>LIVELIHOODS</a:t>
            </a:r>
            <a:endParaRPr sz="2200"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058600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39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6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71FD87-5928-0183-0336-DB49FAEA68AF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0376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36" userDrawn="1">
          <p15:clr>
            <a:srgbClr val="FBAE40"/>
          </p15:clr>
        </p15:guide>
        <p15:guide id="4" pos="1276" userDrawn="1">
          <p15:clr>
            <a:srgbClr val="FBAE40"/>
          </p15:clr>
        </p15:guide>
        <p15:guide id="5" pos="1389" userDrawn="1">
          <p15:clr>
            <a:srgbClr val="FBAE40"/>
          </p15:clr>
        </p15:guide>
        <p15:guide id="6" pos="2529" userDrawn="1">
          <p15:clr>
            <a:srgbClr val="FBAE40"/>
          </p15:clr>
        </p15:guide>
        <p15:guide id="7" pos="2643" userDrawn="1">
          <p15:clr>
            <a:srgbClr val="FBAE40"/>
          </p15:clr>
        </p15:guide>
        <p15:guide id="8" pos="3783" userDrawn="1">
          <p15:clr>
            <a:srgbClr val="FBAE40"/>
          </p15:clr>
        </p15:guide>
        <p15:guide id="9" pos="3896" userDrawn="1">
          <p15:clr>
            <a:srgbClr val="FBAE40"/>
          </p15:clr>
        </p15:guide>
        <p15:guide id="10" pos="5036" userDrawn="1">
          <p15:clr>
            <a:srgbClr val="FBAE40"/>
          </p15:clr>
        </p15:guide>
        <p15:guide id="11" pos="5150" userDrawn="1">
          <p15:clr>
            <a:srgbClr val="FBAE40"/>
          </p15:clr>
        </p15:guide>
        <p15:guide id="12" pos="6290" userDrawn="1">
          <p15:clr>
            <a:srgbClr val="FBAE40"/>
          </p15:clr>
        </p15:guide>
        <p15:guide id="13" pos="6403" userDrawn="1">
          <p15:clr>
            <a:srgbClr val="FBAE40"/>
          </p15:clr>
        </p15:guide>
        <p15:guide id="14" pos="7543" userDrawn="1">
          <p15:clr>
            <a:srgbClr val="FBAE40"/>
          </p15:clr>
        </p15:guide>
        <p15:guide id="15" orient="horz" userDrawn="1">
          <p15:clr>
            <a:srgbClr val="FBAE40"/>
          </p15:clr>
        </p15:guide>
        <p15:guide id="16" orient="horz" pos="4320" userDrawn="1">
          <p15:clr>
            <a:srgbClr val="FBAE40"/>
          </p15:clr>
        </p15:guide>
        <p15:guide id="17" orient="horz" pos="861" userDrawn="1">
          <p15:clr>
            <a:srgbClr val="FBAE40"/>
          </p15:clr>
        </p15:guide>
        <p15:guide id="18" orient="horz" pos="1286" userDrawn="1">
          <p15:clr>
            <a:srgbClr val="FBAE40"/>
          </p15:clr>
        </p15:guide>
        <p15:guide id="19" orient="horz" pos="1400" userDrawn="1">
          <p15:clr>
            <a:srgbClr val="FBAE40"/>
          </p15:clr>
        </p15:guide>
        <p15:guide id="20" orient="horz" pos="1825" userDrawn="1">
          <p15:clr>
            <a:srgbClr val="FBAE40"/>
          </p15:clr>
        </p15:guide>
        <p15:guide id="21" orient="horz" pos="1938" userDrawn="1">
          <p15:clr>
            <a:srgbClr val="FBAE40"/>
          </p15:clr>
        </p15:guide>
        <p15:guide id="22" orient="horz" pos="2364" userDrawn="1">
          <p15:clr>
            <a:srgbClr val="FBAE40"/>
          </p15:clr>
        </p15:guide>
        <p15:guide id="23" orient="horz" pos="2477" userDrawn="1">
          <p15:clr>
            <a:srgbClr val="FBAE40"/>
          </p15:clr>
        </p15:guide>
        <p15:guide id="24" orient="horz" pos="2902" userDrawn="1">
          <p15:clr>
            <a:srgbClr val="FBAE40"/>
          </p15:clr>
        </p15:guide>
        <p15:guide id="25" orient="horz" pos="3016" userDrawn="1">
          <p15:clr>
            <a:srgbClr val="FBAE40"/>
          </p15:clr>
        </p15:guide>
        <p15:guide id="26" orient="horz" pos="3441" userDrawn="1">
          <p15:clr>
            <a:srgbClr val="FBAE40"/>
          </p15:clr>
        </p15:guide>
        <p15:guide id="27" orient="horz" pos="3554" userDrawn="1">
          <p15:clr>
            <a:srgbClr val="FBAE40"/>
          </p15:clr>
        </p15:guide>
        <p15:guide id="28" orient="horz" pos="397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6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015ED8-311A-A03A-4FA2-E97FF065CB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defRPr sz="1600" b="1">
                <a:solidFill>
                  <a:schemeClr val="bg1"/>
                </a:solidFill>
              </a:defRPr>
            </a:lvl1pPr>
            <a:lvl2pPr marL="119063" indent="-1190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81EC5C-2838-EB20-E1BC-6174F396B4E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1000" y="1572314"/>
            <a:ext cx="3468688" cy="1694346"/>
          </a:xfrm>
          <a:custGeom>
            <a:avLst/>
            <a:gdLst>
              <a:gd name="connsiteX0" fmla="*/ 255999 w 3468688"/>
              <a:gd name="connsiteY0" fmla="*/ 0 h 1694346"/>
              <a:gd name="connsiteX1" fmla="*/ 3212689 w 3468688"/>
              <a:gd name="connsiteY1" fmla="*/ 0 h 1694346"/>
              <a:gd name="connsiteX2" fmla="*/ 3468688 w 3468688"/>
              <a:gd name="connsiteY2" fmla="*/ 255999 h 1694346"/>
              <a:gd name="connsiteX3" fmla="*/ 3468688 w 3468688"/>
              <a:gd name="connsiteY3" fmla="*/ 1438347 h 1694346"/>
              <a:gd name="connsiteX4" fmla="*/ 3212689 w 3468688"/>
              <a:gd name="connsiteY4" fmla="*/ 1694346 h 1694346"/>
              <a:gd name="connsiteX5" fmla="*/ 255999 w 3468688"/>
              <a:gd name="connsiteY5" fmla="*/ 1694346 h 1694346"/>
              <a:gd name="connsiteX6" fmla="*/ 0 w 3468688"/>
              <a:gd name="connsiteY6" fmla="*/ 1438347 h 1694346"/>
              <a:gd name="connsiteX7" fmla="*/ 0 w 3468688"/>
              <a:gd name="connsiteY7" fmla="*/ 255999 h 1694346"/>
              <a:gd name="connsiteX8" fmla="*/ 255999 w 3468688"/>
              <a:gd name="connsiteY8" fmla="*/ 0 h 169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8688" h="1694346">
                <a:moveTo>
                  <a:pt x="255999" y="0"/>
                </a:moveTo>
                <a:lnTo>
                  <a:pt x="3212689" y="0"/>
                </a:lnTo>
                <a:cubicBezTo>
                  <a:pt x="3354073" y="0"/>
                  <a:pt x="3468688" y="114615"/>
                  <a:pt x="3468688" y="255999"/>
                </a:cubicBezTo>
                <a:lnTo>
                  <a:pt x="3468688" y="1438347"/>
                </a:lnTo>
                <a:cubicBezTo>
                  <a:pt x="3468688" y="1579731"/>
                  <a:pt x="3354073" y="1694346"/>
                  <a:pt x="3212689" y="1694346"/>
                </a:cubicBezTo>
                <a:lnTo>
                  <a:pt x="255999" y="1694346"/>
                </a:lnTo>
                <a:cubicBezTo>
                  <a:pt x="114615" y="1694346"/>
                  <a:pt x="0" y="1579731"/>
                  <a:pt x="0" y="1438347"/>
                </a:cubicBezTo>
                <a:lnTo>
                  <a:pt x="0" y="255999"/>
                </a:lnTo>
                <a:cubicBezTo>
                  <a:pt x="0" y="114615"/>
                  <a:pt x="114615" y="0"/>
                  <a:pt x="2559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E73A00F-7D31-97E2-145A-AC11060174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95763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defRPr sz="1600" b="1">
                <a:solidFill>
                  <a:schemeClr val="bg1"/>
                </a:solidFill>
              </a:defRPr>
            </a:lvl1pPr>
            <a:lvl2pPr marL="119063" indent="-1190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0FF5D5E-A236-4921-CCAB-C49A362A091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60863" y="1572314"/>
            <a:ext cx="3468688" cy="1694346"/>
          </a:xfrm>
          <a:custGeom>
            <a:avLst/>
            <a:gdLst>
              <a:gd name="connsiteX0" fmla="*/ 255999 w 3468688"/>
              <a:gd name="connsiteY0" fmla="*/ 0 h 1694346"/>
              <a:gd name="connsiteX1" fmla="*/ 3212689 w 3468688"/>
              <a:gd name="connsiteY1" fmla="*/ 0 h 1694346"/>
              <a:gd name="connsiteX2" fmla="*/ 3468688 w 3468688"/>
              <a:gd name="connsiteY2" fmla="*/ 255999 h 1694346"/>
              <a:gd name="connsiteX3" fmla="*/ 3468688 w 3468688"/>
              <a:gd name="connsiteY3" fmla="*/ 1438347 h 1694346"/>
              <a:gd name="connsiteX4" fmla="*/ 3212689 w 3468688"/>
              <a:gd name="connsiteY4" fmla="*/ 1694346 h 1694346"/>
              <a:gd name="connsiteX5" fmla="*/ 255999 w 3468688"/>
              <a:gd name="connsiteY5" fmla="*/ 1694346 h 1694346"/>
              <a:gd name="connsiteX6" fmla="*/ 0 w 3468688"/>
              <a:gd name="connsiteY6" fmla="*/ 1438347 h 1694346"/>
              <a:gd name="connsiteX7" fmla="*/ 0 w 3468688"/>
              <a:gd name="connsiteY7" fmla="*/ 255999 h 1694346"/>
              <a:gd name="connsiteX8" fmla="*/ 255999 w 3468688"/>
              <a:gd name="connsiteY8" fmla="*/ 0 h 169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8688" h="1694346">
                <a:moveTo>
                  <a:pt x="255999" y="0"/>
                </a:moveTo>
                <a:lnTo>
                  <a:pt x="3212689" y="0"/>
                </a:lnTo>
                <a:cubicBezTo>
                  <a:pt x="3354073" y="0"/>
                  <a:pt x="3468688" y="114615"/>
                  <a:pt x="3468688" y="255999"/>
                </a:cubicBezTo>
                <a:lnTo>
                  <a:pt x="3468688" y="1438347"/>
                </a:lnTo>
                <a:cubicBezTo>
                  <a:pt x="3468688" y="1579731"/>
                  <a:pt x="3354073" y="1694346"/>
                  <a:pt x="3212689" y="1694346"/>
                </a:cubicBezTo>
                <a:lnTo>
                  <a:pt x="255999" y="1694346"/>
                </a:lnTo>
                <a:cubicBezTo>
                  <a:pt x="114615" y="1694346"/>
                  <a:pt x="0" y="1579731"/>
                  <a:pt x="0" y="1438347"/>
                </a:cubicBezTo>
                <a:lnTo>
                  <a:pt x="0" y="255999"/>
                </a:lnTo>
                <a:cubicBezTo>
                  <a:pt x="0" y="114615"/>
                  <a:pt x="114615" y="0"/>
                  <a:pt x="2559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0D5AAD32-BC76-60CC-2ED0-09A9166B31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75626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defRPr sz="1600" b="1">
                <a:solidFill>
                  <a:schemeClr val="bg1"/>
                </a:solidFill>
              </a:defRPr>
            </a:lvl1pPr>
            <a:lvl2pPr marL="119063" indent="-1190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245AF0F-03CD-E2D5-1F94-C11943403E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340726" y="1572314"/>
            <a:ext cx="3468688" cy="1694346"/>
          </a:xfrm>
          <a:custGeom>
            <a:avLst/>
            <a:gdLst>
              <a:gd name="connsiteX0" fmla="*/ 255999 w 3468688"/>
              <a:gd name="connsiteY0" fmla="*/ 0 h 1694346"/>
              <a:gd name="connsiteX1" fmla="*/ 3212689 w 3468688"/>
              <a:gd name="connsiteY1" fmla="*/ 0 h 1694346"/>
              <a:gd name="connsiteX2" fmla="*/ 3468688 w 3468688"/>
              <a:gd name="connsiteY2" fmla="*/ 255999 h 1694346"/>
              <a:gd name="connsiteX3" fmla="*/ 3468688 w 3468688"/>
              <a:gd name="connsiteY3" fmla="*/ 1438347 h 1694346"/>
              <a:gd name="connsiteX4" fmla="*/ 3212689 w 3468688"/>
              <a:gd name="connsiteY4" fmla="*/ 1694346 h 1694346"/>
              <a:gd name="connsiteX5" fmla="*/ 255999 w 3468688"/>
              <a:gd name="connsiteY5" fmla="*/ 1694346 h 1694346"/>
              <a:gd name="connsiteX6" fmla="*/ 0 w 3468688"/>
              <a:gd name="connsiteY6" fmla="*/ 1438347 h 1694346"/>
              <a:gd name="connsiteX7" fmla="*/ 0 w 3468688"/>
              <a:gd name="connsiteY7" fmla="*/ 255999 h 1694346"/>
              <a:gd name="connsiteX8" fmla="*/ 255999 w 3468688"/>
              <a:gd name="connsiteY8" fmla="*/ 0 h 169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8688" h="1694346">
                <a:moveTo>
                  <a:pt x="255999" y="0"/>
                </a:moveTo>
                <a:lnTo>
                  <a:pt x="3212689" y="0"/>
                </a:lnTo>
                <a:cubicBezTo>
                  <a:pt x="3354073" y="0"/>
                  <a:pt x="3468688" y="114615"/>
                  <a:pt x="3468688" y="255999"/>
                </a:cubicBezTo>
                <a:lnTo>
                  <a:pt x="3468688" y="1438347"/>
                </a:lnTo>
                <a:cubicBezTo>
                  <a:pt x="3468688" y="1579731"/>
                  <a:pt x="3354073" y="1694346"/>
                  <a:pt x="3212689" y="1694346"/>
                </a:cubicBezTo>
                <a:lnTo>
                  <a:pt x="255999" y="1694346"/>
                </a:lnTo>
                <a:cubicBezTo>
                  <a:pt x="114615" y="1694346"/>
                  <a:pt x="0" y="1579731"/>
                  <a:pt x="0" y="1438347"/>
                </a:cubicBezTo>
                <a:lnTo>
                  <a:pt x="0" y="255999"/>
                </a:lnTo>
                <a:cubicBezTo>
                  <a:pt x="0" y="114615"/>
                  <a:pt x="114615" y="0"/>
                  <a:pt x="2559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6185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36" userDrawn="1">
          <p15:clr>
            <a:srgbClr val="FBAE40"/>
          </p15:clr>
        </p15:guide>
        <p15:guide id="4" pos="1276" userDrawn="1">
          <p15:clr>
            <a:srgbClr val="FBAE40"/>
          </p15:clr>
        </p15:guide>
        <p15:guide id="5" pos="1389" userDrawn="1">
          <p15:clr>
            <a:srgbClr val="FBAE40"/>
          </p15:clr>
        </p15:guide>
        <p15:guide id="6" pos="2529" userDrawn="1">
          <p15:clr>
            <a:srgbClr val="FBAE40"/>
          </p15:clr>
        </p15:guide>
        <p15:guide id="7" pos="2643" userDrawn="1">
          <p15:clr>
            <a:srgbClr val="FBAE40"/>
          </p15:clr>
        </p15:guide>
        <p15:guide id="8" pos="3783" userDrawn="1">
          <p15:clr>
            <a:srgbClr val="FBAE40"/>
          </p15:clr>
        </p15:guide>
        <p15:guide id="9" pos="3896" userDrawn="1">
          <p15:clr>
            <a:srgbClr val="FBAE40"/>
          </p15:clr>
        </p15:guide>
        <p15:guide id="10" pos="5036" userDrawn="1">
          <p15:clr>
            <a:srgbClr val="FBAE40"/>
          </p15:clr>
        </p15:guide>
        <p15:guide id="11" pos="5150" userDrawn="1">
          <p15:clr>
            <a:srgbClr val="FBAE40"/>
          </p15:clr>
        </p15:guide>
        <p15:guide id="12" pos="6290" userDrawn="1">
          <p15:clr>
            <a:srgbClr val="FBAE40"/>
          </p15:clr>
        </p15:guide>
        <p15:guide id="13" pos="6403" userDrawn="1">
          <p15:clr>
            <a:srgbClr val="FBAE40"/>
          </p15:clr>
        </p15:guide>
        <p15:guide id="14" pos="7543" userDrawn="1">
          <p15:clr>
            <a:srgbClr val="FBAE40"/>
          </p15:clr>
        </p15:guide>
        <p15:guide id="15" orient="horz" userDrawn="1">
          <p15:clr>
            <a:srgbClr val="FBAE40"/>
          </p15:clr>
        </p15:guide>
        <p15:guide id="16" orient="horz" pos="4320" userDrawn="1">
          <p15:clr>
            <a:srgbClr val="FBAE40"/>
          </p15:clr>
        </p15:guide>
        <p15:guide id="17" orient="horz" pos="861" userDrawn="1">
          <p15:clr>
            <a:srgbClr val="FBAE40"/>
          </p15:clr>
        </p15:guide>
        <p15:guide id="18" orient="horz" pos="1286" userDrawn="1">
          <p15:clr>
            <a:srgbClr val="FBAE40"/>
          </p15:clr>
        </p15:guide>
        <p15:guide id="19" orient="horz" pos="1400" userDrawn="1">
          <p15:clr>
            <a:srgbClr val="FBAE40"/>
          </p15:clr>
        </p15:guide>
        <p15:guide id="20" orient="horz" pos="1825" userDrawn="1">
          <p15:clr>
            <a:srgbClr val="FBAE40"/>
          </p15:clr>
        </p15:guide>
        <p15:guide id="21" orient="horz" pos="1938" userDrawn="1">
          <p15:clr>
            <a:srgbClr val="FBAE40"/>
          </p15:clr>
        </p15:guide>
        <p15:guide id="22" orient="horz" pos="2352" userDrawn="1">
          <p15:clr>
            <a:srgbClr val="FBAE40"/>
          </p15:clr>
        </p15:guide>
        <p15:guide id="23" orient="horz" pos="2477" userDrawn="1">
          <p15:clr>
            <a:srgbClr val="FBAE40"/>
          </p15:clr>
        </p15:guide>
        <p15:guide id="24" orient="horz" pos="2902" userDrawn="1">
          <p15:clr>
            <a:srgbClr val="FBAE40"/>
          </p15:clr>
        </p15:guide>
        <p15:guide id="25" orient="horz" pos="3024" userDrawn="1">
          <p15:clr>
            <a:srgbClr val="FBAE40"/>
          </p15:clr>
        </p15:guide>
        <p15:guide id="26" orient="horz" pos="3441" userDrawn="1">
          <p15:clr>
            <a:srgbClr val="FBAE40"/>
          </p15:clr>
        </p15:guide>
        <p15:guide id="27" orient="horz" pos="3554" userDrawn="1">
          <p15:clr>
            <a:srgbClr val="FBAE40"/>
          </p15:clr>
        </p15:guide>
        <p15:guide id="28" orient="horz" pos="397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6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015ED8-311A-A03A-4FA2-E97FF065CB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defRPr sz="1600" b="1">
                <a:solidFill>
                  <a:schemeClr val="bg1"/>
                </a:solidFill>
              </a:defRPr>
            </a:lvl1pPr>
            <a:lvl2pPr marL="119063" indent="-1190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81EC5C-2838-EB20-E1BC-6174F396B4E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1000" y="1572314"/>
            <a:ext cx="3468688" cy="1694346"/>
          </a:xfrm>
          <a:custGeom>
            <a:avLst/>
            <a:gdLst>
              <a:gd name="connsiteX0" fmla="*/ 255999 w 3468688"/>
              <a:gd name="connsiteY0" fmla="*/ 0 h 1694346"/>
              <a:gd name="connsiteX1" fmla="*/ 3212689 w 3468688"/>
              <a:gd name="connsiteY1" fmla="*/ 0 h 1694346"/>
              <a:gd name="connsiteX2" fmla="*/ 3468688 w 3468688"/>
              <a:gd name="connsiteY2" fmla="*/ 255999 h 1694346"/>
              <a:gd name="connsiteX3" fmla="*/ 3468688 w 3468688"/>
              <a:gd name="connsiteY3" fmla="*/ 1438347 h 1694346"/>
              <a:gd name="connsiteX4" fmla="*/ 3212689 w 3468688"/>
              <a:gd name="connsiteY4" fmla="*/ 1694346 h 1694346"/>
              <a:gd name="connsiteX5" fmla="*/ 255999 w 3468688"/>
              <a:gd name="connsiteY5" fmla="*/ 1694346 h 1694346"/>
              <a:gd name="connsiteX6" fmla="*/ 0 w 3468688"/>
              <a:gd name="connsiteY6" fmla="*/ 1438347 h 1694346"/>
              <a:gd name="connsiteX7" fmla="*/ 0 w 3468688"/>
              <a:gd name="connsiteY7" fmla="*/ 255999 h 1694346"/>
              <a:gd name="connsiteX8" fmla="*/ 255999 w 3468688"/>
              <a:gd name="connsiteY8" fmla="*/ 0 h 169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8688" h="1694346">
                <a:moveTo>
                  <a:pt x="255999" y="0"/>
                </a:moveTo>
                <a:lnTo>
                  <a:pt x="3212689" y="0"/>
                </a:lnTo>
                <a:cubicBezTo>
                  <a:pt x="3354073" y="0"/>
                  <a:pt x="3468688" y="114615"/>
                  <a:pt x="3468688" y="255999"/>
                </a:cubicBezTo>
                <a:lnTo>
                  <a:pt x="3468688" y="1438347"/>
                </a:lnTo>
                <a:cubicBezTo>
                  <a:pt x="3468688" y="1579731"/>
                  <a:pt x="3354073" y="1694346"/>
                  <a:pt x="3212689" y="1694346"/>
                </a:cubicBezTo>
                <a:lnTo>
                  <a:pt x="255999" y="1694346"/>
                </a:lnTo>
                <a:cubicBezTo>
                  <a:pt x="114615" y="1694346"/>
                  <a:pt x="0" y="1579731"/>
                  <a:pt x="0" y="1438347"/>
                </a:cubicBezTo>
                <a:lnTo>
                  <a:pt x="0" y="255999"/>
                </a:lnTo>
                <a:cubicBezTo>
                  <a:pt x="0" y="114615"/>
                  <a:pt x="114615" y="0"/>
                  <a:pt x="2559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E73A00F-7D31-97E2-145A-AC11060174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95763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defRPr sz="1600" b="1">
                <a:solidFill>
                  <a:schemeClr val="bg1"/>
                </a:solidFill>
              </a:defRPr>
            </a:lvl1pPr>
            <a:lvl2pPr marL="119063" indent="-1190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0FF5D5E-A236-4921-CCAB-C49A362A091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60863" y="1572314"/>
            <a:ext cx="3468688" cy="1694346"/>
          </a:xfrm>
          <a:custGeom>
            <a:avLst/>
            <a:gdLst>
              <a:gd name="connsiteX0" fmla="*/ 255999 w 3468688"/>
              <a:gd name="connsiteY0" fmla="*/ 0 h 1694346"/>
              <a:gd name="connsiteX1" fmla="*/ 3212689 w 3468688"/>
              <a:gd name="connsiteY1" fmla="*/ 0 h 1694346"/>
              <a:gd name="connsiteX2" fmla="*/ 3468688 w 3468688"/>
              <a:gd name="connsiteY2" fmla="*/ 255999 h 1694346"/>
              <a:gd name="connsiteX3" fmla="*/ 3468688 w 3468688"/>
              <a:gd name="connsiteY3" fmla="*/ 1438347 h 1694346"/>
              <a:gd name="connsiteX4" fmla="*/ 3212689 w 3468688"/>
              <a:gd name="connsiteY4" fmla="*/ 1694346 h 1694346"/>
              <a:gd name="connsiteX5" fmla="*/ 255999 w 3468688"/>
              <a:gd name="connsiteY5" fmla="*/ 1694346 h 1694346"/>
              <a:gd name="connsiteX6" fmla="*/ 0 w 3468688"/>
              <a:gd name="connsiteY6" fmla="*/ 1438347 h 1694346"/>
              <a:gd name="connsiteX7" fmla="*/ 0 w 3468688"/>
              <a:gd name="connsiteY7" fmla="*/ 255999 h 1694346"/>
              <a:gd name="connsiteX8" fmla="*/ 255999 w 3468688"/>
              <a:gd name="connsiteY8" fmla="*/ 0 h 169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8688" h="1694346">
                <a:moveTo>
                  <a:pt x="255999" y="0"/>
                </a:moveTo>
                <a:lnTo>
                  <a:pt x="3212689" y="0"/>
                </a:lnTo>
                <a:cubicBezTo>
                  <a:pt x="3354073" y="0"/>
                  <a:pt x="3468688" y="114615"/>
                  <a:pt x="3468688" y="255999"/>
                </a:cubicBezTo>
                <a:lnTo>
                  <a:pt x="3468688" y="1438347"/>
                </a:lnTo>
                <a:cubicBezTo>
                  <a:pt x="3468688" y="1579731"/>
                  <a:pt x="3354073" y="1694346"/>
                  <a:pt x="3212689" y="1694346"/>
                </a:cubicBezTo>
                <a:lnTo>
                  <a:pt x="255999" y="1694346"/>
                </a:lnTo>
                <a:cubicBezTo>
                  <a:pt x="114615" y="1694346"/>
                  <a:pt x="0" y="1579731"/>
                  <a:pt x="0" y="1438347"/>
                </a:cubicBezTo>
                <a:lnTo>
                  <a:pt x="0" y="255999"/>
                </a:lnTo>
                <a:cubicBezTo>
                  <a:pt x="0" y="114615"/>
                  <a:pt x="114615" y="0"/>
                  <a:pt x="2559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0D5AAD32-BC76-60CC-2ED0-09A9166B31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75626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defRPr sz="1600" b="1">
                <a:solidFill>
                  <a:schemeClr val="bg1"/>
                </a:solidFill>
              </a:defRPr>
            </a:lvl1pPr>
            <a:lvl2pPr marL="119063" indent="-119063"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245AF0F-03CD-E2D5-1F94-C11943403E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340726" y="1572314"/>
            <a:ext cx="3468688" cy="1694346"/>
          </a:xfrm>
          <a:custGeom>
            <a:avLst/>
            <a:gdLst>
              <a:gd name="connsiteX0" fmla="*/ 255999 w 3468688"/>
              <a:gd name="connsiteY0" fmla="*/ 0 h 1694346"/>
              <a:gd name="connsiteX1" fmla="*/ 3212689 w 3468688"/>
              <a:gd name="connsiteY1" fmla="*/ 0 h 1694346"/>
              <a:gd name="connsiteX2" fmla="*/ 3468688 w 3468688"/>
              <a:gd name="connsiteY2" fmla="*/ 255999 h 1694346"/>
              <a:gd name="connsiteX3" fmla="*/ 3468688 w 3468688"/>
              <a:gd name="connsiteY3" fmla="*/ 1438347 h 1694346"/>
              <a:gd name="connsiteX4" fmla="*/ 3212689 w 3468688"/>
              <a:gd name="connsiteY4" fmla="*/ 1694346 h 1694346"/>
              <a:gd name="connsiteX5" fmla="*/ 255999 w 3468688"/>
              <a:gd name="connsiteY5" fmla="*/ 1694346 h 1694346"/>
              <a:gd name="connsiteX6" fmla="*/ 0 w 3468688"/>
              <a:gd name="connsiteY6" fmla="*/ 1438347 h 1694346"/>
              <a:gd name="connsiteX7" fmla="*/ 0 w 3468688"/>
              <a:gd name="connsiteY7" fmla="*/ 255999 h 1694346"/>
              <a:gd name="connsiteX8" fmla="*/ 255999 w 3468688"/>
              <a:gd name="connsiteY8" fmla="*/ 0 h 169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8688" h="1694346">
                <a:moveTo>
                  <a:pt x="255999" y="0"/>
                </a:moveTo>
                <a:lnTo>
                  <a:pt x="3212689" y="0"/>
                </a:lnTo>
                <a:cubicBezTo>
                  <a:pt x="3354073" y="0"/>
                  <a:pt x="3468688" y="114615"/>
                  <a:pt x="3468688" y="255999"/>
                </a:cubicBezTo>
                <a:lnTo>
                  <a:pt x="3468688" y="1438347"/>
                </a:lnTo>
                <a:cubicBezTo>
                  <a:pt x="3468688" y="1579731"/>
                  <a:pt x="3354073" y="1694346"/>
                  <a:pt x="3212689" y="1694346"/>
                </a:cubicBezTo>
                <a:lnTo>
                  <a:pt x="255999" y="1694346"/>
                </a:lnTo>
                <a:cubicBezTo>
                  <a:pt x="114615" y="1694346"/>
                  <a:pt x="0" y="1579731"/>
                  <a:pt x="0" y="1438347"/>
                </a:cubicBezTo>
                <a:lnTo>
                  <a:pt x="0" y="255999"/>
                </a:lnTo>
                <a:cubicBezTo>
                  <a:pt x="0" y="114615"/>
                  <a:pt x="114615" y="0"/>
                  <a:pt x="2559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5717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36" userDrawn="1">
          <p15:clr>
            <a:srgbClr val="FBAE40"/>
          </p15:clr>
        </p15:guide>
        <p15:guide id="4" pos="1276" userDrawn="1">
          <p15:clr>
            <a:srgbClr val="FBAE40"/>
          </p15:clr>
        </p15:guide>
        <p15:guide id="5" pos="1389" userDrawn="1">
          <p15:clr>
            <a:srgbClr val="FBAE40"/>
          </p15:clr>
        </p15:guide>
        <p15:guide id="6" pos="2529" userDrawn="1">
          <p15:clr>
            <a:srgbClr val="FBAE40"/>
          </p15:clr>
        </p15:guide>
        <p15:guide id="7" pos="2643" userDrawn="1">
          <p15:clr>
            <a:srgbClr val="FBAE40"/>
          </p15:clr>
        </p15:guide>
        <p15:guide id="8" pos="3783" userDrawn="1">
          <p15:clr>
            <a:srgbClr val="FBAE40"/>
          </p15:clr>
        </p15:guide>
        <p15:guide id="9" pos="3896" userDrawn="1">
          <p15:clr>
            <a:srgbClr val="FBAE40"/>
          </p15:clr>
        </p15:guide>
        <p15:guide id="10" pos="5036" userDrawn="1">
          <p15:clr>
            <a:srgbClr val="FBAE40"/>
          </p15:clr>
        </p15:guide>
        <p15:guide id="11" pos="5150" userDrawn="1">
          <p15:clr>
            <a:srgbClr val="FBAE40"/>
          </p15:clr>
        </p15:guide>
        <p15:guide id="12" pos="6290" userDrawn="1">
          <p15:clr>
            <a:srgbClr val="FBAE40"/>
          </p15:clr>
        </p15:guide>
        <p15:guide id="13" pos="6403" userDrawn="1">
          <p15:clr>
            <a:srgbClr val="FBAE40"/>
          </p15:clr>
        </p15:guide>
        <p15:guide id="14" pos="7543" userDrawn="1">
          <p15:clr>
            <a:srgbClr val="FBAE40"/>
          </p15:clr>
        </p15:guide>
        <p15:guide id="15" orient="horz" userDrawn="1">
          <p15:clr>
            <a:srgbClr val="FBAE40"/>
          </p15:clr>
        </p15:guide>
        <p15:guide id="16" orient="horz" pos="4320" userDrawn="1">
          <p15:clr>
            <a:srgbClr val="FBAE40"/>
          </p15:clr>
        </p15:guide>
        <p15:guide id="17" orient="horz" pos="861" userDrawn="1">
          <p15:clr>
            <a:srgbClr val="FBAE40"/>
          </p15:clr>
        </p15:guide>
        <p15:guide id="18" orient="horz" pos="1286" userDrawn="1">
          <p15:clr>
            <a:srgbClr val="FBAE40"/>
          </p15:clr>
        </p15:guide>
        <p15:guide id="19" orient="horz" pos="1400" userDrawn="1">
          <p15:clr>
            <a:srgbClr val="FBAE40"/>
          </p15:clr>
        </p15:guide>
        <p15:guide id="20" orient="horz" pos="1825" userDrawn="1">
          <p15:clr>
            <a:srgbClr val="FBAE40"/>
          </p15:clr>
        </p15:guide>
        <p15:guide id="21" orient="horz" pos="1938" userDrawn="1">
          <p15:clr>
            <a:srgbClr val="FBAE40"/>
          </p15:clr>
        </p15:guide>
        <p15:guide id="22" orient="horz" pos="2352" userDrawn="1">
          <p15:clr>
            <a:srgbClr val="FBAE40"/>
          </p15:clr>
        </p15:guide>
        <p15:guide id="23" orient="horz" pos="2477" userDrawn="1">
          <p15:clr>
            <a:srgbClr val="FBAE40"/>
          </p15:clr>
        </p15:guide>
        <p15:guide id="24" orient="horz" pos="2902" userDrawn="1">
          <p15:clr>
            <a:srgbClr val="FBAE40"/>
          </p15:clr>
        </p15:guide>
        <p15:guide id="25" orient="horz" pos="3024" userDrawn="1">
          <p15:clr>
            <a:srgbClr val="FBAE40"/>
          </p15:clr>
        </p15:guide>
        <p15:guide id="26" orient="horz" pos="3441" userDrawn="1">
          <p15:clr>
            <a:srgbClr val="FBAE40"/>
          </p15:clr>
        </p15:guide>
        <p15:guide id="27" orient="horz" pos="3554" userDrawn="1">
          <p15:clr>
            <a:srgbClr val="FBAE40"/>
          </p15:clr>
        </p15:guide>
        <p15:guide id="28" orient="horz" pos="397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6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015ED8-311A-A03A-4FA2-E97FF065CB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bg1"/>
                </a:solidFill>
              </a:defRPr>
            </a:lvl1pPr>
            <a:lvl2pPr marL="119063" indent="-119063">
              <a:lnSpc>
                <a:spcPct val="100000"/>
              </a:lnSpc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81EC5C-2838-EB20-E1BC-6174F396B4E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1000" y="1572314"/>
            <a:ext cx="3468688" cy="1694346"/>
          </a:xfrm>
          <a:custGeom>
            <a:avLst/>
            <a:gdLst>
              <a:gd name="connsiteX0" fmla="*/ 255999 w 3468688"/>
              <a:gd name="connsiteY0" fmla="*/ 0 h 1694346"/>
              <a:gd name="connsiteX1" fmla="*/ 3212689 w 3468688"/>
              <a:gd name="connsiteY1" fmla="*/ 0 h 1694346"/>
              <a:gd name="connsiteX2" fmla="*/ 3468688 w 3468688"/>
              <a:gd name="connsiteY2" fmla="*/ 255999 h 1694346"/>
              <a:gd name="connsiteX3" fmla="*/ 3468688 w 3468688"/>
              <a:gd name="connsiteY3" fmla="*/ 1438347 h 1694346"/>
              <a:gd name="connsiteX4" fmla="*/ 3212689 w 3468688"/>
              <a:gd name="connsiteY4" fmla="*/ 1694346 h 1694346"/>
              <a:gd name="connsiteX5" fmla="*/ 255999 w 3468688"/>
              <a:gd name="connsiteY5" fmla="*/ 1694346 h 1694346"/>
              <a:gd name="connsiteX6" fmla="*/ 0 w 3468688"/>
              <a:gd name="connsiteY6" fmla="*/ 1438347 h 1694346"/>
              <a:gd name="connsiteX7" fmla="*/ 0 w 3468688"/>
              <a:gd name="connsiteY7" fmla="*/ 255999 h 1694346"/>
              <a:gd name="connsiteX8" fmla="*/ 255999 w 3468688"/>
              <a:gd name="connsiteY8" fmla="*/ 0 h 169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8688" h="1694346">
                <a:moveTo>
                  <a:pt x="255999" y="0"/>
                </a:moveTo>
                <a:lnTo>
                  <a:pt x="3212689" y="0"/>
                </a:lnTo>
                <a:cubicBezTo>
                  <a:pt x="3354073" y="0"/>
                  <a:pt x="3468688" y="114615"/>
                  <a:pt x="3468688" y="255999"/>
                </a:cubicBezTo>
                <a:lnTo>
                  <a:pt x="3468688" y="1438347"/>
                </a:lnTo>
                <a:cubicBezTo>
                  <a:pt x="3468688" y="1579731"/>
                  <a:pt x="3354073" y="1694346"/>
                  <a:pt x="3212689" y="1694346"/>
                </a:cubicBezTo>
                <a:lnTo>
                  <a:pt x="255999" y="1694346"/>
                </a:lnTo>
                <a:cubicBezTo>
                  <a:pt x="114615" y="1694346"/>
                  <a:pt x="0" y="1579731"/>
                  <a:pt x="0" y="1438347"/>
                </a:cubicBezTo>
                <a:lnTo>
                  <a:pt x="0" y="255999"/>
                </a:lnTo>
                <a:cubicBezTo>
                  <a:pt x="0" y="114615"/>
                  <a:pt x="114615" y="0"/>
                  <a:pt x="2559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E73A00F-7D31-97E2-145A-AC11060174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95763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bg1"/>
                </a:solidFill>
              </a:defRPr>
            </a:lvl1pPr>
            <a:lvl2pPr marL="119063" indent="-119063">
              <a:lnSpc>
                <a:spcPct val="100000"/>
              </a:lnSpc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0FF5D5E-A236-4921-CCAB-C49A362A091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60863" y="1572314"/>
            <a:ext cx="3468688" cy="1694346"/>
          </a:xfrm>
          <a:custGeom>
            <a:avLst/>
            <a:gdLst>
              <a:gd name="connsiteX0" fmla="*/ 255999 w 3468688"/>
              <a:gd name="connsiteY0" fmla="*/ 0 h 1694346"/>
              <a:gd name="connsiteX1" fmla="*/ 3212689 w 3468688"/>
              <a:gd name="connsiteY1" fmla="*/ 0 h 1694346"/>
              <a:gd name="connsiteX2" fmla="*/ 3468688 w 3468688"/>
              <a:gd name="connsiteY2" fmla="*/ 255999 h 1694346"/>
              <a:gd name="connsiteX3" fmla="*/ 3468688 w 3468688"/>
              <a:gd name="connsiteY3" fmla="*/ 1438347 h 1694346"/>
              <a:gd name="connsiteX4" fmla="*/ 3212689 w 3468688"/>
              <a:gd name="connsiteY4" fmla="*/ 1694346 h 1694346"/>
              <a:gd name="connsiteX5" fmla="*/ 255999 w 3468688"/>
              <a:gd name="connsiteY5" fmla="*/ 1694346 h 1694346"/>
              <a:gd name="connsiteX6" fmla="*/ 0 w 3468688"/>
              <a:gd name="connsiteY6" fmla="*/ 1438347 h 1694346"/>
              <a:gd name="connsiteX7" fmla="*/ 0 w 3468688"/>
              <a:gd name="connsiteY7" fmla="*/ 255999 h 1694346"/>
              <a:gd name="connsiteX8" fmla="*/ 255999 w 3468688"/>
              <a:gd name="connsiteY8" fmla="*/ 0 h 169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8688" h="1694346">
                <a:moveTo>
                  <a:pt x="255999" y="0"/>
                </a:moveTo>
                <a:lnTo>
                  <a:pt x="3212689" y="0"/>
                </a:lnTo>
                <a:cubicBezTo>
                  <a:pt x="3354073" y="0"/>
                  <a:pt x="3468688" y="114615"/>
                  <a:pt x="3468688" y="255999"/>
                </a:cubicBezTo>
                <a:lnTo>
                  <a:pt x="3468688" y="1438347"/>
                </a:lnTo>
                <a:cubicBezTo>
                  <a:pt x="3468688" y="1579731"/>
                  <a:pt x="3354073" y="1694346"/>
                  <a:pt x="3212689" y="1694346"/>
                </a:cubicBezTo>
                <a:lnTo>
                  <a:pt x="255999" y="1694346"/>
                </a:lnTo>
                <a:cubicBezTo>
                  <a:pt x="114615" y="1694346"/>
                  <a:pt x="0" y="1579731"/>
                  <a:pt x="0" y="1438347"/>
                </a:cubicBezTo>
                <a:lnTo>
                  <a:pt x="0" y="255999"/>
                </a:lnTo>
                <a:cubicBezTo>
                  <a:pt x="0" y="114615"/>
                  <a:pt x="114615" y="0"/>
                  <a:pt x="2559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0D5AAD32-BC76-60CC-2ED0-09A9166B31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75626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bg1"/>
                </a:solidFill>
              </a:defRPr>
            </a:lvl1pPr>
            <a:lvl2pPr marL="119063" indent="-119063">
              <a:lnSpc>
                <a:spcPct val="100000"/>
              </a:lnSpc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245AF0F-03CD-E2D5-1F94-C11943403E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340726" y="1572314"/>
            <a:ext cx="3468688" cy="1694346"/>
          </a:xfrm>
          <a:custGeom>
            <a:avLst/>
            <a:gdLst>
              <a:gd name="connsiteX0" fmla="*/ 255999 w 3468688"/>
              <a:gd name="connsiteY0" fmla="*/ 0 h 1694346"/>
              <a:gd name="connsiteX1" fmla="*/ 3212689 w 3468688"/>
              <a:gd name="connsiteY1" fmla="*/ 0 h 1694346"/>
              <a:gd name="connsiteX2" fmla="*/ 3468688 w 3468688"/>
              <a:gd name="connsiteY2" fmla="*/ 255999 h 1694346"/>
              <a:gd name="connsiteX3" fmla="*/ 3468688 w 3468688"/>
              <a:gd name="connsiteY3" fmla="*/ 1438347 h 1694346"/>
              <a:gd name="connsiteX4" fmla="*/ 3212689 w 3468688"/>
              <a:gd name="connsiteY4" fmla="*/ 1694346 h 1694346"/>
              <a:gd name="connsiteX5" fmla="*/ 255999 w 3468688"/>
              <a:gd name="connsiteY5" fmla="*/ 1694346 h 1694346"/>
              <a:gd name="connsiteX6" fmla="*/ 0 w 3468688"/>
              <a:gd name="connsiteY6" fmla="*/ 1438347 h 1694346"/>
              <a:gd name="connsiteX7" fmla="*/ 0 w 3468688"/>
              <a:gd name="connsiteY7" fmla="*/ 255999 h 1694346"/>
              <a:gd name="connsiteX8" fmla="*/ 255999 w 3468688"/>
              <a:gd name="connsiteY8" fmla="*/ 0 h 169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8688" h="1694346">
                <a:moveTo>
                  <a:pt x="255999" y="0"/>
                </a:moveTo>
                <a:lnTo>
                  <a:pt x="3212689" y="0"/>
                </a:lnTo>
                <a:cubicBezTo>
                  <a:pt x="3354073" y="0"/>
                  <a:pt x="3468688" y="114615"/>
                  <a:pt x="3468688" y="255999"/>
                </a:cubicBezTo>
                <a:lnTo>
                  <a:pt x="3468688" y="1438347"/>
                </a:lnTo>
                <a:cubicBezTo>
                  <a:pt x="3468688" y="1579731"/>
                  <a:pt x="3354073" y="1694346"/>
                  <a:pt x="3212689" y="1694346"/>
                </a:cubicBezTo>
                <a:lnTo>
                  <a:pt x="255999" y="1694346"/>
                </a:lnTo>
                <a:cubicBezTo>
                  <a:pt x="114615" y="1694346"/>
                  <a:pt x="0" y="1579731"/>
                  <a:pt x="0" y="1438347"/>
                </a:cubicBezTo>
                <a:lnTo>
                  <a:pt x="0" y="255999"/>
                </a:lnTo>
                <a:cubicBezTo>
                  <a:pt x="0" y="114615"/>
                  <a:pt x="114615" y="0"/>
                  <a:pt x="2559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7038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276">
          <p15:clr>
            <a:srgbClr val="FBAE40"/>
          </p15:clr>
        </p15:guide>
        <p15:guide id="5" pos="1389">
          <p15:clr>
            <a:srgbClr val="FBAE40"/>
          </p15:clr>
        </p15:guide>
        <p15:guide id="6" pos="2529">
          <p15:clr>
            <a:srgbClr val="FBAE40"/>
          </p15:clr>
        </p15:guide>
        <p15:guide id="7" pos="2643">
          <p15:clr>
            <a:srgbClr val="FBAE40"/>
          </p15:clr>
        </p15:guide>
        <p15:guide id="8" pos="3783">
          <p15:clr>
            <a:srgbClr val="FBAE40"/>
          </p15:clr>
        </p15:guide>
        <p15:guide id="9" pos="3896">
          <p15:clr>
            <a:srgbClr val="FBAE40"/>
          </p15:clr>
        </p15:guide>
        <p15:guide id="10" pos="5036">
          <p15:clr>
            <a:srgbClr val="FBAE40"/>
          </p15:clr>
        </p15:guide>
        <p15:guide id="11" pos="5150">
          <p15:clr>
            <a:srgbClr val="FBAE40"/>
          </p15:clr>
        </p15:guide>
        <p15:guide id="12" pos="6290">
          <p15:clr>
            <a:srgbClr val="FBAE40"/>
          </p15:clr>
        </p15:guide>
        <p15:guide id="13" pos="6403">
          <p15:clr>
            <a:srgbClr val="FBAE40"/>
          </p15:clr>
        </p15:guide>
        <p15:guide id="14" pos="7543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861">
          <p15:clr>
            <a:srgbClr val="FBAE40"/>
          </p15:clr>
        </p15:guide>
        <p15:guide id="18" orient="horz" pos="1286">
          <p15:clr>
            <a:srgbClr val="FBAE40"/>
          </p15:clr>
        </p15:guide>
        <p15:guide id="19" orient="horz" pos="1400">
          <p15:clr>
            <a:srgbClr val="FBAE40"/>
          </p15:clr>
        </p15:guide>
        <p15:guide id="20" orient="horz" pos="1825">
          <p15:clr>
            <a:srgbClr val="FBAE40"/>
          </p15:clr>
        </p15:guide>
        <p15:guide id="21" orient="horz" pos="1938">
          <p15:clr>
            <a:srgbClr val="FBAE40"/>
          </p15:clr>
        </p15:guide>
        <p15:guide id="22" orient="horz" pos="2352">
          <p15:clr>
            <a:srgbClr val="FBAE40"/>
          </p15:clr>
        </p15:guide>
        <p15:guide id="23" orient="horz" pos="2477">
          <p15:clr>
            <a:srgbClr val="FBAE40"/>
          </p15:clr>
        </p15:guide>
        <p15:guide id="24" orient="horz" pos="2902">
          <p15:clr>
            <a:srgbClr val="FBAE40"/>
          </p15:clr>
        </p15:guide>
        <p15:guide id="25" orient="horz" pos="3024">
          <p15:clr>
            <a:srgbClr val="FBAE40"/>
          </p15:clr>
        </p15:guide>
        <p15:guide id="26" orient="horz" pos="3441">
          <p15:clr>
            <a:srgbClr val="FBAE40"/>
          </p15:clr>
        </p15:guide>
        <p15:guide id="27" orient="horz" pos="3554">
          <p15:clr>
            <a:srgbClr val="FBAE40"/>
          </p15:clr>
        </p15:guide>
        <p15:guide id="28" orient="horz" pos="397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6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015ED8-311A-A03A-4FA2-E97FF065CB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bg1"/>
                </a:solidFill>
              </a:defRPr>
            </a:lvl1pPr>
            <a:lvl2pPr marL="119063" indent="-119063">
              <a:lnSpc>
                <a:spcPct val="100000"/>
              </a:lnSpc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981EC5C-2838-EB20-E1BC-6174F396B4E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1000" y="1572314"/>
            <a:ext cx="3468688" cy="1694346"/>
          </a:xfrm>
          <a:custGeom>
            <a:avLst/>
            <a:gdLst>
              <a:gd name="connsiteX0" fmla="*/ 255999 w 3468688"/>
              <a:gd name="connsiteY0" fmla="*/ 0 h 1694346"/>
              <a:gd name="connsiteX1" fmla="*/ 3212689 w 3468688"/>
              <a:gd name="connsiteY1" fmla="*/ 0 h 1694346"/>
              <a:gd name="connsiteX2" fmla="*/ 3468688 w 3468688"/>
              <a:gd name="connsiteY2" fmla="*/ 255999 h 1694346"/>
              <a:gd name="connsiteX3" fmla="*/ 3468688 w 3468688"/>
              <a:gd name="connsiteY3" fmla="*/ 1438347 h 1694346"/>
              <a:gd name="connsiteX4" fmla="*/ 3212689 w 3468688"/>
              <a:gd name="connsiteY4" fmla="*/ 1694346 h 1694346"/>
              <a:gd name="connsiteX5" fmla="*/ 255999 w 3468688"/>
              <a:gd name="connsiteY5" fmla="*/ 1694346 h 1694346"/>
              <a:gd name="connsiteX6" fmla="*/ 0 w 3468688"/>
              <a:gd name="connsiteY6" fmla="*/ 1438347 h 1694346"/>
              <a:gd name="connsiteX7" fmla="*/ 0 w 3468688"/>
              <a:gd name="connsiteY7" fmla="*/ 255999 h 1694346"/>
              <a:gd name="connsiteX8" fmla="*/ 255999 w 3468688"/>
              <a:gd name="connsiteY8" fmla="*/ 0 h 169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8688" h="1694346">
                <a:moveTo>
                  <a:pt x="255999" y="0"/>
                </a:moveTo>
                <a:lnTo>
                  <a:pt x="3212689" y="0"/>
                </a:lnTo>
                <a:cubicBezTo>
                  <a:pt x="3354073" y="0"/>
                  <a:pt x="3468688" y="114615"/>
                  <a:pt x="3468688" y="255999"/>
                </a:cubicBezTo>
                <a:lnTo>
                  <a:pt x="3468688" y="1438347"/>
                </a:lnTo>
                <a:cubicBezTo>
                  <a:pt x="3468688" y="1579731"/>
                  <a:pt x="3354073" y="1694346"/>
                  <a:pt x="3212689" y="1694346"/>
                </a:cubicBezTo>
                <a:lnTo>
                  <a:pt x="255999" y="1694346"/>
                </a:lnTo>
                <a:cubicBezTo>
                  <a:pt x="114615" y="1694346"/>
                  <a:pt x="0" y="1579731"/>
                  <a:pt x="0" y="1438347"/>
                </a:cubicBezTo>
                <a:lnTo>
                  <a:pt x="0" y="255999"/>
                </a:lnTo>
                <a:cubicBezTo>
                  <a:pt x="0" y="114615"/>
                  <a:pt x="114615" y="0"/>
                  <a:pt x="2559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E73A00F-7D31-97E2-145A-AC11060174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95763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bg1"/>
                </a:solidFill>
              </a:defRPr>
            </a:lvl1pPr>
            <a:lvl2pPr marL="119063" indent="-119063">
              <a:lnSpc>
                <a:spcPct val="100000"/>
              </a:lnSpc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0FF5D5E-A236-4921-CCAB-C49A362A091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60863" y="1572314"/>
            <a:ext cx="3468688" cy="1694346"/>
          </a:xfrm>
          <a:custGeom>
            <a:avLst/>
            <a:gdLst>
              <a:gd name="connsiteX0" fmla="*/ 255999 w 3468688"/>
              <a:gd name="connsiteY0" fmla="*/ 0 h 1694346"/>
              <a:gd name="connsiteX1" fmla="*/ 3212689 w 3468688"/>
              <a:gd name="connsiteY1" fmla="*/ 0 h 1694346"/>
              <a:gd name="connsiteX2" fmla="*/ 3468688 w 3468688"/>
              <a:gd name="connsiteY2" fmla="*/ 255999 h 1694346"/>
              <a:gd name="connsiteX3" fmla="*/ 3468688 w 3468688"/>
              <a:gd name="connsiteY3" fmla="*/ 1438347 h 1694346"/>
              <a:gd name="connsiteX4" fmla="*/ 3212689 w 3468688"/>
              <a:gd name="connsiteY4" fmla="*/ 1694346 h 1694346"/>
              <a:gd name="connsiteX5" fmla="*/ 255999 w 3468688"/>
              <a:gd name="connsiteY5" fmla="*/ 1694346 h 1694346"/>
              <a:gd name="connsiteX6" fmla="*/ 0 w 3468688"/>
              <a:gd name="connsiteY6" fmla="*/ 1438347 h 1694346"/>
              <a:gd name="connsiteX7" fmla="*/ 0 w 3468688"/>
              <a:gd name="connsiteY7" fmla="*/ 255999 h 1694346"/>
              <a:gd name="connsiteX8" fmla="*/ 255999 w 3468688"/>
              <a:gd name="connsiteY8" fmla="*/ 0 h 169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8688" h="1694346">
                <a:moveTo>
                  <a:pt x="255999" y="0"/>
                </a:moveTo>
                <a:lnTo>
                  <a:pt x="3212689" y="0"/>
                </a:lnTo>
                <a:cubicBezTo>
                  <a:pt x="3354073" y="0"/>
                  <a:pt x="3468688" y="114615"/>
                  <a:pt x="3468688" y="255999"/>
                </a:cubicBezTo>
                <a:lnTo>
                  <a:pt x="3468688" y="1438347"/>
                </a:lnTo>
                <a:cubicBezTo>
                  <a:pt x="3468688" y="1579731"/>
                  <a:pt x="3354073" y="1694346"/>
                  <a:pt x="3212689" y="1694346"/>
                </a:cubicBezTo>
                <a:lnTo>
                  <a:pt x="255999" y="1694346"/>
                </a:lnTo>
                <a:cubicBezTo>
                  <a:pt x="114615" y="1694346"/>
                  <a:pt x="0" y="1579731"/>
                  <a:pt x="0" y="1438347"/>
                </a:cubicBezTo>
                <a:lnTo>
                  <a:pt x="0" y="255999"/>
                </a:lnTo>
                <a:cubicBezTo>
                  <a:pt x="0" y="114615"/>
                  <a:pt x="114615" y="0"/>
                  <a:pt x="2559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0D5AAD32-BC76-60CC-2ED0-09A9166B31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75626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bg1"/>
                </a:solidFill>
              </a:defRPr>
            </a:lvl1pPr>
            <a:lvl2pPr marL="119063" indent="-119063">
              <a:lnSpc>
                <a:spcPct val="100000"/>
              </a:lnSpc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245AF0F-03CD-E2D5-1F94-C11943403EB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340726" y="1572314"/>
            <a:ext cx="3468688" cy="1694346"/>
          </a:xfrm>
          <a:custGeom>
            <a:avLst/>
            <a:gdLst>
              <a:gd name="connsiteX0" fmla="*/ 255999 w 3468688"/>
              <a:gd name="connsiteY0" fmla="*/ 0 h 1694346"/>
              <a:gd name="connsiteX1" fmla="*/ 3212689 w 3468688"/>
              <a:gd name="connsiteY1" fmla="*/ 0 h 1694346"/>
              <a:gd name="connsiteX2" fmla="*/ 3468688 w 3468688"/>
              <a:gd name="connsiteY2" fmla="*/ 255999 h 1694346"/>
              <a:gd name="connsiteX3" fmla="*/ 3468688 w 3468688"/>
              <a:gd name="connsiteY3" fmla="*/ 1438347 h 1694346"/>
              <a:gd name="connsiteX4" fmla="*/ 3212689 w 3468688"/>
              <a:gd name="connsiteY4" fmla="*/ 1694346 h 1694346"/>
              <a:gd name="connsiteX5" fmla="*/ 255999 w 3468688"/>
              <a:gd name="connsiteY5" fmla="*/ 1694346 h 1694346"/>
              <a:gd name="connsiteX6" fmla="*/ 0 w 3468688"/>
              <a:gd name="connsiteY6" fmla="*/ 1438347 h 1694346"/>
              <a:gd name="connsiteX7" fmla="*/ 0 w 3468688"/>
              <a:gd name="connsiteY7" fmla="*/ 255999 h 1694346"/>
              <a:gd name="connsiteX8" fmla="*/ 255999 w 3468688"/>
              <a:gd name="connsiteY8" fmla="*/ 0 h 1694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8688" h="1694346">
                <a:moveTo>
                  <a:pt x="255999" y="0"/>
                </a:moveTo>
                <a:lnTo>
                  <a:pt x="3212689" y="0"/>
                </a:lnTo>
                <a:cubicBezTo>
                  <a:pt x="3354073" y="0"/>
                  <a:pt x="3468688" y="114615"/>
                  <a:pt x="3468688" y="255999"/>
                </a:cubicBezTo>
                <a:lnTo>
                  <a:pt x="3468688" y="1438347"/>
                </a:lnTo>
                <a:cubicBezTo>
                  <a:pt x="3468688" y="1579731"/>
                  <a:pt x="3354073" y="1694346"/>
                  <a:pt x="3212689" y="1694346"/>
                </a:cubicBezTo>
                <a:lnTo>
                  <a:pt x="255999" y="1694346"/>
                </a:lnTo>
                <a:cubicBezTo>
                  <a:pt x="114615" y="1694346"/>
                  <a:pt x="0" y="1579731"/>
                  <a:pt x="0" y="1438347"/>
                </a:cubicBezTo>
                <a:lnTo>
                  <a:pt x="0" y="255999"/>
                </a:lnTo>
                <a:cubicBezTo>
                  <a:pt x="0" y="114615"/>
                  <a:pt x="114615" y="0"/>
                  <a:pt x="25599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5871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276">
          <p15:clr>
            <a:srgbClr val="FBAE40"/>
          </p15:clr>
        </p15:guide>
        <p15:guide id="5" pos="1389">
          <p15:clr>
            <a:srgbClr val="FBAE40"/>
          </p15:clr>
        </p15:guide>
        <p15:guide id="6" pos="2529">
          <p15:clr>
            <a:srgbClr val="FBAE40"/>
          </p15:clr>
        </p15:guide>
        <p15:guide id="7" pos="2643">
          <p15:clr>
            <a:srgbClr val="FBAE40"/>
          </p15:clr>
        </p15:guide>
        <p15:guide id="8" pos="3783">
          <p15:clr>
            <a:srgbClr val="FBAE40"/>
          </p15:clr>
        </p15:guide>
        <p15:guide id="9" pos="3896">
          <p15:clr>
            <a:srgbClr val="FBAE40"/>
          </p15:clr>
        </p15:guide>
        <p15:guide id="10" pos="5036">
          <p15:clr>
            <a:srgbClr val="FBAE40"/>
          </p15:clr>
        </p15:guide>
        <p15:guide id="11" pos="5150">
          <p15:clr>
            <a:srgbClr val="FBAE40"/>
          </p15:clr>
        </p15:guide>
        <p15:guide id="12" pos="6290">
          <p15:clr>
            <a:srgbClr val="FBAE40"/>
          </p15:clr>
        </p15:guide>
        <p15:guide id="13" pos="6403">
          <p15:clr>
            <a:srgbClr val="FBAE40"/>
          </p15:clr>
        </p15:guide>
        <p15:guide id="14" pos="7543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861">
          <p15:clr>
            <a:srgbClr val="FBAE40"/>
          </p15:clr>
        </p15:guide>
        <p15:guide id="18" orient="horz" pos="1286">
          <p15:clr>
            <a:srgbClr val="FBAE40"/>
          </p15:clr>
        </p15:guide>
        <p15:guide id="19" orient="horz" pos="1400">
          <p15:clr>
            <a:srgbClr val="FBAE40"/>
          </p15:clr>
        </p15:guide>
        <p15:guide id="20" orient="horz" pos="1825">
          <p15:clr>
            <a:srgbClr val="FBAE40"/>
          </p15:clr>
        </p15:guide>
        <p15:guide id="21" orient="horz" pos="1938">
          <p15:clr>
            <a:srgbClr val="FBAE40"/>
          </p15:clr>
        </p15:guide>
        <p15:guide id="22" orient="horz" pos="2352">
          <p15:clr>
            <a:srgbClr val="FBAE40"/>
          </p15:clr>
        </p15:guide>
        <p15:guide id="23" orient="horz" pos="2477">
          <p15:clr>
            <a:srgbClr val="FBAE40"/>
          </p15:clr>
        </p15:guide>
        <p15:guide id="24" orient="horz" pos="2902">
          <p15:clr>
            <a:srgbClr val="FBAE40"/>
          </p15:clr>
        </p15:guide>
        <p15:guide id="25" orient="horz" pos="3024">
          <p15:clr>
            <a:srgbClr val="FBAE40"/>
          </p15:clr>
        </p15:guide>
        <p15:guide id="26" orient="horz" pos="3441">
          <p15:clr>
            <a:srgbClr val="FBAE40"/>
          </p15:clr>
        </p15:guide>
        <p15:guide id="27" orient="horz" pos="3554">
          <p15:clr>
            <a:srgbClr val="FBAE40"/>
          </p15:clr>
        </p15:guide>
        <p15:guide id="28" orient="horz" pos="397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6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015ED8-311A-A03A-4FA2-E97FF065CB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rgbClr val="CAB9A7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tx2"/>
                </a:solidFill>
              </a:defRPr>
            </a:lvl1pPr>
            <a:lvl2pPr marL="119063" indent="-119063">
              <a:lnSpc>
                <a:spcPct val="100000"/>
              </a:lnSpc>
              <a:buClr>
                <a:schemeClr val="tx1"/>
              </a:buClr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Clr>
                <a:schemeClr val="tx1"/>
              </a:buCl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E73A00F-7D31-97E2-145A-AC11060174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95763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rgbClr val="CAB9A7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tx2"/>
                </a:solidFill>
              </a:defRPr>
            </a:lvl1pPr>
            <a:lvl2pPr marL="119063" indent="-119063">
              <a:lnSpc>
                <a:spcPct val="100000"/>
              </a:lnSpc>
              <a:buClr>
                <a:schemeClr val="tx1"/>
              </a:buClr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Clr>
                <a:schemeClr val="tx1"/>
              </a:buCl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0D5AAD32-BC76-60CC-2ED0-09A9166B31E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75626" y="1366839"/>
            <a:ext cx="3798888" cy="4949825"/>
          </a:xfrm>
          <a:custGeom>
            <a:avLst/>
            <a:gdLst>
              <a:gd name="connsiteX0" fmla="*/ 253994 w 3798888"/>
              <a:gd name="connsiteY0" fmla="*/ 0 h 4949825"/>
              <a:gd name="connsiteX1" fmla="*/ 3544894 w 3798888"/>
              <a:gd name="connsiteY1" fmla="*/ 0 h 4949825"/>
              <a:gd name="connsiteX2" fmla="*/ 3798888 w 3798888"/>
              <a:gd name="connsiteY2" fmla="*/ 253994 h 4949825"/>
              <a:gd name="connsiteX3" fmla="*/ 3798888 w 3798888"/>
              <a:gd name="connsiteY3" fmla="*/ 4695831 h 4949825"/>
              <a:gd name="connsiteX4" fmla="*/ 3544894 w 3798888"/>
              <a:gd name="connsiteY4" fmla="*/ 4949825 h 4949825"/>
              <a:gd name="connsiteX5" fmla="*/ 253994 w 3798888"/>
              <a:gd name="connsiteY5" fmla="*/ 4949825 h 4949825"/>
              <a:gd name="connsiteX6" fmla="*/ 0 w 3798888"/>
              <a:gd name="connsiteY6" fmla="*/ 4695831 h 4949825"/>
              <a:gd name="connsiteX7" fmla="*/ 0 w 3798888"/>
              <a:gd name="connsiteY7" fmla="*/ 253994 h 4949825"/>
              <a:gd name="connsiteX8" fmla="*/ 253994 w 3798888"/>
              <a:gd name="connsiteY8" fmla="*/ 0 h 4949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98888" h="4949825">
                <a:moveTo>
                  <a:pt x="253994" y="0"/>
                </a:moveTo>
                <a:lnTo>
                  <a:pt x="3544894" y="0"/>
                </a:lnTo>
                <a:cubicBezTo>
                  <a:pt x="3685171" y="0"/>
                  <a:pt x="3798888" y="113717"/>
                  <a:pt x="3798888" y="253994"/>
                </a:cubicBezTo>
                <a:lnTo>
                  <a:pt x="3798888" y="4695831"/>
                </a:lnTo>
                <a:cubicBezTo>
                  <a:pt x="3798888" y="4836108"/>
                  <a:pt x="3685171" y="4949825"/>
                  <a:pt x="3544894" y="4949825"/>
                </a:cubicBezTo>
                <a:lnTo>
                  <a:pt x="253994" y="4949825"/>
                </a:lnTo>
                <a:cubicBezTo>
                  <a:pt x="113717" y="4949825"/>
                  <a:pt x="0" y="4836108"/>
                  <a:pt x="0" y="4695831"/>
                </a:cubicBezTo>
                <a:lnTo>
                  <a:pt x="0" y="253994"/>
                </a:lnTo>
                <a:cubicBezTo>
                  <a:pt x="0" y="113717"/>
                  <a:pt x="113717" y="0"/>
                  <a:pt x="253994" y="0"/>
                </a:cubicBezTo>
                <a:close/>
              </a:path>
            </a:pathLst>
          </a:custGeom>
          <a:solidFill>
            <a:srgbClr val="CAB9A7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180000" tIns="201600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tx2"/>
                </a:solidFill>
              </a:defRPr>
            </a:lvl1pPr>
            <a:lvl2pPr marL="119063" indent="-119063">
              <a:lnSpc>
                <a:spcPct val="100000"/>
              </a:lnSpc>
              <a:buClr>
                <a:schemeClr val="tx1"/>
              </a:buClr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 sz="12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 sz="11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Clr>
                <a:schemeClr val="tx1"/>
              </a:buClr>
              <a:defRPr sz="11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5252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276">
          <p15:clr>
            <a:srgbClr val="FBAE40"/>
          </p15:clr>
        </p15:guide>
        <p15:guide id="5" pos="1389">
          <p15:clr>
            <a:srgbClr val="FBAE40"/>
          </p15:clr>
        </p15:guide>
        <p15:guide id="6" pos="2529">
          <p15:clr>
            <a:srgbClr val="FBAE40"/>
          </p15:clr>
        </p15:guide>
        <p15:guide id="7" pos="2643">
          <p15:clr>
            <a:srgbClr val="FBAE40"/>
          </p15:clr>
        </p15:guide>
        <p15:guide id="8" pos="3783">
          <p15:clr>
            <a:srgbClr val="FBAE40"/>
          </p15:clr>
        </p15:guide>
        <p15:guide id="9" pos="3896">
          <p15:clr>
            <a:srgbClr val="FBAE40"/>
          </p15:clr>
        </p15:guide>
        <p15:guide id="10" pos="5036">
          <p15:clr>
            <a:srgbClr val="FBAE40"/>
          </p15:clr>
        </p15:guide>
        <p15:guide id="11" pos="5150">
          <p15:clr>
            <a:srgbClr val="FBAE40"/>
          </p15:clr>
        </p15:guide>
        <p15:guide id="12" pos="6290">
          <p15:clr>
            <a:srgbClr val="FBAE40"/>
          </p15:clr>
        </p15:guide>
        <p15:guide id="13" pos="6403">
          <p15:clr>
            <a:srgbClr val="FBAE40"/>
          </p15:clr>
        </p15:guide>
        <p15:guide id="14" pos="7543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861">
          <p15:clr>
            <a:srgbClr val="FBAE40"/>
          </p15:clr>
        </p15:guide>
        <p15:guide id="18" orient="horz" pos="1286">
          <p15:clr>
            <a:srgbClr val="FBAE40"/>
          </p15:clr>
        </p15:guide>
        <p15:guide id="19" orient="horz" pos="1400">
          <p15:clr>
            <a:srgbClr val="FBAE40"/>
          </p15:clr>
        </p15:guide>
        <p15:guide id="20" orient="horz" pos="1825">
          <p15:clr>
            <a:srgbClr val="FBAE40"/>
          </p15:clr>
        </p15:guide>
        <p15:guide id="21" orient="horz" pos="1938">
          <p15:clr>
            <a:srgbClr val="FBAE40"/>
          </p15:clr>
        </p15:guide>
        <p15:guide id="22" orient="horz" pos="2352">
          <p15:clr>
            <a:srgbClr val="FBAE40"/>
          </p15:clr>
        </p15:guide>
        <p15:guide id="23" orient="horz" pos="2477">
          <p15:clr>
            <a:srgbClr val="FBAE40"/>
          </p15:clr>
        </p15:guide>
        <p15:guide id="24" orient="horz" pos="2908">
          <p15:clr>
            <a:srgbClr val="FBAE40"/>
          </p15:clr>
        </p15:guide>
        <p15:guide id="25" orient="horz" pos="3024">
          <p15:clr>
            <a:srgbClr val="FBAE40"/>
          </p15:clr>
        </p15:guide>
        <p15:guide id="26" orient="horz" pos="3441">
          <p15:clr>
            <a:srgbClr val="FBAE40"/>
          </p15:clr>
        </p15:guide>
        <p15:guide id="27" orient="horz" pos="3554">
          <p15:clr>
            <a:srgbClr val="FBAE40"/>
          </p15:clr>
        </p15:guide>
        <p15:guide id="28" orient="horz" pos="397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6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71FD87-5928-0183-0336-DB49FAEA68AF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03541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36" userDrawn="1">
          <p15:clr>
            <a:srgbClr val="FBAE40"/>
          </p15:clr>
        </p15:guide>
        <p15:guide id="4" pos="1276" userDrawn="1">
          <p15:clr>
            <a:srgbClr val="FBAE40"/>
          </p15:clr>
        </p15:guide>
        <p15:guide id="5" pos="1389" userDrawn="1">
          <p15:clr>
            <a:srgbClr val="FBAE40"/>
          </p15:clr>
        </p15:guide>
        <p15:guide id="6" pos="2529" userDrawn="1">
          <p15:clr>
            <a:srgbClr val="FBAE40"/>
          </p15:clr>
        </p15:guide>
        <p15:guide id="7" pos="2643" userDrawn="1">
          <p15:clr>
            <a:srgbClr val="FBAE40"/>
          </p15:clr>
        </p15:guide>
        <p15:guide id="8" pos="3783" userDrawn="1">
          <p15:clr>
            <a:srgbClr val="FBAE40"/>
          </p15:clr>
        </p15:guide>
        <p15:guide id="9" pos="3896" userDrawn="1">
          <p15:clr>
            <a:srgbClr val="FBAE40"/>
          </p15:clr>
        </p15:guide>
        <p15:guide id="10" pos="5036" userDrawn="1">
          <p15:clr>
            <a:srgbClr val="FBAE40"/>
          </p15:clr>
        </p15:guide>
        <p15:guide id="11" pos="5150" userDrawn="1">
          <p15:clr>
            <a:srgbClr val="FBAE40"/>
          </p15:clr>
        </p15:guide>
        <p15:guide id="12" pos="6290" userDrawn="1">
          <p15:clr>
            <a:srgbClr val="FBAE40"/>
          </p15:clr>
        </p15:guide>
        <p15:guide id="13" pos="6403" userDrawn="1">
          <p15:clr>
            <a:srgbClr val="FBAE40"/>
          </p15:clr>
        </p15:guide>
        <p15:guide id="14" pos="7543" userDrawn="1">
          <p15:clr>
            <a:srgbClr val="FBAE40"/>
          </p15:clr>
        </p15:guide>
        <p15:guide id="15" orient="horz" userDrawn="1">
          <p15:clr>
            <a:srgbClr val="FBAE40"/>
          </p15:clr>
        </p15:guide>
        <p15:guide id="16" orient="horz" pos="4320" userDrawn="1">
          <p15:clr>
            <a:srgbClr val="FBAE40"/>
          </p15:clr>
        </p15:guide>
        <p15:guide id="17" orient="horz" pos="861" userDrawn="1">
          <p15:clr>
            <a:srgbClr val="FBAE40"/>
          </p15:clr>
        </p15:guide>
        <p15:guide id="18" orient="horz" pos="1394" userDrawn="1">
          <p15:clr>
            <a:srgbClr val="FBAE40"/>
          </p15:clr>
        </p15:guide>
        <p15:guide id="19" orient="horz" pos="1508" userDrawn="1">
          <p15:clr>
            <a:srgbClr val="FBAE40"/>
          </p15:clr>
        </p15:guide>
        <p15:guide id="20" orient="horz" pos="2040" userDrawn="1">
          <p15:clr>
            <a:srgbClr val="FBAE40"/>
          </p15:clr>
        </p15:guide>
        <p15:guide id="21" orient="horz" pos="2154" userDrawn="1">
          <p15:clr>
            <a:srgbClr val="FBAE40"/>
          </p15:clr>
        </p15:guide>
        <p15:guide id="22" orient="horz" pos="2687" userDrawn="1">
          <p15:clr>
            <a:srgbClr val="FBAE40"/>
          </p15:clr>
        </p15:guide>
        <p15:guide id="23" orient="horz" pos="2800" userDrawn="1">
          <p15:clr>
            <a:srgbClr val="FBAE40"/>
          </p15:clr>
        </p15:guide>
        <p15:guide id="24" orient="horz" pos="3333" userDrawn="1">
          <p15:clr>
            <a:srgbClr val="FBAE40"/>
          </p15:clr>
        </p15:guide>
        <p15:guide id="25" orient="horz" pos="3446" userDrawn="1">
          <p15:clr>
            <a:srgbClr val="FBAE40"/>
          </p15:clr>
        </p15:guide>
        <p15:guide id="26" orient="horz" pos="3979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6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71FD87-5928-0183-0336-DB49FAEA68AF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9453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36" userDrawn="1">
          <p15:clr>
            <a:srgbClr val="FBAE40"/>
          </p15:clr>
        </p15:guide>
        <p15:guide id="4" pos="1276" userDrawn="1">
          <p15:clr>
            <a:srgbClr val="FBAE40"/>
          </p15:clr>
        </p15:guide>
        <p15:guide id="5" pos="1389" userDrawn="1">
          <p15:clr>
            <a:srgbClr val="FBAE40"/>
          </p15:clr>
        </p15:guide>
        <p15:guide id="6" pos="2529" userDrawn="1">
          <p15:clr>
            <a:srgbClr val="FBAE40"/>
          </p15:clr>
        </p15:guide>
        <p15:guide id="7" pos="2643" userDrawn="1">
          <p15:clr>
            <a:srgbClr val="FBAE40"/>
          </p15:clr>
        </p15:guide>
        <p15:guide id="8" pos="3783" userDrawn="1">
          <p15:clr>
            <a:srgbClr val="FBAE40"/>
          </p15:clr>
        </p15:guide>
        <p15:guide id="9" pos="3896" userDrawn="1">
          <p15:clr>
            <a:srgbClr val="FBAE40"/>
          </p15:clr>
        </p15:guide>
        <p15:guide id="10" pos="5036" userDrawn="1">
          <p15:clr>
            <a:srgbClr val="FBAE40"/>
          </p15:clr>
        </p15:guide>
        <p15:guide id="11" pos="5150" userDrawn="1">
          <p15:clr>
            <a:srgbClr val="FBAE40"/>
          </p15:clr>
        </p15:guide>
        <p15:guide id="12" pos="6290" userDrawn="1">
          <p15:clr>
            <a:srgbClr val="FBAE40"/>
          </p15:clr>
        </p15:guide>
        <p15:guide id="13" pos="6403" userDrawn="1">
          <p15:clr>
            <a:srgbClr val="FBAE40"/>
          </p15:clr>
        </p15:guide>
        <p15:guide id="14" pos="7543" userDrawn="1">
          <p15:clr>
            <a:srgbClr val="FBAE40"/>
          </p15:clr>
        </p15:guide>
        <p15:guide id="15" orient="horz" userDrawn="1">
          <p15:clr>
            <a:srgbClr val="FBAE40"/>
          </p15:clr>
        </p15:guide>
        <p15:guide id="16" orient="horz" pos="4320" userDrawn="1">
          <p15:clr>
            <a:srgbClr val="FBAE40"/>
          </p15:clr>
        </p15:guide>
        <p15:guide id="17" orient="horz" pos="861" userDrawn="1">
          <p15:clr>
            <a:srgbClr val="FBAE40"/>
          </p15:clr>
        </p15:guide>
        <p15:guide id="18" orient="horz" pos="1394" userDrawn="1">
          <p15:clr>
            <a:srgbClr val="FBAE40"/>
          </p15:clr>
        </p15:guide>
        <p15:guide id="19" orient="horz" pos="1508" userDrawn="1">
          <p15:clr>
            <a:srgbClr val="FBAE40"/>
          </p15:clr>
        </p15:guide>
        <p15:guide id="20" orient="horz" pos="2040" userDrawn="1">
          <p15:clr>
            <a:srgbClr val="FBAE40"/>
          </p15:clr>
        </p15:guide>
        <p15:guide id="21" orient="horz" pos="2154" userDrawn="1">
          <p15:clr>
            <a:srgbClr val="FBAE40"/>
          </p15:clr>
        </p15:guide>
        <p15:guide id="22" orient="horz" pos="2687" userDrawn="1">
          <p15:clr>
            <a:srgbClr val="FBAE40"/>
          </p15:clr>
        </p15:guide>
        <p15:guide id="23" orient="horz" pos="2800" userDrawn="1">
          <p15:clr>
            <a:srgbClr val="FBAE40"/>
          </p15:clr>
        </p15:guide>
        <p15:guide id="24" orient="horz" pos="3333" userDrawn="1">
          <p15:clr>
            <a:srgbClr val="FBAE40"/>
          </p15:clr>
        </p15:guide>
        <p15:guide id="25" orient="horz" pos="3446" userDrawn="1">
          <p15:clr>
            <a:srgbClr val="FBAE40"/>
          </p15:clr>
        </p15:guide>
        <p15:guide id="26" orient="horz" pos="3979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6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71FD87-5928-0183-0336-DB49FAEA68AF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1923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36" userDrawn="1">
          <p15:clr>
            <a:srgbClr val="FBAE40"/>
          </p15:clr>
        </p15:guide>
        <p15:guide id="4" pos="858" userDrawn="1">
          <p15:clr>
            <a:srgbClr val="FBAE40"/>
          </p15:clr>
        </p15:guide>
        <p15:guide id="5" pos="971" userDrawn="1">
          <p15:clr>
            <a:srgbClr val="FBAE40"/>
          </p15:clr>
        </p15:guide>
        <p15:guide id="6" pos="1694" userDrawn="1">
          <p15:clr>
            <a:srgbClr val="FBAE40"/>
          </p15:clr>
        </p15:guide>
        <p15:guide id="7" pos="1807" userDrawn="1">
          <p15:clr>
            <a:srgbClr val="FBAE40"/>
          </p15:clr>
        </p15:guide>
        <p15:guide id="8" pos="2529" userDrawn="1">
          <p15:clr>
            <a:srgbClr val="FBAE40"/>
          </p15:clr>
        </p15:guide>
        <p15:guide id="9" pos="2643" userDrawn="1">
          <p15:clr>
            <a:srgbClr val="FBAE40"/>
          </p15:clr>
        </p15:guide>
        <p15:guide id="10" pos="3365" userDrawn="1">
          <p15:clr>
            <a:srgbClr val="FBAE40"/>
          </p15:clr>
        </p15:guide>
        <p15:guide id="11" pos="3478" userDrawn="1">
          <p15:clr>
            <a:srgbClr val="FBAE40"/>
          </p15:clr>
        </p15:guide>
        <p15:guide id="12" pos="4201" userDrawn="1">
          <p15:clr>
            <a:srgbClr val="FBAE40"/>
          </p15:clr>
        </p15:guide>
        <p15:guide id="13" pos="4314" userDrawn="1">
          <p15:clr>
            <a:srgbClr val="FBAE40"/>
          </p15:clr>
        </p15:guide>
        <p15:guide id="14" pos="5036" userDrawn="1">
          <p15:clr>
            <a:srgbClr val="FBAE40"/>
          </p15:clr>
        </p15:guide>
        <p15:guide id="15" pos="5150" userDrawn="1">
          <p15:clr>
            <a:srgbClr val="FBAE40"/>
          </p15:clr>
        </p15:guide>
        <p15:guide id="16" pos="5872" userDrawn="1">
          <p15:clr>
            <a:srgbClr val="FBAE40"/>
          </p15:clr>
        </p15:guide>
        <p15:guide id="17" pos="5985" userDrawn="1">
          <p15:clr>
            <a:srgbClr val="FBAE40"/>
          </p15:clr>
        </p15:guide>
        <p15:guide id="18" pos="6708" userDrawn="1">
          <p15:clr>
            <a:srgbClr val="FBAE40"/>
          </p15:clr>
        </p15:guide>
        <p15:guide id="19" pos="6821" userDrawn="1">
          <p15:clr>
            <a:srgbClr val="FBAE40"/>
          </p15:clr>
        </p15:guide>
        <p15:guide id="20" pos="7543" userDrawn="1">
          <p15:clr>
            <a:srgbClr val="FBAE40"/>
          </p15:clr>
        </p15:guide>
        <p15:guide id="21" orient="horz" userDrawn="1">
          <p15:clr>
            <a:srgbClr val="FBAE40"/>
          </p15:clr>
        </p15:guide>
        <p15:guide id="22" orient="horz" pos="4320" userDrawn="1">
          <p15:clr>
            <a:srgbClr val="FBAE40"/>
          </p15:clr>
        </p15:guide>
        <p15:guide id="23" orient="horz" pos="861" userDrawn="1">
          <p15:clr>
            <a:srgbClr val="FBAE40"/>
          </p15:clr>
        </p15:guide>
        <p15:guide id="24" orient="horz" pos="1394" userDrawn="1">
          <p15:clr>
            <a:srgbClr val="FBAE40"/>
          </p15:clr>
        </p15:guide>
        <p15:guide id="25" orient="horz" pos="1508" userDrawn="1">
          <p15:clr>
            <a:srgbClr val="FBAE40"/>
          </p15:clr>
        </p15:guide>
        <p15:guide id="26" orient="horz" pos="2040" userDrawn="1">
          <p15:clr>
            <a:srgbClr val="FBAE40"/>
          </p15:clr>
        </p15:guide>
        <p15:guide id="27" orient="horz" pos="2154" userDrawn="1">
          <p15:clr>
            <a:srgbClr val="FBAE40"/>
          </p15:clr>
        </p15:guide>
        <p15:guide id="28" orient="horz" pos="2687" userDrawn="1">
          <p15:clr>
            <a:srgbClr val="FBAE40"/>
          </p15:clr>
        </p15:guide>
        <p15:guide id="29" orient="horz" pos="2800" userDrawn="1">
          <p15:clr>
            <a:srgbClr val="FBAE40"/>
          </p15:clr>
        </p15:guide>
        <p15:guide id="30" orient="horz" pos="3333" userDrawn="1">
          <p15:clr>
            <a:srgbClr val="FBAE40"/>
          </p15:clr>
        </p15:guide>
        <p15:guide id="31" orient="horz" pos="3446" userDrawn="1">
          <p15:clr>
            <a:srgbClr val="FBAE40"/>
          </p15:clr>
        </p15:guide>
        <p15:guide id="32" orient="horz" pos="3979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71FD87-5928-0183-0336-DB49FAEA68AF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C299509-3377-2C99-8F68-5CDE3FBB49D5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111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36" userDrawn="1">
          <p15:clr>
            <a:srgbClr val="FBAE40"/>
          </p15:clr>
        </p15:guide>
        <p15:guide id="4" pos="1097" userDrawn="1">
          <p15:clr>
            <a:srgbClr val="FBAE40"/>
          </p15:clr>
        </p15:guide>
        <p15:guide id="5" pos="1210" userDrawn="1">
          <p15:clr>
            <a:srgbClr val="FBAE40"/>
          </p15:clr>
        </p15:guide>
        <p15:guide id="6" pos="2171" userDrawn="1">
          <p15:clr>
            <a:srgbClr val="FBAE40"/>
          </p15:clr>
        </p15:guide>
        <p15:guide id="7" pos="2284" userDrawn="1">
          <p15:clr>
            <a:srgbClr val="FBAE40"/>
          </p15:clr>
        </p15:guide>
        <p15:guide id="8" pos="3246" userDrawn="1">
          <p15:clr>
            <a:srgbClr val="FBAE40"/>
          </p15:clr>
        </p15:guide>
        <p15:guide id="9" pos="3359" userDrawn="1">
          <p15:clr>
            <a:srgbClr val="FBAE40"/>
          </p15:clr>
        </p15:guide>
        <p15:guide id="10" pos="4320" userDrawn="1">
          <p15:clr>
            <a:srgbClr val="FBAE40"/>
          </p15:clr>
        </p15:guide>
        <p15:guide id="11" pos="4433" userDrawn="1">
          <p15:clr>
            <a:srgbClr val="FBAE40"/>
          </p15:clr>
        </p15:guide>
        <p15:guide id="12" pos="5395" userDrawn="1">
          <p15:clr>
            <a:srgbClr val="FBAE40"/>
          </p15:clr>
        </p15:guide>
        <p15:guide id="13" pos="5508" userDrawn="1">
          <p15:clr>
            <a:srgbClr val="FBAE40"/>
          </p15:clr>
        </p15:guide>
        <p15:guide id="14" pos="6469" userDrawn="1">
          <p15:clr>
            <a:srgbClr val="FBAE40"/>
          </p15:clr>
        </p15:guide>
        <p15:guide id="15" pos="6582" userDrawn="1">
          <p15:clr>
            <a:srgbClr val="FBAE40"/>
          </p15:clr>
        </p15:guide>
        <p15:guide id="16" pos="7543" userDrawn="1">
          <p15:clr>
            <a:srgbClr val="FBAE40"/>
          </p15:clr>
        </p15:guide>
        <p15:guide id="17" orient="horz" userDrawn="1">
          <p15:clr>
            <a:srgbClr val="FBAE40"/>
          </p15:clr>
        </p15:guide>
        <p15:guide id="18" orient="horz" pos="4320" userDrawn="1">
          <p15:clr>
            <a:srgbClr val="FBAE40"/>
          </p15:clr>
        </p15:guide>
        <p15:guide id="19" orient="horz" pos="861" userDrawn="1">
          <p15:clr>
            <a:srgbClr val="FBAE40"/>
          </p15:clr>
        </p15:guide>
        <p15:guide id="20" orient="horz" pos="1567" userDrawn="1">
          <p15:clr>
            <a:srgbClr val="FBAE40"/>
          </p15:clr>
        </p15:guide>
        <p15:guide id="21" orient="horz" pos="1680" userDrawn="1">
          <p15:clr>
            <a:srgbClr val="FBAE40"/>
          </p15:clr>
        </p15:guide>
        <p15:guide id="22" orient="horz" pos="2400" userDrawn="1">
          <p15:clr>
            <a:srgbClr val="FBAE40"/>
          </p15:clr>
        </p15:guide>
        <p15:guide id="23" orient="horz" pos="2500" userDrawn="1">
          <p15:clr>
            <a:srgbClr val="FBAE40"/>
          </p15:clr>
        </p15:guide>
        <p15:guide id="24" orient="horz" pos="3205" userDrawn="1">
          <p15:clr>
            <a:srgbClr val="FBAE40"/>
          </p15:clr>
        </p15:guide>
        <p15:guide id="25" orient="horz" pos="3319" userDrawn="1">
          <p15:clr>
            <a:srgbClr val="FBAE40"/>
          </p15:clr>
        </p15:guide>
        <p15:guide id="26" orient="horz" pos="402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>
            <a:extLst>
              <a:ext uri="{FF2B5EF4-FFF2-40B4-BE49-F238E27FC236}">
                <a16:creationId xmlns:a16="http://schemas.microsoft.com/office/drawing/2014/main" id="{4DE338AA-2CF0-71A1-E224-4E059CAE8F8D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8001000" y="0"/>
            <a:ext cx="4191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C06BAA58-04E3-4F58-86C4-DEB4C7D1D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043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C06BAA58-04E3-4F58-86C4-DEB4C7D1DF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Group 70" hidden="1">
            <a:extLst>
              <a:ext uri="{FF2B5EF4-FFF2-40B4-BE49-F238E27FC236}">
                <a16:creationId xmlns:a16="http://schemas.microsoft.com/office/drawing/2014/main" id="{E4688A3A-498A-48BD-ABA5-7195E98C670F}"/>
              </a:ext>
            </a:extLst>
          </p:cNvPr>
          <p:cNvGrpSpPr/>
          <p:nvPr userDrawn="1"/>
        </p:nvGrpSpPr>
        <p:grpSpPr>
          <a:xfrm>
            <a:off x="9467620" y="3429000"/>
            <a:ext cx="2724380" cy="2236765"/>
            <a:chOff x="9467620" y="3429000"/>
            <a:chExt cx="2724380" cy="2236765"/>
          </a:xfrm>
        </p:grpSpPr>
        <p:sp>
          <p:nvSpPr>
            <p:cNvPr id="72" name="Freeform 491">
              <a:extLst>
                <a:ext uri="{FF2B5EF4-FFF2-40B4-BE49-F238E27FC236}">
                  <a16:creationId xmlns:a16="http://schemas.microsoft.com/office/drawing/2014/main" id="{E71360B6-DC8F-403F-A732-5D9FF3776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7620" y="3475348"/>
              <a:ext cx="514988" cy="817115"/>
            </a:xfrm>
            <a:custGeom>
              <a:avLst/>
              <a:gdLst>
                <a:gd name="T0" fmla="*/ 661 w 1323"/>
                <a:gd name="T1" fmla="*/ 2091 h 2091"/>
                <a:gd name="T2" fmla="*/ 0 w 1323"/>
                <a:gd name="T3" fmla="*/ 1382 h 2091"/>
                <a:gd name="T4" fmla="*/ 867 w 1323"/>
                <a:gd name="T5" fmla="*/ 0 h 2091"/>
                <a:gd name="T6" fmla="*/ 366 w 1323"/>
                <a:gd name="T7" fmla="*/ 702 h 2091"/>
                <a:gd name="T8" fmla="*/ 661 w 1323"/>
                <a:gd name="T9" fmla="*/ 624 h 2091"/>
                <a:gd name="T10" fmla="*/ 1323 w 1323"/>
                <a:gd name="T11" fmla="*/ 1354 h 2091"/>
                <a:gd name="T12" fmla="*/ 661 w 1323"/>
                <a:gd name="T13" fmla="*/ 2091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3" h="2091">
                  <a:moveTo>
                    <a:pt x="661" y="2091"/>
                  </a:moveTo>
                  <a:cubicBezTo>
                    <a:pt x="276" y="2091"/>
                    <a:pt x="0" y="1730"/>
                    <a:pt x="0" y="1382"/>
                  </a:cubicBezTo>
                  <a:cubicBezTo>
                    <a:pt x="0" y="361"/>
                    <a:pt x="867" y="0"/>
                    <a:pt x="867" y="0"/>
                  </a:cubicBezTo>
                  <a:cubicBezTo>
                    <a:pt x="867" y="0"/>
                    <a:pt x="443" y="290"/>
                    <a:pt x="366" y="702"/>
                  </a:cubicBezTo>
                  <a:cubicBezTo>
                    <a:pt x="456" y="652"/>
                    <a:pt x="559" y="624"/>
                    <a:pt x="661" y="624"/>
                  </a:cubicBezTo>
                  <a:cubicBezTo>
                    <a:pt x="1028" y="624"/>
                    <a:pt x="1323" y="957"/>
                    <a:pt x="1323" y="1354"/>
                  </a:cubicBezTo>
                  <a:cubicBezTo>
                    <a:pt x="1323" y="1779"/>
                    <a:pt x="1002" y="2091"/>
                    <a:pt x="661" y="209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2">
              <a:extLst>
                <a:ext uri="{FF2B5EF4-FFF2-40B4-BE49-F238E27FC236}">
                  <a16:creationId xmlns:a16="http://schemas.microsoft.com/office/drawing/2014/main" id="{8F7CC2B7-3C11-49CC-9AA3-B778B0F2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5114" y="3429000"/>
              <a:ext cx="1055726" cy="1560415"/>
            </a:xfrm>
            <a:custGeom>
              <a:avLst/>
              <a:gdLst>
                <a:gd name="T0" fmla="*/ 2467 w 2705"/>
                <a:gd name="T1" fmla="*/ 823 h 3992"/>
                <a:gd name="T2" fmla="*/ 701 w 2705"/>
                <a:gd name="T3" fmla="*/ 0 h 3992"/>
                <a:gd name="T4" fmla="*/ 1324 w 2705"/>
                <a:gd name="T5" fmla="*/ 1709 h 3992"/>
                <a:gd name="T6" fmla="*/ 0 w 2705"/>
                <a:gd name="T7" fmla="*/ 3992 h 3992"/>
                <a:gd name="T8" fmla="*/ 2326 w 2705"/>
                <a:gd name="T9" fmla="*/ 2298 h 3992"/>
                <a:gd name="T10" fmla="*/ 2467 w 2705"/>
                <a:gd name="T11" fmla="*/ 823 h 3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05" h="3992">
                  <a:moveTo>
                    <a:pt x="2467" y="823"/>
                  </a:moveTo>
                  <a:cubicBezTo>
                    <a:pt x="2268" y="426"/>
                    <a:pt x="1729" y="0"/>
                    <a:pt x="701" y="0"/>
                  </a:cubicBezTo>
                  <a:cubicBezTo>
                    <a:pt x="1337" y="177"/>
                    <a:pt x="1472" y="1120"/>
                    <a:pt x="1324" y="1709"/>
                  </a:cubicBezTo>
                  <a:cubicBezTo>
                    <a:pt x="1137" y="2446"/>
                    <a:pt x="84" y="3638"/>
                    <a:pt x="0" y="3992"/>
                  </a:cubicBezTo>
                  <a:cubicBezTo>
                    <a:pt x="424" y="3418"/>
                    <a:pt x="1934" y="2766"/>
                    <a:pt x="2326" y="2298"/>
                  </a:cubicBezTo>
                  <a:cubicBezTo>
                    <a:pt x="2686" y="1858"/>
                    <a:pt x="2705" y="1291"/>
                    <a:pt x="2467" y="82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93">
              <a:extLst>
                <a:ext uri="{FF2B5EF4-FFF2-40B4-BE49-F238E27FC236}">
                  <a16:creationId xmlns:a16="http://schemas.microsoft.com/office/drawing/2014/main" id="{50EB8D1F-8C10-470C-A1E0-842F0CBBD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4786" y="5003147"/>
              <a:ext cx="1282321" cy="662618"/>
            </a:xfrm>
            <a:custGeom>
              <a:avLst/>
              <a:gdLst>
                <a:gd name="T0" fmla="*/ 3257 w 3289"/>
                <a:gd name="T1" fmla="*/ 0 h 1694"/>
                <a:gd name="T2" fmla="*/ 2608 w 3289"/>
                <a:gd name="T3" fmla="*/ 411 h 1694"/>
                <a:gd name="T4" fmla="*/ 1464 w 3289"/>
                <a:gd name="T5" fmla="*/ 347 h 1694"/>
                <a:gd name="T6" fmla="*/ 559 w 3289"/>
                <a:gd name="T7" fmla="*/ 468 h 1694"/>
                <a:gd name="T8" fmla="*/ 0 w 3289"/>
                <a:gd name="T9" fmla="*/ 1014 h 1694"/>
                <a:gd name="T10" fmla="*/ 38 w 3289"/>
                <a:gd name="T11" fmla="*/ 971 h 1694"/>
                <a:gd name="T12" fmla="*/ 430 w 3289"/>
                <a:gd name="T13" fmla="*/ 787 h 1694"/>
                <a:gd name="T14" fmla="*/ 1201 w 3289"/>
                <a:gd name="T15" fmla="*/ 1141 h 1694"/>
                <a:gd name="T16" fmla="*/ 2235 w 3289"/>
                <a:gd name="T17" fmla="*/ 1631 h 1694"/>
                <a:gd name="T18" fmla="*/ 3180 w 3289"/>
                <a:gd name="T19" fmla="*/ 780 h 1694"/>
                <a:gd name="T20" fmla="*/ 3257 w 3289"/>
                <a:gd name="T21" fmla="*/ 0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89" h="1694">
                  <a:moveTo>
                    <a:pt x="3257" y="0"/>
                  </a:moveTo>
                  <a:cubicBezTo>
                    <a:pt x="3173" y="241"/>
                    <a:pt x="2993" y="411"/>
                    <a:pt x="2608" y="411"/>
                  </a:cubicBezTo>
                  <a:cubicBezTo>
                    <a:pt x="2222" y="411"/>
                    <a:pt x="1843" y="368"/>
                    <a:pt x="1464" y="347"/>
                  </a:cubicBezTo>
                  <a:cubicBezTo>
                    <a:pt x="1156" y="326"/>
                    <a:pt x="841" y="333"/>
                    <a:pt x="559" y="468"/>
                  </a:cubicBezTo>
                  <a:cubicBezTo>
                    <a:pt x="308" y="588"/>
                    <a:pt x="122" y="773"/>
                    <a:pt x="0" y="1014"/>
                  </a:cubicBezTo>
                  <a:cubicBezTo>
                    <a:pt x="12" y="1000"/>
                    <a:pt x="19" y="985"/>
                    <a:pt x="38" y="971"/>
                  </a:cubicBezTo>
                  <a:cubicBezTo>
                    <a:pt x="141" y="858"/>
                    <a:pt x="282" y="787"/>
                    <a:pt x="430" y="787"/>
                  </a:cubicBezTo>
                  <a:cubicBezTo>
                    <a:pt x="726" y="787"/>
                    <a:pt x="957" y="922"/>
                    <a:pt x="1201" y="1141"/>
                  </a:cubicBezTo>
                  <a:cubicBezTo>
                    <a:pt x="1497" y="1411"/>
                    <a:pt x="1818" y="1694"/>
                    <a:pt x="2235" y="1631"/>
                  </a:cubicBezTo>
                  <a:cubicBezTo>
                    <a:pt x="2679" y="1560"/>
                    <a:pt x="3032" y="1219"/>
                    <a:pt x="3180" y="780"/>
                  </a:cubicBezTo>
                  <a:cubicBezTo>
                    <a:pt x="3289" y="489"/>
                    <a:pt x="3250" y="283"/>
                    <a:pt x="325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95">
              <a:extLst>
                <a:ext uri="{FF2B5EF4-FFF2-40B4-BE49-F238E27FC236}">
                  <a16:creationId xmlns:a16="http://schemas.microsoft.com/office/drawing/2014/main" id="{A1A272E9-3F1D-4409-B858-A311BC59A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1686" y="3429000"/>
              <a:ext cx="715834" cy="2212733"/>
            </a:xfrm>
            <a:custGeom>
              <a:avLst/>
              <a:gdLst>
                <a:gd name="T0" fmla="*/ 1838 w 1838"/>
                <a:gd name="T1" fmla="*/ 0 h 5659"/>
                <a:gd name="T2" fmla="*/ 1221 w 1838"/>
                <a:gd name="T3" fmla="*/ 1645 h 5659"/>
                <a:gd name="T4" fmla="*/ 1201 w 1838"/>
                <a:gd name="T5" fmla="*/ 2829 h 5659"/>
                <a:gd name="T6" fmla="*/ 1221 w 1838"/>
                <a:gd name="T7" fmla="*/ 3985 h 5659"/>
                <a:gd name="T8" fmla="*/ 1831 w 1838"/>
                <a:gd name="T9" fmla="*/ 5659 h 5659"/>
                <a:gd name="T10" fmla="*/ 0 w 1838"/>
                <a:gd name="T11" fmla="*/ 2829 h 5659"/>
                <a:gd name="T12" fmla="*/ 1838 w 1838"/>
                <a:gd name="T13" fmla="*/ 0 h 5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8" h="5659">
                  <a:moveTo>
                    <a:pt x="1838" y="0"/>
                  </a:moveTo>
                  <a:cubicBezTo>
                    <a:pt x="1703" y="121"/>
                    <a:pt x="1253" y="326"/>
                    <a:pt x="1221" y="1645"/>
                  </a:cubicBezTo>
                  <a:cubicBezTo>
                    <a:pt x="1221" y="1645"/>
                    <a:pt x="1201" y="2283"/>
                    <a:pt x="1201" y="2829"/>
                  </a:cubicBezTo>
                  <a:cubicBezTo>
                    <a:pt x="1201" y="3390"/>
                    <a:pt x="1221" y="3985"/>
                    <a:pt x="1221" y="3985"/>
                  </a:cubicBezTo>
                  <a:cubicBezTo>
                    <a:pt x="1259" y="5339"/>
                    <a:pt x="1658" y="5510"/>
                    <a:pt x="1831" y="5659"/>
                  </a:cubicBezTo>
                  <a:cubicBezTo>
                    <a:pt x="1433" y="5659"/>
                    <a:pt x="0" y="5269"/>
                    <a:pt x="0" y="2829"/>
                  </a:cubicBezTo>
                  <a:cubicBezTo>
                    <a:pt x="0" y="348"/>
                    <a:pt x="1433" y="0"/>
                    <a:pt x="183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8CBC56C-39D9-4CCD-927C-1C413FCA287F}"/>
                </a:ext>
              </a:extLst>
            </p:cNvPr>
            <p:cNvSpPr/>
            <p:nvPr userDrawn="1"/>
          </p:nvSpPr>
          <p:spPr>
            <a:xfrm>
              <a:off x="11855450" y="3429001"/>
              <a:ext cx="336550" cy="2212733"/>
            </a:xfrm>
            <a:custGeom>
              <a:avLst/>
              <a:gdLst>
                <a:gd name="connsiteX0" fmla="*/ 0 w 336550"/>
                <a:gd name="connsiteY0" fmla="*/ 0 h 2212733"/>
                <a:gd name="connsiteX1" fmla="*/ 296520 w 336550"/>
                <a:gd name="connsiteY1" fmla="*/ 94212 h 2212733"/>
                <a:gd name="connsiteX2" fmla="*/ 336550 w 336550"/>
                <a:gd name="connsiteY2" fmla="*/ 122018 h 2212733"/>
                <a:gd name="connsiteX3" fmla="*/ 336550 w 336550"/>
                <a:gd name="connsiteY3" fmla="*/ 2086108 h 2212733"/>
                <a:gd name="connsiteX4" fmla="*/ 297187 w 336550"/>
                <a:gd name="connsiteY4" fmla="*/ 2114171 h 2212733"/>
                <a:gd name="connsiteX5" fmla="*/ 2733 w 336550"/>
                <a:gd name="connsiteY5" fmla="*/ 2212733 h 2212733"/>
                <a:gd name="connsiteX6" fmla="*/ 238533 w 336550"/>
                <a:gd name="connsiteY6" fmla="*/ 1558180 h 2212733"/>
                <a:gd name="connsiteX7" fmla="*/ 248293 w 336550"/>
                <a:gd name="connsiteY7" fmla="*/ 1106171 h 2212733"/>
                <a:gd name="connsiteX8" fmla="*/ 238533 w 336550"/>
                <a:gd name="connsiteY8" fmla="*/ 643214 h 2212733"/>
                <a:gd name="connsiteX9" fmla="*/ 0 w 336550"/>
                <a:gd name="connsiteY9" fmla="*/ 0 h 2212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6550" h="2212733">
                  <a:moveTo>
                    <a:pt x="0" y="0"/>
                  </a:moveTo>
                  <a:cubicBezTo>
                    <a:pt x="59292" y="0"/>
                    <a:pt x="175020" y="19135"/>
                    <a:pt x="296520" y="94212"/>
                  </a:cubicBezTo>
                  <a:lnTo>
                    <a:pt x="336550" y="122018"/>
                  </a:lnTo>
                  <a:lnTo>
                    <a:pt x="336550" y="2086108"/>
                  </a:lnTo>
                  <a:lnTo>
                    <a:pt x="297187" y="2114171"/>
                  </a:lnTo>
                  <a:cubicBezTo>
                    <a:pt x="176088" y="2191289"/>
                    <a:pt x="61000" y="2212733"/>
                    <a:pt x="2733" y="2212733"/>
                  </a:cubicBezTo>
                  <a:cubicBezTo>
                    <a:pt x="70271" y="2154472"/>
                    <a:pt x="225650" y="2087610"/>
                    <a:pt x="238533" y="1558180"/>
                  </a:cubicBezTo>
                  <a:cubicBezTo>
                    <a:pt x="238533" y="1558180"/>
                    <a:pt x="248293" y="1325529"/>
                    <a:pt x="248293" y="1106171"/>
                  </a:cubicBezTo>
                  <a:cubicBezTo>
                    <a:pt x="248293" y="892679"/>
                    <a:pt x="238533" y="643214"/>
                    <a:pt x="238533" y="643214"/>
                  </a:cubicBezTo>
                  <a:cubicBezTo>
                    <a:pt x="228382" y="127470"/>
                    <a:pt x="52704" y="47312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0ADDCB5-9E57-4079-95A0-51646C9B1A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6743" y="3200400"/>
            <a:ext cx="5443979" cy="1447800"/>
          </a:xfrm>
        </p:spPr>
        <p:txBody>
          <a:bodyPr vert="horz" lIns="0" tIns="0" anchor="b"/>
          <a:lstStyle>
            <a:lvl1pPr algn="l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5A4E60-A558-41FB-B0E4-8A59FFFE9B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5901" y="4876800"/>
            <a:ext cx="5443979" cy="14478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F147B0D-7BBC-9016-06C1-A62741B5FA0D}"/>
              </a:ext>
            </a:extLst>
          </p:cNvPr>
          <p:cNvGrpSpPr/>
          <p:nvPr userDrawn="1"/>
        </p:nvGrpSpPr>
        <p:grpSpPr>
          <a:xfrm>
            <a:off x="10515600" y="259716"/>
            <a:ext cx="1436183" cy="985137"/>
            <a:chOff x="228600" y="2150376"/>
            <a:chExt cx="2906342" cy="1993578"/>
          </a:xfrm>
          <a:solidFill>
            <a:schemeClr val="bg1"/>
          </a:solidFill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327F18DE-FE9A-E987-1155-D7BFE1647152}"/>
                </a:ext>
              </a:extLst>
            </p:cNvPr>
            <p:cNvGrpSpPr/>
            <p:nvPr userDrawn="1"/>
          </p:nvGrpSpPr>
          <p:grpSpPr>
            <a:xfrm>
              <a:off x="228600" y="3626341"/>
              <a:ext cx="2799815" cy="517613"/>
              <a:chOff x="228600" y="3626341"/>
              <a:chExt cx="2799815" cy="517613"/>
            </a:xfrm>
            <a:grpFill/>
          </p:grpSpPr>
          <p:sp>
            <p:nvSpPr>
              <p:cNvPr id="129" name="Freeform 6">
                <a:extLst>
                  <a:ext uri="{FF2B5EF4-FFF2-40B4-BE49-F238E27FC236}">
                    <a16:creationId xmlns:a16="http://schemas.microsoft.com/office/drawing/2014/main" id="{5FE9E19B-12B2-D7B6-D125-51ABB9EEEA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534" y="3955731"/>
                <a:ext cx="95922" cy="164696"/>
              </a:xfrm>
              <a:custGeom>
                <a:avLst/>
                <a:gdLst>
                  <a:gd name="T0" fmla="*/ 235 w 235"/>
                  <a:gd name="T1" fmla="*/ 1 h 398"/>
                  <a:gd name="T2" fmla="*/ 218 w 235"/>
                  <a:gd name="T3" fmla="*/ 72 h 398"/>
                  <a:gd name="T4" fmla="*/ 152 w 235"/>
                  <a:gd name="T5" fmla="*/ 80 h 398"/>
                  <a:gd name="T6" fmla="*/ 131 w 235"/>
                  <a:gd name="T7" fmla="*/ 113 h 398"/>
                  <a:gd name="T8" fmla="*/ 176 w 235"/>
                  <a:gd name="T9" fmla="*/ 114 h 398"/>
                  <a:gd name="T10" fmla="*/ 164 w 235"/>
                  <a:gd name="T11" fmla="*/ 178 h 398"/>
                  <a:gd name="T12" fmla="*/ 116 w 235"/>
                  <a:gd name="T13" fmla="*/ 178 h 398"/>
                  <a:gd name="T14" fmla="*/ 70 w 235"/>
                  <a:gd name="T15" fmla="*/ 398 h 398"/>
                  <a:gd name="T16" fmla="*/ 0 w 235"/>
                  <a:gd name="T17" fmla="*/ 398 h 398"/>
                  <a:gd name="T18" fmla="*/ 43 w 235"/>
                  <a:gd name="T19" fmla="*/ 176 h 398"/>
                  <a:gd name="T20" fmla="*/ 6 w 235"/>
                  <a:gd name="T21" fmla="*/ 176 h 398"/>
                  <a:gd name="T22" fmla="*/ 17 w 235"/>
                  <a:gd name="T23" fmla="*/ 112 h 398"/>
                  <a:gd name="T24" fmla="*/ 56 w 235"/>
                  <a:gd name="T25" fmla="*/ 112 h 398"/>
                  <a:gd name="T26" fmla="*/ 95 w 235"/>
                  <a:gd name="T27" fmla="*/ 44 h 398"/>
                  <a:gd name="T28" fmla="*/ 235 w 235"/>
                  <a:gd name="T29" fmla="*/ 1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5" h="398">
                    <a:moveTo>
                      <a:pt x="235" y="1"/>
                    </a:moveTo>
                    <a:lnTo>
                      <a:pt x="218" y="72"/>
                    </a:lnTo>
                    <a:cubicBezTo>
                      <a:pt x="218" y="72"/>
                      <a:pt x="175" y="63"/>
                      <a:pt x="152" y="80"/>
                    </a:cubicBezTo>
                    <a:cubicBezTo>
                      <a:pt x="129" y="96"/>
                      <a:pt x="131" y="113"/>
                      <a:pt x="131" y="113"/>
                    </a:cubicBezTo>
                    <a:lnTo>
                      <a:pt x="176" y="114"/>
                    </a:lnTo>
                    <a:lnTo>
                      <a:pt x="164" y="178"/>
                    </a:lnTo>
                    <a:lnTo>
                      <a:pt x="116" y="178"/>
                    </a:lnTo>
                    <a:lnTo>
                      <a:pt x="70" y="398"/>
                    </a:lnTo>
                    <a:lnTo>
                      <a:pt x="0" y="398"/>
                    </a:lnTo>
                    <a:lnTo>
                      <a:pt x="43" y="176"/>
                    </a:lnTo>
                    <a:lnTo>
                      <a:pt x="6" y="176"/>
                    </a:lnTo>
                    <a:lnTo>
                      <a:pt x="17" y="112"/>
                    </a:lnTo>
                    <a:lnTo>
                      <a:pt x="56" y="112"/>
                    </a:lnTo>
                    <a:cubicBezTo>
                      <a:pt x="56" y="112"/>
                      <a:pt x="68" y="67"/>
                      <a:pt x="95" y="44"/>
                    </a:cubicBezTo>
                    <a:cubicBezTo>
                      <a:pt x="121" y="23"/>
                      <a:pt x="169" y="0"/>
                      <a:pt x="2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0" name="Freeform 7">
                <a:extLst>
                  <a:ext uri="{FF2B5EF4-FFF2-40B4-BE49-F238E27FC236}">
                    <a16:creationId xmlns:a16="http://schemas.microsoft.com/office/drawing/2014/main" id="{B47F941A-DB0C-377F-C7AB-E48A982A01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44429" y="4002787"/>
                <a:ext cx="54295" cy="115829"/>
              </a:xfrm>
              <a:custGeom>
                <a:avLst/>
                <a:gdLst>
                  <a:gd name="T0" fmla="*/ 56 w 133"/>
                  <a:gd name="T1" fmla="*/ 0 h 281"/>
                  <a:gd name="T2" fmla="*/ 133 w 133"/>
                  <a:gd name="T3" fmla="*/ 0 h 281"/>
                  <a:gd name="T4" fmla="*/ 75 w 133"/>
                  <a:gd name="T5" fmla="*/ 281 h 281"/>
                  <a:gd name="T6" fmla="*/ 0 w 133"/>
                  <a:gd name="T7" fmla="*/ 281 h 281"/>
                  <a:gd name="T8" fmla="*/ 56 w 133"/>
                  <a:gd name="T9" fmla="*/ 0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281">
                    <a:moveTo>
                      <a:pt x="56" y="0"/>
                    </a:moveTo>
                    <a:lnTo>
                      <a:pt x="133" y="0"/>
                    </a:lnTo>
                    <a:lnTo>
                      <a:pt x="75" y="281"/>
                    </a:lnTo>
                    <a:lnTo>
                      <a:pt x="0" y="281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1" name="Freeform 8">
                <a:extLst>
                  <a:ext uri="{FF2B5EF4-FFF2-40B4-BE49-F238E27FC236}">
                    <a16:creationId xmlns:a16="http://schemas.microsoft.com/office/drawing/2014/main" id="{3048DCE3-49F2-AAB1-4D5C-99CA4AF32B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9767" y="3955731"/>
                <a:ext cx="38007" cy="30768"/>
              </a:xfrm>
              <a:custGeom>
                <a:avLst/>
                <a:gdLst>
                  <a:gd name="T0" fmla="*/ 16 w 92"/>
                  <a:gd name="T1" fmla="*/ 0 h 76"/>
                  <a:gd name="T2" fmla="*/ 92 w 92"/>
                  <a:gd name="T3" fmla="*/ 0 h 76"/>
                  <a:gd name="T4" fmla="*/ 75 w 92"/>
                  <a:gd name="T5" fmla="*/ 76 h 76"/>
                  <a:gd name="T6" fmla="*/ 0 w 92"/>
                  <a:gd name="T7" fmla="*/ 76 h 76"/>
                  <a:gd name="T8" fmla="*/ 16 w 9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76">
                    <a:moveTo>
                      <a:pt x="16" y="0"/>
                    </a:moveTo>
                    <a:lnTo>
                      <a:pt x="92" y="0"/>
                    </a:lnTo>
                    <a:lnTo>
                      <a:pt x="75" y="76"/>
                    </a:lnTo>
                    <a:lnTo>
                      <a:pt x="0" y="7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2" name="Freeform 9">
                <a:extLst>
                  <a:ext uri="{FF2B5EF4-FFF2-40B4-BE49-F238E27FC236}">
                    <a16:creationId xmlns:a16="http://schemas.microsoft.com/office/drawing/2014/main" id="{5F2730A5-C5D4-1F17-283B-27BF22C1913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8600" y="3966590"/>
                <a:ext cx="123069" cy="152026"/>
              </a:xfrm>
              <a:custGeom>
                <a:avLst/>
                <a:gdLst>
                  <a:gd name="T0" fmla="*/ 286 w 299"/>
                  <a:gd name="T1" fmla="*/ 89 h 371"/>
                  <a:gd name="T2" fmla="*/ 220 w 299"/>
                  <a:gd name="T3" fmla="*/ 3 h 371"/>
                  <a:gd name="T4" fmla="*/ 72 w 299"/>
                  <a:gd name="T5" fmla="*/ 1 h 371"/>
                  <a:gd name="T6" fmla="*/ 0 w 299"/>
                  <a:gd name="T7" fmla="*/ 368 h 371"/>
                  <a:gd name="T8" fmla="*/ 104 w 299"/>
                  <a:gd name="T9" fmla="*/ 371 h 371"/>
                  <a:gd name="T10" fmla="*/ 274 w 299"/>
                  <a:gd name="T11" fmla="*/ 271 h 371"/>
                  <a:gd name="T12" fmla="*/ 245 w 299"/>
                  <a:gd name="T13" fmla="*/ 169 h 371"/>
                  <a:gd name="T14" fmla="*/ 286 w 299"/>
                  <a:gd name="T15" fmla="*/ 89 h 371"/>
                  <a:gd name="T16" fmla="*/ 206 w 299"/>
                  <a:gd name="T17" fmla="*/ 114 h 371"/>
                  <a:gd name="T18" fmla="*/ 132 w 299"/>
                  <a:gd name="T19" fmla="*/ 157 h 371"/>
                  <a:gd name="T20" fmla="*/ 131 w 299"/>
                  <a:gd name="T21" fmla="*/ 171 h 371"/>
                  <a:gd name="T22" fmla="*/ 200 w 299"/>
                  <a:gd name="T23" fmla="*/ 252 h 371"/>
                  <a:gd name="T24" fmla="*/ 131 w 299"/>
                  <a:gd name="T25" fmla="*/ 298 h 371"/>
                  <a:gd name="T26" fmla="*/ 83 w 299"/>
                  <a:gd name="T27" fmla="*/ 301 h 371"/>
                  <a:gd name="T28" fmla="*/ 130 w 299"/>
                  <a:gd name="T29" fmla="*/ 70 h 371"/>
                  <a:gd name="T30" fmla="*/ 206 w 299"/>
                  <a:gd name="T31" fmla="*/ 114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9" h="371">
                    <a:moveTo>
                      <a:pt x="286" y="89"/>
                    </a:moveTo>
                    <a:cubicBezTo>
                      <a:pt x="292" y="36"/>
                      <a:pt x="243" y="7"/>
                      <a:pt x="220" y="3"/>
                    </a:cubicBezTo>
                    <a:cubicBezTo>
                      <a:pt x="197" y="0"/>
                      <a:pt x="72" y="1"/>
                      <a:pt x="72" y="1"/>
                    </a:cubicBezTo>
                    <a:lnTo>
                      <a:pt x="0" y="368"/>
                    </a:lnTo>
                    <a:lnTo>
                      <a:pt x="104" y="371"/>
                    </a:lnTo>
                    <a:cubicBezTo>
                      <a:pt x="104" y="371"/>
                      <a:pt x="237" y="367"/>
                      <a:pt x="274" y="271"/>
                    </a:cubicBezTo>
                    <a:cubicBezTo>
                      <a:pt x="299" y="208"/>
                      <a:pt x="245" y="169"/>
                      <a:pt x="245" y="169"/>
                    </a:cubicBezTo>
                    <a:cubicBezTo>
                      <a:pt x="245" y="169"/>
                      <a:pt x="280" y="142"/>
                      <a:pt x="286" y="89"/>
                    </a:cubicBezTo>
                    <a:close/>
                    <a:moveTo>
                      <a:pt x="206" y="114"/>
                    </a:moveTo>
                    <a:cubicBezTo>
                      <a:pt x="198" y="160"/>
                      <a:pt x="132" y="157"/>
                      <a:pt x="132" y="157"/>
                    </a:cubicBezTo>
                    <a:cubicBezTo>
                      <a:pt x="132" y="157"/>
                      <a:pt x="132" y="171"/>
                      <a:pt x="131" y="171"/>
                    </a:cubicBezTo>
                    <a:cubicBezTo>
                      <a:pt x="153" y="173"/>
                      <a:pt x="214" y="209"/>
                      <a:pt x="200" y="252"/>
                    </a:cubicBezTo>
                    <a:cubicBezTo>
                      <a:pt x="184" y="301"/>
                      <a:pt x="131" y="298"/>
                      <a:pt x="131" y="298"/>
                    </a:cubicBezTo>
                    <a:lnTo>
                      <a:pt x="83" y="301"/>
                    </a:lnTo>
                    <a:lnTo>
                      <a:pt x="130" y="70"/>
                    </a:lnTo>
                    <a:cubicBezTo>
                      <a:pt x="130" y="70"/>
                      <a:pt x="214" y="68"/>
                      <a:pt x="20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3" name="Freeform 10">
                <a:extLst>
                  <a:ext uri="{FF2B5EF4-FFF2-40B4-BE49-F238E27FC236}">
                    <a16:creationId xmlns:a16="http://schemas.microsoft.com/office/drawing/2014/main" id="{9DCEEAC5-C283-FB87-9DFE-0C021BFEC0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06" y="3695115"/>
                <a:ext cx="369206" cy="238898"/>
              </a:xfrm>
              <a:custGeom>
                <a:avLst/>
                <a:gdLst>
                  <a:gd name="T0" fmla="*/ 826 w 897"/>
                  <a:gd name="T1" fmla="*/ 0 h 583"/>
                  <a:gd name="T2" fmla="*/ 896 w 897"/>
                  <a:gd name="T3" fmla="*/ 150 h 583"/>
                  <a:gd name="T4" fmla="*/ 480 w 897"/>
                  <a:gd name="T5" fmla="*/ 352 h 583"/>
                  <a:gd name="T6" fmla="*/ 256 w 897"/>
                  <a:gd name="T7" fmla="*/ 519 h 583"/>
                  <a:gd name="T8" fmla="*/ 0 w 897"/>
                  <a:gd name="T9" fmla="*/ 564 h 583"/>
                  <a:gd name="T10" fmla="*/ 113 w 897"/>
                  <a:gd name="T11" fmla="*/ 542 h 583"/>
                  <a:gd name="T12" fmla="*/ 490 w 897"/>
                  <a:gd name="T13" fmla="*/ 279 h 583"/>
                  <a:gd name="T14" fmla="*/ 819 w 897"/>
                  <a:gd name="T15" fmla="*/ 125 h 583"/>
                  <a:gd name="T16" fmla="*/ 826 w 897"/>
                  <a:gd name="T17" fmla="*/ 0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7" h="583">
                    <a:moveTo>
                      <a:pt x="826" y="0"/>
                    </a:moveTo>
                    <a:cubicBezTo>
                      <a:pt x="829" y="16"/>
                      <a:pt x="842" y="96"/>
                      <a:pt x="896" y="150"/>
                    </a:cubicBezTo>
                    <a:cubicBezTo>
                      <a:pt x="897" y="151"/>
                      <a:pt x="639" y="237"/>
                      <a:pt x="480" y="352"/>
                    </a:cubicBezTo>
                    <a:cubicBezTo>
                      <a:pt x="396" y="412"/>
                      <a:pt x="313" y="486"/>
                      <a:pt x="256" y="519"/>
                    </a:cubicBezTo>
                    <a:cubicBezTo>
                      <a:pt x="145" y="583"/>
                      <a:pt x="0" y="576"/>
                      <a:pt x="0" y="564"/>
                    </a:cubicBezTo>
                    <a:cubicBezTo>
                      <a:pt x="0" y="551"/>
                      <a:pt x="36" y="566"/>
                      <a:pt x="113" y="542"/>
                    </a:cubicBezTo>
                    <a:cubicBezTo>
                      <a:pt x="223" y="507"/>
                      <a:pt x="387" y="351"/>
                      <a:pt x="490" y="279"/>
                    </a:cubicBezTo>
                    <a:cubicBezTo>
                      <a:pt x="613" y="197"/>
                      <a:pt x="782" y="137"/>
                      <a:pt x="819" y="125"/>
                    </a:cubicBezTo>
                    <a:cubicBezTo>
                      <a:pt x="819" y="114"/>
                      <a:pt x="804" y="30"/>
                      <a:pt x="8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4" name="Freeform 11">
                <a:extLst>
                  <a:ext uri="{FF2B5EF4-FFF2-40B4-BE49-F238E27FC236}">
                    <a16:creationId xmlns:a16="http://schemas.microsoft.com/office/drawing/2014/main" id="{5912668A-27D2-7BB4-D7FC-26EA5A7619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7773" y="3852570"/>
                <a:ext cx="342059" cy="191843"/>
              </a:xfrm>
              <a:custGeom>
                <a:avLst/>
                <a:gdLst>
                  <a:gd name="T0" fmla="*/ 0 w 834"/>
                  <a:gd name="T1" fmla="*/ 120 h 464"/>
                  <a:gd name="T2" fmla="*/ 156 w 834"/>
                  <a:gd name="T3" fmla="*/ 65 h 464"/>
                  <a:gd name="T4" fmla="*/ 508 w 834"/>
                  <a:gd name="T5" fmla="*/ 183 h 464"/>
                  <a:gd name="T6" fmla="*/ 448 w 834"/>
                  <a:gd name="T7" fmla="*/ 58 h 464"/>
                  <a:gd name="T8" fmla="*/ 452 w 834"/>
                  <a:gd name="T9" fmla="*/ 0 h 464"/>
                  <a:gd name="T10" fmla="*/ 600 w 834"/>
                  <a:gd name="T11" fmla="*/ 231 h 464"/>
                  <a:gd name="T12" fmla="*/ 834 w 834"/>
                  <a:gd name="T13" fmla="*/ 464 h 464"/>
                  <a:gd name="T14" fmla="*/ 649 w 834"/>
                  <a:gd name="T15" fmla="*/ 353 h 464"/>
                  <a:gd name="T16" fmla="*/ 543 w 834"/>
                  <a:gd name="T17" fmla="*/ 252 h 464"/>
                  <a:gd name="T18" fmla="*/ 462 w 834"/>
                  <a:gd name="T19" fmla="*/ 224 h 464"/>
                  <a:gd name="T20" fmla="*/ 193 w 834"/>
                  <a:gd name="T21" fmla="*/ 101 h 464"/>
                  <a:gd name="T22" fmla="*/ 0 w 834"/>
                  <a:gd name="T23" fmla="*/ 120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4" h="464">
                    <a:moveTo>
                      <a:pt x="0" y="120"/>
                    </a:moveTo>
                    <a:cubicBezTo>
                      <a:pt x="0" y="120"/>
                      <a:pt x="38" y="60"/>
                      <a:pt x="156" y="65"/>
                    </a:cubicBezTo>
                    <a:cubicBezTo>
                      <a:pt x="274" y="69"/>
                      <a:pt x="508" y="183"/>
                      <a:pt x="508" y="183"/>
                    </a:cubicBezTo>
                    <a:cubicBezTo>
                      <a:pt x="508" y="183"/>
                      <a:pt x="457" y="103"/>
                      <a:pt x="448" y="58"/>
                    </a:cubicBezTo>
                    <a:cubicBezTo>
                      <a:pt x="439" y="14"/>
                      <a:pt x="452" y="0"/>
                      <a:pt x="452" y="0"/>
                    </a:cubicBezTo>
                    <a:cubicBezTo>
                      <a:pt x="477" y="55"/>
                      <a:pt x="566" y="179"/>
                      <a:pt x="600" y="231"/>
                    </a:cubicBezTo>
                    <a:cubicBezTo>
                      <a:pt x="672" y="340"/>
                      <a:pt x="834" y="464"/>
                      <a:pt x="834" y="464"/>
                    </a:cubicBezTo>
                    <a:cubicBezTo>
                      <a:pt x="797" y="460"/>
                      <a:pt x="707" y="403"/>
                      <a:pt x="649" y="353"/>
                    </a:cubicBezTo>
                    <a:cubicBezTo>
                      <a:pt x="592" y="303"/>
                      <a:pt x="561" y="260"/>
                      <a:pt x="543" y="252"/>
                    </a:cubicBezTo>
                    <a:cubicBezTo>
                      <a:pt x="525" y="244"/>
                      <a:pt x="483" y="233"/>
                      <a:pt x="462" y="224"/>
                    </a:cubicBezTo>
                    <a:cubicBezTo>
                      <a:pt x="424" y="206"/>
                      <a:pt x="271" y="110"/>
                      <a:pt x="193" y="101"/>
                    </a:cubicBezTo>
                    <a:cubicBezTo>
                      <a:pt x="71" y="88"/>
                      <a:pt x="0" y="120"/>
                      <a:pt x="0" y="1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5" name="Freeform 12">
                <a:extLst>
                  <a:ext uri="{FF2B5EF4-FFF2-40B4-BE49-F238E27FC236}">
                    <a16:creationId xmlns:a16="http://schemas.microsoft.com/office/drawing/2014/main" id="{27BBD90F-8EEB-6CAD-A419-7E63EBCAB1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4003" y="3727692"/>
                <a:ext cx="229850" cy="106781"/>
              </a:xfrm>
              <a:custGeom>
                <a:avLst/>
                <a:gdLst>
                  <a:gd name="T0" fmla="*/ 0 w 559"/>
                  <a:gd name="T1" fmla="*/ 24 h 259"/>
                  <a:gd name="T2" fmla="*/ 68 w 559"/>
                  <a:gd name="T3" fmla="*/ 90 h 259"/>
                  <a:gd name="T4" fmla="*/ 185 w 559"/>
                  <a:gd name="T5" fmla="*/ 118 h 259"/>
                  <a:gd name="T6" fmla="*/ 87 w 559"/>
                  <a:gd name="T7" fmla="*/ 60 h 259"/>
                  <a:gd name="T8" fmla="*/ 212 w 559"/>
                  <a:gd name="T9" fmla="*/ 71 h 259"/>
                  <a:gd name="T10" fmla="*/ 320 w 559"/>
                  <a:gd name="T11" fmla="*/ 166 h 259"/>
                  <a:gd name="T12" fmla="*/ 289 w 559"/>
                  <a:gd name="T13" fmla="*/ 215 h 259"/>
                  <a:gd name="T14" fmla="*/ 434 w 559"/>
                  <a:gd name="T15" fmla="*/ 252 h 259"/>
                  <a:gd name="T16" fmla="*/ 559 w 559"/>
                  <a:gd name="T17" fmla="*/ 185 h 259"/>
                  <a:gd name="T18" fmla="*/ 433 w 559"/>
                  <a:gd name="T19" fmla="*/ 218 h 259"/>
                  <a:gd name="T20" fmla="*/ 353 w 559"/>
                  <a:gd name="T21" fmla="*/ 192 h 259"/>
                  <a:gd name="T22" fmla="*/ 361 w 559"/>
                  <a:gd name="T23" fmla="*/ 156 h 259"/>
                  <a:gd name="T24" fmla="*/ 219 w 559"/>
                  <a:gd name="T25" fmla="*/ 38 h 259"/>
                  <a:gd name="T26" fmla="*/ 0 w 559"/>
                  <a:gd name="T27" fmla="*/ 24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59" h="259">
                    <a:moveTo>
                      <a:pt x="0" y="24"/>
                    </a:moveTo>
                    <a:cubicBezTo>
                      <a:pt x="0" y="24"/>
                      <a:pt x="6" y="53"/>
                      <a:pt x="68" y="90"/>
                    </a:cubicBezTo>
                    <a:cubicBezTo>
                      <a:pt x="131" y="127"/>
                      <a:pt x="185" y="118"/>
                      <a:pt x="185" y="118"/>
                    </a:cubicBezTo>
                    <a:cubicBezTo>
                      <a:pt x="185" y="118"/>
                      <a:pt x="100" y="88"/>
                      <a:pt x="87" y="60"/>
                    </a:cubicBezTo>
                    <a:cubicBezTo>
                      <a:pt x="97" y="59"/>
                      <a:pt x="121" y="45"/>
                      <a:pt x="212" y="71"/>
                    </a:cubicBezTo>
                    <a:cubicBezTo>
                      <a:pt x="285" y="92"/>
                      <a:pt x="320" y="152"/>
                      <a:pt x="320" y="166"/>
                    </a:cubicBezTo>
                    <a:cubicBezTo>
                      <a:pt x="320" y="187"/>
                      <a:pt x="289" y="215"/>
                      <a:pt x="289" y="215"/>
                    </a:cubicBezTo>
                    <a:cubicBezTo>
                      <a:pt x="289" y="215"/>
                      <a:pt x="354" y="259"/>
                      <a:pt x="434" y="252"/>
                    </a:cubicBezTo>
                    <a:cubicBezTo>
                      <a:pt x="514" y="244"/>
                      <a:pt x="559" y="185"/>
                      <a:pt x="559" y="185"/>
                    </a:cubicBezTo>
                    <a:cubicBezTo>
                      <a:pt x="559" y="185"/>
                      <a:pt x="495" y="217"/>
                      <a:pt x="433" y="218"/>
                    </a:cubicBezTo>
                    <a:cubicBezTo>
                      <a:pt x="370" y="219"/>
                      <a:pt x="353" y="192"/>
                      <a:pt x="353" y="192"/>
                    </a:cubicBezTo>
                    <a:cubicBezTo>
                      <a:pt x="353" y="192"/>
                      <a:pt x="366" y="182"/>
                      <a:pt x="361" y="156"/>
                    </a:cubicBezTo>
                    <a:cubicBezTo>
                      <a:pt x="356" y="130"/>
                      <a:pt x="314" y="76"/>
                      <a:pt x="219" y="38"/>
                    </a:cubicBezTo>
                    <a:cubicBezTo>
                      <a:pt x="125" y="0"/>
                      <a:pt x="0" y="24"/>
                      <a:pt x="0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6" name="Freeform 13">
                <a:extLst>
                  <a:ext uri="{FF2B5EF4-FFF2-40B4-BE49-F238E27FC236}">
                    <a16:creationId xmlns:a16="http://schemas.microsoft.com/office/drawing/2014/main" id="{05C04CBD-2D13-44DC-D9A6-2DB749FFF0D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17714" y="3791036"/>
                <a:ext cx="193653" cy="110401"/>
              </a:xfrm>
              <a:custGeom>
                <a:avLst/>
                <a:gdLst>
                  <a:gd name="T0" fmla="*/ 374 w 471"/>
                  <a:gd name="T1" fmla="*/ 105 h 265"/>
                  <a:gd name="T2" fmla="*/ 301 w 471"/>
                  <a:gd name="T3" fmla="*/ 72 h 265"/>
                  <a:gd name="T4" fmla="*/ 211 w 471"/>
                  <a:gd name="T5" fmla="*/ 114 h 265"/>
                  <a:gd name="T6" fmla="*/ 125 w 471"/>
                  <a:gd name="T7" fmla="*/ 165 h 265"/>
                  <a:gd name="T8" fmla="*/ 83 w 471"/>
                  <a:gd name="T9" fmla="*/ 137 h 265"/>
                  <a:gd name="T10" fmla="*/ 73 w 471"/>
                  <a:gd name="T11" fmla="*/ 166 h 265"/>
                  <a:gd name="T12" fmla="*/ 72 w 471"/>
                  <a:gd name="T13" fmla="*/ 189 h 265"/>
                  <a:gd name="T14" fmla="*/ 35 w 471"/>
                  <a:gd name="T15" fmla="*/ 148 h 265"/>
                  <a:gd name="T16" fmla="*/ 53 w 471"/>
                  <a:gd name="T17" fmla="*/ 100 h 265"/>
                  <a:gd name="T18" fmla="*/ 33 w 471"/>
                  <a:gd name="T19" fmla="*/ 61 h 265"/>
                  <a:gd name="T20" fmla="*/ 80 w 471"/>
                  <a:gd name="T21" fmla="*/ 0 h 265"/>
                  <a:gd name="T22" fmla="*/ 27 w 471"/>
                  <a:gd name="T23" fmla="*/ 24 h 265"/>
                  <a:gd name="T24" fmla="*/ 3 w 471"/>
                  <a:gd name="T25" fmla="*/ 69 h 265"/>
                  <a:gd name="T26" fmla="*/ 21 w 471"/>
                  <a:gd name="T27" fmla="*/ 111 h 265"/>
                  <a:gd name="T28" fmla="*/ 5 w 471"/>
                  <a:gd name="T29" fmla="*/ 144 h 265"/>
                  <a:gd name="T30" fmla="*/ 16 w 471"/>
                  <a:gd name="T31" fmla="*/ 183 h 265"/>
                  <a:gd name="T32" fmla="*/ 49 w 471"/>
                  <a:gd name="T33" fmla="*/ 217 h 265"/>
                  <a:gd name="T34" fmla="*/ 62 w 471"/>
                  <a:gd name="T35" fmla="*/ 225 h 265"/>
                  <a:gd name="T36" fmla="*/ 62 w 471"/>
                  <a:gd name="T37" fmla="*/ 242 h 265"/>
                  <a:gd name="T38" fmla="*/ 86 w 471"/>
                  <a:gd name="T39" fmla="*/ 264 h 265"/>
                  <a:gd name="T40" fmla="*/ 118 w 471"/>
                  <a:gd name="T41" fmla="*/ 244 h 265"/>
                  <a:gd name="T42" fmla="*/ 132 w 471"/>
                  <a:gd name="T43" fmla="*/ 196 h 265"/>
                  <a:gd name="T44" fmla="*/ 235 w 471"/>
                  <a:gd name="T45" fmla="*/ 144 h 265"/>
                  <a:gd name="T46" fmla="*/ 282 w 471"/>
                  <a:gd name="T47" fmla="*/ 116 h 265"/>
                  <a:gd name="T48" fmla="*/ 373 w 471"/>
                  <a:gd name="T49" fmla="*/ 136 h 265"/>
                  <a:gd name="T50" fmla="*/ 471 w 471"/>
                  <a:gd name="T51" fmla="*/ 112 h 265"/>
                  <a:gd name="T52" fmla="*/ 374 w 471"/>
                  <a:gd name="T53" fmla="*/ 105 h 265"/>
                  <a:gd name="T54" fmla="*/ 79 w 471"/>
                  <a:gd name="T55" fmla="*/ 240 h 265"/>
                  <a:gd name="T56" fmla="*/ 109 w 471"/>
                  <a:gd name="T57" fmla="*/ 213 h 265"/>
                  <a:gd name="T58" fmla="*/ 79 w 471"/>
                  <a:gd name="T59" fmla="*/ 24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71" h="265">
                    <a:moveTo>
                      <a:pt x="374" y="105"/>
                    </a:moveTo>
                    <a:cubicBezTo>
                      <a:pt x="351" y="100"/>
                      <a:pt x="301" y="72"/>
                      <a:pt x="301" y="72"/>
                    </a:cubicBezTo>
                    <a:cubicBezTo>
                      <a:pt x="301" y="72"/>
                      <a:pt x="227" y="105"/>
                      <a:pt x="211" y="114"/>
                    </a:cubicBezTo>
                    <a:cubicBezTo>
                      <a:pt x="195" y="123"/>
                      <a:pt x="136" y="164"/>
                      <a:pt x="125" y="165"/>
                    </a:cubicBezTo>
                    <a:cubicBezTo>
                      <a:pt x="114" y="166"/>
                      <a:pt x="83" y="137"/>
                      <a:pt x="83" y="137"/>
                    </a:cubicBezTo>
                    <a:cubicBezTo>
                      <a:pt x="83" y="137"/>
                      <a:pt x="71" y="160"/>
                      <a:pt x="73" y="166"/>
                    </a:cubicBezTo>
                    <a:cubicBezTo>
                      <a:pt x="74" y="172"/>
                      <a:pt x="85" y="182"/>
                      <a:pt x="72" y="189"/>
                    </a:cubicBezTo>
                    <a:cubicBezTo>
                      <a:pt x="57" y="198"/>
                      <a:pt x="35" y="163"/>
                      <a:pt x="35" y="148"/>
                    </a:cubicBezTo>
                    <a:cubicBezTo>
                      <a:pt x="35" y="133"/>
                      <a:pt x="55" y="115"/>
                      <a:pt x="53" y="100"/>
                    </a:cubicBezTo>
                    <a:cubicBezTo>
                      <a:pt x="51" y="85"/>
                      <a:pt x="35" y="80"/>
                      <a:pt x="33" y="61"/>
                    </a:cubicBezTo>
                    <a:cubicBezTo>
                      <a:pt x="31" y="43"/>
                      <a:pt x="80" y="0"/>
                      <a:pt x="80" y="0"/>
                    </a:cubicBezTo>
                    <a:cubicBezTo>
                      <a:pt x="80" y="0"/>
                      <a:pt x="45" y="7"/>
                      <a:pt x="27" y="24"/>
                    </a:cubicBezTo>
                    <a:cubicBezTo>
                      <a:pt x="10" y="40"/>
                      <a:pt x="4" y="55"/>
                      <a:pt x="3" y="69"/>
                    </a:cubicBezTo>
                    <a:cubicBezTo>
                      <a:pt x="2" y="84"/>
                      <a:pt x="21" y="98"/>
                      <a:pt x="21" y="111"/>
                    </a:cubicBezTo>
                    <a:cubicBezTo>
                      <a:pt x="21" y="121"/>
                      <a:pt x="10" y="127"/>
                      <a:pt x="5" y="144"/>
                    </a:cubicBezTo>
                    <a:cubicBezTo>
                      <a:pt x="0" y="160"/>
                      <a:pt x="11" y="176"/>
                      <a:pt x="16" y="183"/>
                    </a:cubicBezTo>
                    <a:cubicBezTo>
                      <a:pt x="22" y="191"/>
                      <a:pt x="40" y="209"/>
                      <a:pt x="49" y="217"/>
                    </a:cubicBezTo>
                    <a:cubicBezTo>
                      <a:pt x="58" y="224"/>
                      <a:pt x="62" y="225"/>
                      <a:pt x="62" y="225"/>
                    </a:cubicBezTo>
                    <a:cubicBezTo>
                      <a:pt x="62" y="225"/>
                      <a:pt x="61" y="234"/>
                      <a:pt x="62" y="242"/>
                    </a:cubicBezTo>
                    <a:cubicBezTo>
                      <a:pt x="63" y="251"/>
                      <a:pt x="70" y="265"/>
                      <a:pt x="86" y="264"/>
                    </a:cubicBezTo>
                    <a:cubicBezTo>
                      <a:pt x="100" y="263"/>
                      <a:pt x="109" y="256"/>
                      <a:pt x="118" y="244"/>
                    </a:cubicBezTo>
                    <a:cubicBezTo>
                      <a:pt x="129" y="231"/>
                      <a:pt x="132" y="196"/>
                      <a:pt x="132" y="196"/>
                    </a:cubicBezTo>
                    <a:cubicBezTo>
                      <a:pt x="132" y="196"/>
                      <a:pt x="205" y="158"/>
                      <a:pt x="235" y="144"/>
                    </a:cubicBezTo>
                    <a:cubicBezTo>
                      <a:pt x="264" y="129"/>
                      <a:pt x="282" y="116"/>
                      <a:pt x="282" y="116"/>
                    </a:cubicBezTo>
                    <a:cubicBezTo>
                      <a:pt x="282" y="116"/>
                      <a:pt x="321" y="134"/>
                      <a:pt x="373" y="136"/>
                    </a:cubicBezTo>
                    <a:cubicBezTo>
                      <a:pt x="425" y="138"/>
                      <a:pt x="471" y="112"/>
                      <a:pt x="471" y="112"/>
                    </a:cubicBezTo>
                    <a:cubicBezTo>
                      <a:pt x="471" y="112"/>
                      <a:pt x="398" y="110"/>
                      <a:pt x="374" y="105"/>
                    </a:cubicBezTo>
                    <a:close/>
                    <a:moveTo>
                      <a:pt x="79" y="240"/>
                    </a:moveTo>
                    <a:cubicBezTo>
                      <a:pt x="68" y="225"/>
                      <a:pt x="100" y="199"/>
                      <a:pt x="109" y="213"/>
                    </a:cubicBezTo>
                    <a:cubicBezTo>
                      <a:pt x="116" y="227"/>
                      <a:pt x="89" y="252"/>
                      <a:pt x="79" y="2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7" name="Freeform 14">
                <a:extLst>
                  <a:ext uri="{FF2B5EF4-FFF2-40B4-BE49-F238E27FC236}">
                    <a16:creationId xmlns:a16="http://schemas.microsoft.com/office/drawing/2014/main" id="{BEF45F41-C2D3-A392-ED49-889C3D39E5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918" y="3810944"/>
                <a:ext cx="10859" cy="19909"/>
              </a:xfrm>
              <a:custGeom>
                <a:avLst/>
                <a:gdLst>
                  <a:gd name="T0" fmla="*/ 0 w 29"/>
                  <a:gd name="T1" fmla="*/ 0 h 50"/>
                  <a:gd name="T2" fmla="*/ 29 w 29"/>
                  <a:gd name="T3" fmla="*/ 36 h 50"/>
                  <a:gd name="T4" fmla="*/ 9 w 29"/>
                  <a:gd name="T5" fmla="*/ 44 h 50"/>
                  <a:gd name="T6" fmla="*/ 9 w 29"/>
                  <a:gd name="T7" fmla="*/ 27 h 50"/>
                  <a:gd name="T8" fmla="*/ 6 w 29"/>
                  <a:gd name="T9" fmla="*/ 15 h 50"/>
                  <a:gd name="T10" fmla="*/ 0 w 29"/>
                  <a:gd name="T1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50">
                    <a:moveTo>
                      <a:pt x="0" y="0"/>
                    </a:moveTo>
                    <a:cubicBezTo>
                      <a:pt x="13" y="20"/>
                      <a:pt x="29" y="23"/>
                      <a:pt x="29" y="36"/>
                    </a:cubicBezTo>
                    <a:cubicBezTo>
                      <a:pt x="28" y="43"/>
                      <a:pt x="17" y="50"/>
                      <a:pt x="9" y="44"/>
                    </a:cubicBezTo>
                    <a:cubicBezTo>
                      <a:pt x="0" y="38"/>
                      <a:pt x="9" y="27"/>
                      <a:pt x="9" y="27"/>
                    </a:cubicBezTo>
                    <a:cubicBezTo>
                      <a:pt x="9" y="27"/>
                      <a:pt x="9" y="23"/>
                      <a:pt x="6" y="15"/>
                    </a:cubicBezTo>
                    <a:cubicBezTo>
                      <a:pt x="3" y="6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" name="Freeform 15">
                <a:extLst>
                  <a:ext uri="{FF2B5EF4-FFF2-40B4-BE49-F238E27FC236}">
                    <a16:creationId xmlns:a16="http://schemas.microsoft.com/office/drawing/2014/main" id="{A02BFDA0-1B15-0431-DB87-BA83D106D0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8449" y="3991928"/>
                <a:ext cx="175555" cy="128499"/>
              </a:xfrm>
              <a:custGeom>
                <a:avLst/>
                <a:gdLst>
                  <a:gd name="T0" fmla="*/ 131 w 427"/>
                  <a:gd name="T1" fmla="*/ 32 h 315"/>
                  <a:gd name="T2" fmla="*/ 58 w 427"/>
                  <a:gd name="T3" fmla="*/ 32 h 315"/>
                  <a:gd name="T4" fmla="*/ 0 w 427"/>
                  <a:gd name="T5" fmla="*/ 315 h 315"/>
                  <a:gd name="T6" fmla="*/ 74 w 427"/>
                  <a:gd name="T7" fmla="*/ 315 h 315"/>
                  <a:gd name="T8" fmla="*/ 113 w 427"/>
                  <a:gd name="T9" fmla="*/ 122 h 315"/>
                  <a:gd name="T10" fmla="*/ 173 w 427"/>
                  <a:gd name="T11" fmla="*/ 101 h 315"/>
                  <a:gd name="T12" fmla="*/ 191 w 427"/>
                  <a:gd name="T13" fmla="*/ 121 h 315"/>
                  <a:gd name="T14" fmla="*/ 149 w 427"/>
                  <a:gd name="T15" fmla="*/ 313 h 315"/>
                  <a:gd name="T16" fmla="*/ 224 w 427"/>
                  <a:gd name="T17" fmla="*/ 313 h 315"/>
                  <a:gd name="T18" fmla="*/ 265 w 427"/>
                  <a:gd name="T19" fmla="*/ 127 h 315"/>
                  <a:gd name="T20" fmla="*/ 329 w 427"/>
                  <a:gd name="T21" fmla="*/ 103 h 315"/>
                  <a:gd name="T22" fmla="*/ 340 w 427"/>
                  <a:gd name="T23" fmla="*/ 127 h 315"/>
                  <a:gd name="T24" fmla="*/ 300 w 427"/>
                  <a:gd name="T25" fmla="*/ 313 h 315"/>
                  <a:gd name="T26" fmla="*/ 375 w 427"/>
                  <a:gd name="T27" fmla="*/ 313 h 315"/>
                  <a:gd name="T28" fmla="*/ 417 w 427"/>
                  <a:gd name="T29" fmla="*/ 106 h 315"/>
                  <a:gd name="T30" fmla="*/ 401 w 427"/>
                  <a:gd name="T31" fmla="*/ 45 h 315"/>
                  <a:gd name="T32" fmla="*/ 254 w 427"/>
                  <a:gd name="T33" fmla="*/ 58 h 315"/>
                  <a:gd name="T34" fmla="*/ 195 w 427"/>
                  <a:gd name="T35" fmla="*/ 28 h 315"/>
                  <a:gd name="T36" fmla="*/ 129 w 427"/>
                  <a:gd name="T37" fmla="*/ 49 h 315"/>
                  <a:gd name="T38" fmla="*/ 131 w 427"/>
                  <a:gd name="T39" fmla="*/ 3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7" h="315">
                    <a:moveTo>
                      <a:pt x="131" y="32"/>
                    </a:moveTo>
                    <a:lnTo>
                      <a:pt x="58" y="32"/>
                    </a:lnTo>
                    <a:lnTo>
                      <a:pt x="0" y="315"/>
                    </a:lnTo>
                    <a:lnTo>
                      <a:pt x="74" y="315"/>
                    </a:lnTo>
                    <a:lnTo>
                      <a:pt x="113" y="122"/>
                    </a:lnTo>
                    <a:cubicBezTo>
                      <a:pt x="139" y="110"/>
                      <a:pt x="142" y="101"/>
                      <a:pt x="173" y="101"/>
                    </a:cubicBezTo>
                    <a:cubicBezTo>
                      <a:pt x="197" y="101"/>
                      <a:pt x="191" y="121"/>
                      <a:pt x="191" y="121"/>
                    </a:cubicBezTo>
                    <a:lnTo>
                      <a:pt x="149" y="313"/>
                    </a:lnTo>
                    <a:lnTo>
                      <a:pt x="224" y="313"/>
                    </a:lnTo>
                    <a:lnTo>
                      <a:pt x="265" y="127"/>
                    </a:lnTo>
                    <a:cubicBezTo>
                      <a:pt x="270" y="121"/>
                      <a:pt x="310" y="101"/>
                      <a:pt x="329" y="103"/>
                    </a:cubicBezTo>
                    <a:cubicBezTo>
                      <a:pt x="347" y="105"/>
                      <a:pt x="340" y="127"/>
                      <a:pt x="340" y="127"/>
                    </a:cubicBezTo>
                    <a:lnTo>
                      <a:pt x="300" y="313"/>
                    </a:lnTo>
                    <a:lnTo>
                      <a:pt x="375" y="313"/>
                    </a:lnTo>
                    <a:lnTo>
                      <a:pt x="417" y="106"/>
                    </a:lnTo>
                    <a:cubicBezTo>
                      <a:pt x="417" y="106"/>
                      <a:pt x="427" y="65"/>
                      <a:pt x="401" y="45"/>
                    </a:cubicBezTo>
                    <a:cubicBezTo>
                      <a:pt x="344" y="0"/>
                      <a:pt x="265" y="57"/>
                      <a:pt x="254" y="58"/>
                    </a:cubicBezTo>
                    <a:cubicBezTo>
                      <a:pt x="252" y="55"/>
                      <a:pt x="237" y="31"/>
                      <a:pt x="195" y="28"/>
                    </a:cubicBezTo>
                    <a:cubicBezTo>
                      <a:pt x="165" y="25"/>
                      <a:pt x="129" y="49"/>
                      <a:pt x="129" y="49"/>
                    </a:cubicBezTo>
                    <a:lnTo>
                      <a:pt x="131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" name="Freeform 16">
                <a:extLst>
                  <a:ext uri="{FF2B5EF4-FFF2-40B4-BE49-F238E27FC236}">
                    <a16:creationId xmlns:a16="http://schemas.microsoft.com/office/drawing/2014/main" id="{014581AC-34E0-A0EA-9A7D-836F65F01A7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04993" y="4055271"/>
                <a:ext cx="57915" cy="76013"/>
              </a:xfrm>
              <a:custGeom>
                <a:avLst/>
                <a:gdLst>
                  <a:gd name="T0" fmla="*/ 32 w 142"/>
                  <a:gd name="T1" fmla="*/ 103 h 184"/>
                  <a:gd name="T2" fmla="*/ 32 w 142"/>
                  <a:gd name="T3" fmla="*/ 159 h 184"/>
                  <a:gd name="T4" fmla="*/ 82 w 142"/>
                  <a:gd name="T5" fmla="*/ 159 h 184"/>
                  <a:gd name="T6" fmla="*/ 110 w 142"/>
                  <a:gd name="T7" fmla="*/ 135 h 184"/>
                  <a:gd name="T8" fmla="*/ 101 w 142"/>
                  <a:gd name="T9" fmla="*/ 115 h 184"/>
                  <a:gd name="T10" fmla="*/ 90 w 142"/>
                  <a:gd name="T11" fmla="*/ 103 h 184"/>
                  <a:gd name="T12" fmla="*/ 32 w 142"/>
                  <a:gd name="T13" fmla="*/ 103 h 184"/>
                  <a:gd name="T14" fmla="*/ 79 w 142"/>
                  <a:gd name="T15" fmla="*/ 24 h 184"/>
                  <a:gd name="T16" fmla="*/ 32 w 142"/>
                  <a:gd name="T17" fmla="*/ 24 h 184"/>
                  <a:gd name="T18" fmla="*/ 32 w 142"/>
                  <a:gd name="T19" fmla="*/ 80 h 184"/>
                  <a:gd name="T20" fmla="*/ 89 w 142"/>
                  <a:gd name="T21" fmla="*/ 80 h 184"/>
                  <a:gd name="T22" fmla="*/ 97 w 142"/>
                  <a:gd name="T23" fmla="*/ 68 h 184"/>
                  <a:gd name="T24" fmla="*/ 104 w 142"/>
                  <a:gd name="T25" fmla="*/ 47 h 184"/>
                  <a:gd name="T26" fmla="*/ 79 w 142"/>
                  <a:gd name="T27" fmla="*/ 24 h 184"/>
                  <a:gd name="T28" fmla="*/ 21 w 142"/>
                  <a:gd name="T29" fmla="*/ 184 h 184"/>
                  <a:gd name="T30" fmla="*/ 0 w 142"/>
                  <a:gd name="T31" fmla="*/ 164 h 184"/>
                  <a:gd name="T32" fmla="*/ 0 w 142"/>
                  <a:gd name="T33" fmla="*/ 20 h 184"/>
                  <a:gd name="T34" fmla="*/ 21 w 142"/>
                  <a:gd name="T35" fmla="*/ 0 h 184"/>
                  <a:gd name="T36" fmla="*/ 83 w 142"/>
                  <a:gd name="T37" fmla="*/ 0 h 184"/>
                  <a:gd name="T38" fmla="*/ 135 w 142"/>
                  <a:gd name="T39" fmla="*/ 46 h 184"/>
                  <a:gd name="T40" fmla="*/ 124 w 142"/>
                  <a:gd name="T41" fmla="*/ 78 h 184"/>
                  <a:gd name="T42" fmla="*/ 115 w 142"/>
                  <a:gd name="T43" fmla="*/ 90 h 184"/>
                  <a:gd name="T44" fmla="*/ 127 w 142"/>
                  <a:gd name="T45" fmla="*/ 102 h 184"/>
                  <a:gd name="T46" fmla="*/ 142 w 142"/>
                  <a:gd name="T47" fmla="*/ 136 h 184"/>
                  <a:gd name="T48" fmla="*/ 84 w 142"/>
                  <a:gd name="T49" fmla="*/ 184 h 184"/>
                  <a:gd name="T50" fmla="*/ 21 w 142"/>
                  <a:gd name="T51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2" h="184">
                    <a:moveTo>
                      <a:pt x="32" y="103"/>
                    </a:moveTo>
                    <a:lnTo>
                      <a:pt x="32" y="159"/>
                    </a:lnTo>
                    <a:lnTo>
                      <a:pt x="82" y="159"/>
                    </a:lnTo>
                    <a:cubicBezTo>
                      <a:pt x="100" y="159"/>
                      <a:pt x="110" y="150"/>
                      <a:pt x="110" y="135"/>
                    </a:cubicBezTo>
                    <a:cubicBezTo>
                      <a:pt x="110" y="128"/>
                      <a:pt x="107" y="121"/>
                      <a:pt x="101" y="115"/>
                    </a:cubicBezTo>
                    <a:lnTo>
                      <a:pt x="90" y="103"/>
                    </a:lnTo>
                    <a:lnTo>
                      <a:pt x="32" y="103"/>
                    </a:lnTo>
                    <a:close/>
                    <a:moveTo>
                      <a:pt x="79" y="24"/>
                    </a:moveTo>
                    <a:lnTo>
                      <a:pt x="32" y="24"/>
                    </a:lnTo>
                    <a:lnTo>
                      <a:pt x="32" y="80"/>
                    </a:lnTo>
                    <a:lnTo>
                      <a:pt x="89" y="80"/>
                    </a:lnTo>
                    <a:lnTo>
                      <a:pt x="97" y="68"/>
                    </a:lnTo>
                    <a:cubicBezTo>
                      <a:pt x="102" y="62"/>
                      <a:pt x="104" y="55"/>
                      <a:pt x="104" y="47"/>
                    </a:cubicBezTo>
                    <a:cubicBezTo>
                      <a:pt x="104" y="34"/>
                      <a:pt x="97" y="24"/>
                      <a:pt x="79" y="24"/>
                    </a:cubicBezTo>
                    <a:close/>
                    <a:moveTo>
                      <a:pt x="21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20"/>
                    </a:lnTo>
                    <a:cubicBezTo>
                      <a:pt x="0" y="8"/>
                      <a:pt x="8" y="0"/>
                      <a:pt x="21" y="0"/>
                    </a:cubicBezTo>
                    <a:lnTo>
                      <a:pt x="83" y="0"/>
                    </a:lnTo>
                    <a:cubicBezTo>
                      <a:pt x="116" y="0"/>
                      <a:pt x="135" y="15"/>
                      <a:pt x="135" y="46"/>
                    </a:cubicBezTo>
                    <a:cubicBezTo>
                      <a:pt x="135" y="58"/>
                      <a:pt x="131" y="69"/>
                      <a:pt x="124" y="78"/>
                    </a:cubicBezTo>
                    <a:lnTo>
                      <a:pt x="115" y="90"/>
                    </a:lnTo>
                    <a:lnTo>
                      <a:pt x="127" y="102"/>
                    </a:lnTo>
                    <a:cubicBezTo>
                      <a:pt x="136" y="111"/>
                      <a:pt x="142" y="123"/>
                      <a:pt x="142" y="136"/>
                    </a:cubicBezTo>
                    <a:cubicBezTo>
                      <a:pt x="142" y="166"/>
                      <a:pt x="121" y="184"/>
                      <a:pt x="84" y="184"/>
                    </a:cubicBezTo>
                    <a:lnTo>
                      <a:pt x="21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17">
                <a:extLst>
                  <a:ext uri="{FF2B5EF4-FFF2-40B4-BE49-F238E27FC236}">
                    <a16:creationId xmlns:a16="http://schemas.microsoft.com/office/drawing/2014/main" id="{69624B74-B9F6-1417-B0E5-39C5B840D9C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71956" y="4075180"/>
                <a:ext cx="52486" cy="56105"/>
              </a:xfrm>
              <a:custGeom>
                <a:avLst/>
                <a:gdLst>
                  <a:gd name="T0" fmla="*/ 65 w 130"/>
                  <a:gd name="T1" fmla="*/ 22 h 138"/>
                  <a:gd name="T2" fmla="*/ 30 w 130"/>
                  <a:gd name="T3" fmla="*/ 69 h 138"/>
                  <a:gd name="T4" fmla="*/ 66 w 130"/>
                  <a:gd name="T5" fmla="*/ 116 h 138"/>
                  <a:gd name="T6" fmla="*/ 102 w 130"/>
                  <a:gd name="T7" fmla="*/ 69 h 138"/>
                  <a:gd name="T8" fmla="*/ 65 w 130"/>
                  <a:gd name="T9" fmla="*/ 22 h 138"/>
                  <a:gd name="T10" fmla="*/ 65 w 130"/>
                  <a:gd name="T11" fmla="*/ 138 h 138"/>
                  <a:gd name="T12" fmla="*/ 0 w 130"/>
                  <a:gd name="T13" fmla="*/ 69 h 138"/>
                  <a:gd name="T14" fmla="*/ 66 w 130"/>
                  <a:gd name="T15" fmla="*/ 0 h 138"/>
                  <a:gd name="T16" fmla="*/ 130 w 130"/>
                  <a:gd name="T17" fmla="*/ 69 h 138"/>
                  <a:gd name="T18" fmla="*/ 65 w 130"/>
                  <a:gd name="T1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8">
                    <a:moveTo>
                      <a:pt x="65" y="22"/>
                    </a:moveTo>
                    <a:cubicBezTo>
                      <a:pt x="41" y="22"/>
                      <a:pt x="30" y="39"/>
                      <a:pt x="30" y="69"/>
                    </a:cubicBezTo>
                    <a:cubicBezTo>
                      <a:pt x="30" y="100"/>
                      <a:pt x="42" y="116"/>
                      <a:pt x="66" y="116"/>
                    </a:cubicBezTo>
                    <a:cubicBezTo>
                      <a:pt x="89" y="116"/>
                      <a:pt x="102" y="100"/>
                      <a:pt x="102" y="69"/>
                    </a:cubicBezTo>
                    <a:cubicBezTo>
                      <a:pt x="102" y="39"/>
                      <a:pt x="88" y="22"/>
                      <a:pt x="65" y="22"/>
                    </a:cubicBezTo>
                    <a:close/>
                    <a:moveTo>
                      <a:pt x="65" y="138"/>
                    </a:moveTo>
                    <a:cubicBezTo>
                      <a:pt x="25" y="138"/>
                      <a:pt x="0" y="113"/>
                      <a:pt x="0" y="69"/>
                    </a:cubicBezTo>
                    <a:cubicBezTo>
                      <a:pt x="0" y="25"/>
                      <a:pt x="26" y="0"/>
                      <a:pt x="66" y="0"/>
                    </a:cubicBezTo>
                    <a:cubicBezTo>
                      <a:pt x="106" y="0"/>
                      <a:pt x="130" y="25"/>
                      <a:pt x="130" y="69"/>
                    </a:cubicBezTo>
                    <a:cubicBezTo>
                      <a:pt x="130" y="113"/>
                      <a:pt x="105" y="138"/>
                      <a:pt x="65" y="1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" name="Freeform 18">
                <a:extLst>
                  <a:ext uri="{FF2B5EF4-FFF2-40B4-BE49-F238E27FC236}">
                    <a16:creationId xmlns:a16="http://schemas.microsoft.com/office/drawing/2014/main" id="{0F401AF3-903D-528B-0D96-E49DFA1508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29871" y="4062511"/>
                <a:ext cx="39816" cy="68774"/>
              </a:xfrm>
              <a:custGeom>
                <a:avLst/>
                <a:gdLst>
                  <a:gd name="T0" fmla="*/ 95 w 95"/>
                  <a:gd name="T1" fmla="*/ 165 h 170"/>
                  <a:gd name="T2" fmla="*/ 63 w 95"/>
                  <a:gd name="T3" fmla="*/ 170 h 170"/>
                  <a:gd name="T4" fmla="*/ 20 w 95"/>
                  <a:gd name="T5" fmla="*/ 123 h 170"/>
                  <a:gd name="T6" fmla="*/ 20 w 95"/>
                  <a:gd name="T7" fmla="*/ 58 h 170"/>
                  <a:gd name="T8" fmla="*/ 0 w 95"/>
                  <a:gd name="T9" fmla="*/ 58 h 170"/>
                  <a:gd name="T10" fmla="*/ 0 w 95"/>
                  <a:gd name="T11" fmla="*/ 35 h 170"/>
                  <a:gd name="T12" fmla="*/ 20 w 95"/>
                  <a:gd name="T13" fmla="*/ 35 h 170"/>
                  <a:gd name="T14" fmla="*/ 20 w 95"/>
                  <a:gd name="T15" fmla="*/ 5 h 170"/>
                  <a:gd name="T16" fmla="*/ 48 w 95"/>
                  <a:gd name="T17" fmla="*/ 0 h 170"/>
                  <a:gd name="T18" fmla="*/ 48 w 95"/>
                  <a:gd name="T19" fmla="*/ 35 h 170"/>
                  <a:gd name="T20" fmla="*/ 91 w 95"/>
                  <a:gd name="T21" fmla="*/ 35 h 170"/>
                  <a:gd name="T22" fmla="*/ 91 w 95"/>
                  <a:gd name="T23" fmla="*/ 58 h 170"/>
                  <a:gd name="T24" fmla="*/ 48 w 95"/>
                  <a:gd name="T25" fmla="*/ 58 h 170"/>
                  <a:gd name="T26" fmla="*/ 48 w 95"/>
                  <a:gd name="T27" fmla="*/ 124 h 170"/>
                  <a:gd name="T28" fmla="*/ 67 w 95"/>
                  <a:gd name="T29" fmla="*/ 147 h 170"/>
                  <a:gd name="T30" fmla="*/ 91 w 95"/>
                  <a:gd name="T31" fmla="*/ 143 h 170"/>
                  <a:gd name="T32" fmla="*/ 95 w 95"/>
                  <a:gd name="T33" fmla="*/ 16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70">
                    <a:moveTo>
                      <a:pt x="95" y="165"/>
                    </a:moveTo>
                    <a:cubicBezTo>
                      <a:pt x="81" y="169"/>
                      <a:pt x="72" y="170"/>
                      <a:pt x="63" y="170"/>
                    </a:cubicBezTo>
                    <a:cubicBezTo>
                      <a:pt x="34" y="170"/>
                      <a:pt x="20" y="154"/>
                      <a:pt x="20" y="123"/>
                    </a:cubicBezTo>
                    <a:lnTo>
                      <a:pt x="20" y="58"/>
                    </a:lnTo>
                    <a:lnTo>
                      <a:pt x="0" y="58"/>
                    </a:lnTo>
                    <a:lnTo>
                      <a:pt x="0" y="35"/>
                    </a:lnTo>
                    <a:lnTo>
                      <a:pt x="20" y="35"/>
                    </a:lnTo>
                    <a:lnTo>
                      <a:pt x="20" y="5"/>
                    </a:lnTo>
                    <a:lnTo>
                      <a:pt x="48" y="0"/>
                    </a:lnTo>
                    <a:lnTo>
                      <a:pt x="48" y="35"/>
                    </a:lnTo>
                    <a:lnTo>
                      <a:pt x="91" y="35"/>
                    </a:lnTo>
                    <a:lnTo>
                      <a:pt x="91" y="58"/>
                    </a:lnTo>
                    <a:lnTo>
                      <a:pt x="48" y="58"/>
                    </a:lnTo>
                    <a:lnTo>
                      <a:pt x="48" y="124"/>
                    </a:lnTo>
                    <a:cubicBezTo>
                      <a:pt x="48" y="138"/>
                      <a:pt x="53" y="147"/>
                      <a:pt x="67" y="147"/>
                    </a:cubicBezTo>
                    <a:cubicBezTo>
                      <a:pt x="73" y="147"/>
                      <a:pt x="81" y="145"/>
                      <a:pt x="91" y="143"/>
                    </a:cubicBezTo>
                    <a:lnTo>
                      <a:pt x="95" y="1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2" name="Freeform 19">
                <a:extLst>
                  <a:ext uri="{FF2B5EF4-FFF2-40B4-BE49-F238E27FC236}">
                    <a16:creationId xmlns:a16="http://schemas.microsoft.com/office/drawing/2014/main" id="{FB920B78-C48E-5437-4452-9042EB0CCB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76927" y="4075180"/>
                <a:ext cx="45246" cy="56105"/>
              </a:xfrm>
              <a:custGeom>
                <a:avLst/>
                <a:gdLst>
                  <a:gd name="T0" fmla="*/ 72 w 110"/>
                  <a:gd name="T1" fmla="*/ 60 h 138"/>
                  <a:gd name="T2" fmla="*/ 110 w 110"/>
                  <a:gd name="T3" fmla="*/ 97 h 138"/>
                  <a:gd name="T4" fmla="*/ 60 w 110"/>
                  <a:gd name="T5" fmla="*/ 138 h 138"/>
                  <a:gd name="T6" fmla="*/ 11 w 110"/>
                  <a:gd name="T7" fmla="*/ 130 h 138"/>
                  <a:gd name="T8" fmla="*/ 0 w 110"/>
                  <a:gd name="T9" fmla="*/ 127 h 138"/>
                  <a:gd name="T10" fmla="*/ 4 w 110"/>
                  <a:gd name="T11" fmla="*/ 104 h 138"/>
                  <a:gd name="T12" fmla="*/ 16 w 110"/>
                  <a:gd name="T13" fmla="*/ 107 h 138"/>
                  <a:gd name="T14" fmla="*/ 59 w 110"/>
                  <a:gd name="T15" fmla="*/ 115 h 138"/>
                  <a:gd name="T16" fmla="*/ 82 w 110"/>
                  <a:gd name="T17" fmla="*/ 98 h 138"/>
                  <a:gd name="T18" fmla="*/ 63 w 110"/>
                  <a:gd name="T19" fmla="*/ 83 h 138"/>
                  <a:gd name="T20" fmla="*/ 38 w 110"/>
                  <a:gd name="T21" fmla="*/ 78 h 138"/>
                  <a:gd name="T22" fmla="*/ 0 w 110"/>
                  <a:gd name="T23" fmla="*/ 41 h 138"/>
                  <a:gd name="T24" fmla="*/ 50 w 110"/>
                  <a:gd name="T25" fmla="*/ 0 h 138"/>
                  <a:gd name="T26" fmla="*/ 99 w 110"/>
                  <a:gd name="T27" fmla="*/ 8 h 138"/>
                  <a:gd name="T28" fmla="*/ 110 w 110"/>
                  <a:gd name="T29" fmla="*/ 12 h 138"/>
                  <a:gd name="T30" fmla="*/ 106 w 110"/>
                  <a:gd name="T31" fmla="*/ 35 h 138"/>
                  <a:gd name="T32" fmla="*/ 94 w 110"/>
                  <a:gd name="T33" fmla="*/ 31 h 138"/>
                  <a:gd name="T34" fmla="*/ 51 w 110"/>
                  <a:gd name="T35" fmla="*/ 23 h 138"/>
                  <a:gd name="T36" fmla="*/ 28 w 110"/>
                  <a:gd name="T37" fmla="*/ 40 h 138"/>
                  <a:gd name="T38" fmla="*/ 47 w 110"/>
                  <a:gd name="T39" fmla="*/ 56 h 138"/>
                  <a:gd name="T40" fmla="*/ 72 w 110"/>
                  <a:gd name="T41" fmla="*/ 6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0" h="138">
                    <a:moveTo>
                      <a:pt x="72" y="60"/>
                    </a:moveTo>
                    <a:cubicBezTo>
                      <a:pt x="96" y="64"/>
                      <a:pt x="110" y="76"/>
                      <a:pt x="110" y="97"/>
                    </a:cubicBezTo>
                    <a:cubicBezTo>
                      <a:pt x="110" y="125"/>
                      <a:pt x="87" y="138"/>
                      <a:pt x="60" y="138"/>
                    </a:cubicBezTo>
                    <a:cubicBezTo>
                      <a:pt x="42" y="138"/>
                      <a:pt x="28" y="136"/>
                      <a:pt x="11" y="130"/>
                    </a:cubicBezTo>
                    <a:lnTo>
                      <a:pt x="0" y="127"/>
                    </a:lnTo>
                    <a:lnTo>
                      <a:pt x="4" y="104"/>
                    </a:lnTo>
                    <a:lnTo>
                      <a:pt x="16" y="107"/>
                    </a:lnTo>
                    <a:cubicBezTo>
                      <a:pt x="30" y="112"/>
                      <a:pt x="45" y="115"/>
                      <a:pt x="59" y="115"/>
                    </a:cubicBezTo>
                    <a:cubicBezTo>
                      <a:pt x="72" y="115"/>
                      <a:pt x="82" y="111"/>
                      <a:pt x="82" y="98"/>
                    </a:cubicBezTo>
                    <a:cubicBezTo>
                      <a:pt x="82" y="90"/>
                      <a:pt x="77" y="85"/>
                      <a:pt x="63" y="83"/>
                    </a:cubicBezTo>
                    <a:lnTo>
                      <a:pt x="38" y="78"/>
                    </a:lnTo>
                    <a:cubicBezTo>
                      <a:pt x="13" y="74"/>
                      <a:pt x="0" y="62"/>
                      <a:pt x="0" y="41"/>
                    </a:cubicBezTo>
                    <a:cubicBezTo>
                      <a:pt x="0" y="14"/>
                      <a:pt x="23" y="0"/>
                      <a:pt x="50" y="0"/>
                    </a:cubicBezTo>
                    <a:cubicBezTo>
                      <a:pt x="68" y="0"/>
                      <a:pt x="82" y="3"/>
                      <a:pt x="99" y="8"/>
                    </a:cubicBezTo>
                    <a:lnTo>
                      <a:pt x="110" y="12"/>
                    </a:lnTo>
                    <a:lnTo>
                      <a:pt x="106" y="35"/>
                    </a:lnTo>
                    <a:lnTo>
                      <a:pt x="94" y="31"/>
                    </a:lnTo>
                    <a:cubicBezTo>
                      <a:pt x="79" y="27"/>
                      <a:pt x="65" y="23"/>
                      <a:pt x="51" y="23"/>
                    </a:cubicBezTo>
                    <a:cubicBezTo>
                      <a:pt x="38" y="23"/>
                      <a:pt x="28" y="28"/>
                      <a:pt x="28" y="40"/>
                    </a:cubicBezTo>
                    <a:cubicBezTo>
                      <a:pt x="28" y="49"/>
                      <a:pt x="33" y="54"/>
                      <a:pt x="47" y="56"/>
                    </a:cubicBezTo>
                    <a:lnTo>
                      <a:pt x="72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" name="Freeform 20">
                <a:extLst>
                  <a:ext uri="{FF2B5EF4-FFF2-40B4-BE49-F238E27FC236}">
                    <a16:creationId xmlns:a16="http://schemas.microsoft.com/office/drawing/2014/main" id="{E39DB31C-E74E-E1A4-0DF5-16427C411D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29413" y="4075180"/>
                <a:ext cx="76013" cy="57915"/>
              </a:xfrm>
              <a:custGeom>
                <a:avLst/>
                <a:gdLst>
                  <a:gd name="T0" fmla="*/ 160 w 186"/>
                  <a:gd name="T1" fmla="*/ 123 h 138"/>
                  <a:gd name="T2" fmla="*/ 140 w 186"/>
                  <a:gd name="T3" fmla="*/ 138 h 138"/>
                  <a:gd name="T4" fmla="*/ 119 w 186"/>
                  <a:gd name="T5" fmla="*/ 124 h 138"/>
                  <a:gd name="T6" fmla="*/ 93 w 186"/>
                  <a:gd name="T7" fmla="*/ 42 h 138"/>
                  <a:gd name="T8" fmla="*/ 66 w 186"/>
                  <a:gd name="T9" fmla="*/ 124 h 138"/>
                  <a:gd name="T10" fmla="*/ 45 w 186"/>
                  <a:gd name="T11" fmla="*/ 138 h 138"/>
                  <a:gd name="T12" fmla="*/ 25 w 186"/>
                  <a:gd name="T13" fmla="*/ 123 h 138"/>
                  <a:gd name="T14" fmla="*/ 0 w 186"/>
                  <a:gd name="T15" fmla="*/ 1 h 138"/>
                  <a:gd name="T16" fmla="*/ 30 w 186"/>
                  <a:gd name="T17" fmla="*/ 1 h 138"/>
                  <a:gd name="T18" fmla="*/ 48 w 186"/>
                  <a:gd name="T19" fmla="*/ 105 h 138"/>
                  <a:gd name="T20" fmla="*/ 77 w 186"/>
                  <a:gd name="T21" fmla="*/ 11 h 138"/>
                  <a:gd name="T22" fmla="*/ 93 w 186"/>
                  <a:gd name="T23" fmla="*/ 0 h 138"/>
                  <a:gd name="T24" fmla="*/ 110 w 186"/>
                  <a:gd name="T25" fmla="*/ 11 h 138"/>
                  <a:gd name="T26" fmla="*/ 139 w 186"/>
                  <a:gd name="T27" fmla="*/ 105 h 138"/>
                  <a:gd name="T28" fmla="*/ 157 w 186"/>
                  <a:gd name="T29" fmla="*/ 1 h 138"/>
                  <a:gd name="T30" fmla="*/ 186 w 186"/>
                  <a:gd name="T31" fmla="*/ 1 h 138"/>
                  <a:gd name="T32" fmla="*/ 160 w 186"/>
                  <a:gd name="T33" fmla="*/ 123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6" h="138">
                    <a:moveTo>
                      <a:pt x="160" y="123"/>
                    </a:moveTo>
                    <a:cubicBezTo>
                      <a:pt x="158" y="132"/>
                      <a:pt x="150" y="138"/>
                      <a:pt x="140" y="138"/>
                    </a:cubicBezTo>
                    <a:cubicBezTo>
                      <a:pt x="127" y="138"/>
                      <a:pt x="122" y="133"/>
                      <a:pt x="119" y="124"/>
                    </a:cubicBezTo>
                    <a:lnTo>
                      <a:pt x="93" y="42"/>
                    </a:lnTo>
                    <a:lnTo>
                      <a:pt x="66" y="124"/>
                    </a:lnTo>
                    <a:cubicBezTo>
                      <a:pt x="63" y="134"/>
                      <a:pt x="56" y="138"/>
                      <a:pt x="45" y="138"/>
                    </a:cubicBezTo>
                    <a:cubicBezTo>
                      <a:pt x="34" y="138"/>
                      <a:pt x="27" y="133"/>
                      <a:pt x="25" y="123"/>
                    </a:cubicBezTo>
                    <a:lnTo>
                      <a:pt x="0" y="1"/>
                    </a:lnTo>
                    <a:lnTo>
                      <a:pt x="30" y="1"/>
                    </a:lnTo>
                    <a:lnTo>
                      <a:pt x="48" y="105"/>
                    </a:lnTo>
                    <a:lnTo>
                      <a:pt x="77" y="11"/>
                    </a:lnTo>
                    <a:cubicBezTo>
                      <a:pt x="79" y="4"/>
                      <a:pt x="85" y="0"/>
                      <a:pt x="93" y="0"/>
                    </a:cubicBezTo>
                    <a:cubicBezTo>
                      <a:pt x="102" y="0"/>
                      <a:pt x="107" y="4"/>
                      <a:pt x="110" y="11"/>
                    </a:cubicBezTo>
                    <a:lnTo>
                      <a:pt x="139" y="105"/>
                    </a:lnTo>
                    <a:lnTo>
                      <a:pt x="157" y="1"/>
                    </a:lnTo>
                    <a:lnTo>
                      <a:pt x="186" y="1"/>
                    </a:lnTo>
                    <a:lnTo>
                      <a:pt x="160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" name="Freeform 21">
                <a:extLst>
                  <a:ext uri="{FF2B5EF4-FFF2-40B4-BE49-F238E27FC236}">
                    <a16:creationId xmlns:a16="http://schemas.microsoft.com/office/drawing/2014/main" id="{C221F4F9-83AE-4628-04E4-42938127B44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10855" y="4075180"/>
                <a:ext cx="54295" cy="57915"/>
              </a:xfrm>
              <a:custGeom>
                <a:avLst/>
                <a:gdLst>
                  <a:gd name="T0" fmla="*/ 90 w 132"/>
                  <a:gd name="T1" fmla="*/ 79 h 139"/>
                  <a:gd name="T2" fmla="*/ 57 w 132"/>
                  <a:gd name="T3" fmla="*/ 79 h 139"/>
                  <a:gd name="T4" fmla="*/ 29 w 132"/>
                  <a:gd name="T5" fmla="*/ 99 h 139"/>
                  <a:gd name="T6" fmla="*/ 52 w 132"/>
                  <a:gd name="T7" fmla="*/ 117 h 139"/>
                  <a:gd name="T8" fmla="*/ 78 w 132"/>
                  <a:gd name="T9" fmla="*/ 113 h 139"/>
                  <a:gd name="T10" fmla="*/ 90 w 132"/>
                  <a:gd name="T11" fmla="*/ 110 h 139"/>
                  <a:gd name="T12" fmla="*/ 90 w 132"/>
                  <a:gd name="T13" fmla="*/ 79 h 139"/>
                  <a:gd name="T14" fmla="*/ 122 w 132"/>
                  <a:gd name="T15" fmla="*/ 139 h 139"/>
                  <a:gd name="T16" fmla="*/ 110 w 132"/>
                  <a:gd name="T17" fmla="*/ 133 h 139"/>
                  <a:gd name="T18" fmla="*/ 91 w 132"/>
                  <a:gd name="T19" fmla="*/ 131 h 139"/>
                  <a:gd name="T20" fmla="*/ 82 w 132"/>
                  <a:gd name="T21" fmla="*/ 133 h 139"/>
                  <a:gd name="T22" fmla="*/ 47 w 132"/>
                  <a:gd name="T23" fmla="*/ 138 h 139"/>
                  <a:gd name="T24" fmla="*/ 0 w 132"/>
                  <a:gd name="T25" fmla="*/ 100 h 139"/>
                  <a:gd name="T26" fmla="*/ 61 w 132"/>
                  <a:gd name="T27" fmla="*/ 58 h 139"/>
                  <a:gd name="T28" fmla="*/ 90 w 132"/>
                  <a:gd name="T29" fmla="*/ 58 h 139"/>
                  <a:gd name="T30" fmla="*/ 90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7 w 132"/>
                  <a:gd name="T45" fmla="*/ 46 h 139"/>
                  <a:gd name="T46" fmla="*/ 117 w 132"/>
                  <a:gd name="T47" fmla="*/ 111 h 139"/>
                  <a:gd name="T48" fmla="*/ 132 w 132"/>
                  <a:gd name="T49" fmla="*/ 120 h 139"/>
                  <a:gd name="T50" fmla="*/ 122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90" y="79"/>
                    </a:moveTo>
                    <a:lnTo>
                      <a:pt x="57" y="79"/>
                    </a:lnTo>
                    <a:cubicBezTo>
                      <a:pt x="39" y="79"/>
                      <a:pt x="29" y="84"/>
                      <a:pt x="29" y="99"/>
                    </a:cubicBezTo>
                    <a:cubicBezTo>
                      <a:pt x="29" y="111"/>
                      <a:pt x="37" y="117"/>
                      <a:pt x="52" y="117"/>
                    </a:cubicBezTo>
                    <a:cubicBezTo>
                      <a:pt x="58" y="117"/>
                      <a:pt x="68" y="115"/>
                      <a:pt x="78" y="113"/>
                    </a:cubicBezTo>
                    <a:lnTo>
                      <a:pt x="90" y="110"/>
                    </a:lnTo>
                    <a:lnTo>
                      <a:pt x="90" y="79"/>
                    </a:lnTo>
                    <a:close/>
                    <a:moveTo>
                      <a:pt x="122" y="139"/>
                    </a:moveTo>
                    <a:lnTo>
                      <a:pt x="110" y="133"/>
                    </a:lnTo>
                    <a:cubicBezTo>
                      <a:pt x="104" y="130"/>
                      <a:pt x="98" y="129"/>
                      <a:pt x="91" y="131"/>
                    </a:cubicBezTo>
                    <a:lnTo>
                      <a:pt x="82" y="133"/>
                    </a:lnTo>
                    <a:cubicBezTo>
                      <a:pt x="71" y="136"/>
                      <a:pt x="57" y="138"/>
                      <a:pt x="47" y="138"/>
                    </a:cubicBezTo>
                    <a:cubicBezTo>
                      <a:pt x="18" y="138"/>
                      <a:pt x="0" y="124"/>
                      <a:pt x="0" y="100"/>
                    </a:cubicBezTo>
                    <a:cubicBezTo>
                      <a:pt x="0" y="66"/>
                      <a:pt x="29" y="58"/>
                      <a:pt x="61" y="58"/>
                    </a:cubicBezTo>
                    <a:lnTo>
                      <a:pt x="90" y="58"/>
                    </a:lnTo>
                    <a:lnTo>
                      <a:pt x="90" y="47"/>
                    </a:lnTo>
                    <a:cubicBezTo>
                      <a:pt x="90" y="30"/>
                      <a:pt x="79" y="24"/>
                      <a:pt x="63" y="24"/>
                    </a:cubicBezTo>
                    <a:cubicBezTo>
                      <a:pt x="52" y="24"/>
                      <a:pt x="37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5" y="3"/>
                      <a:pt x="50" y="0"/>
                      <a:pt x="65" y="0"/>
                    </a:cubicBezTo>
                    <a:cubicBezTo>
                      <a:pt x="95" y="0"/>
                      <a:pt x="117" y="13"/>
                      <a:pt x="117" y="46"/>
                    </a:cubicBezTo>
                    <a:lnTo>
                      <a:pt x="117" y="111"/>
                    </a:lnTo>
                    <a:lnTo>
                      <a:pt x="132" y="120"/>
                    </a:lnTo>
                    <a:lnTo>
                      <a:pt x="122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5" name="Freeform 22">
                <a:extLst>
                  <a:ext uri="{FF2B5EF4-FFF2-40B4-BE49-F238E27FC236}">
                    <a16:creationId xmlns:a16="http://schemas.microsoft.com/office/drawing/2014/main" id="{4062CD09-5F87-D0B3-2F52-A58BF33486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4199" y="4075180"/>
                <a:ext cx="45246" cy="56105"/>
              </a:xfrm>
              <a:custGeom>
                <a:avLst/>
                <a:gdLst>
                  <a:gd name="T0" fmla="*/ 28 w 113"/>
                  <a:gd name="T1" fmla="*/ 136 h 136"/>
                  <a:gd name="T2" fmla="*/ 0 w 113"/>
                  <a:gd name="T3" fmla="*/ 136 h 136"/>
                  <a:gd name="T4" fmla="*/ 0 w 113"/>
                  <a:gd name="T5" fmla="*/ 26 h 136"/>
                  <a:gd name="T6" fmla="*/ 16 w 113"/>
                  <a:gd name="T7" fmla="*/ 6 h 136"/>
                  <a:gd name="T8" fmla="*/ 59 w 113"/>
                  <a:gd name="T9" fmla="*/ 0 h 136"/>
                  <a:gd name="T10" fmla="*/ 113 w 113"/>
                  <a:gd name="T11" fmla="*/ 48 h 136"/>
                  <a:gd name="T12" fmla="*/ 113 w 113"/>
                  <a:gd name="T13" fmla="*/ 136 h 136"/>
                  <a:gd name="T14" fmla="*/ 84 w 113"/>
                  <a:gd name="T15" fmla="*/ 136 h 136"/>
                  <a:gd name="T16" fmla="*/ 84 w 113"/>
                  <a:gd name="T17" fmla="*/ 51 h 136"/>
                  <a:gd name="T18" fmla="*/ 58 w 113"/>
                  <a:gd name="T19" fmla="*/ 24 h 136"/>
                  <a:gd name="T20" fmla="*/ 28 w 113"/>
                  <a:gd name="T21" fmla="*/ 29 h 136"/>
                  <a:gd name="T22" fmla="*/ 28 w 113"/>
                  <a:gd name="T2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3" h="136">
                    <a:moveTo>
                      <a:pt x="28" y="136"/>
                    </a:moveTo>
                    <a:lnTo>
                      <a:pt x="0" y="136"/>
                    </a:lnTo>
                    <a:lnTo>
                      <a:pt x="0" y="26"/>
                    </a:lnTo>
                    <a:cubicBezTo>
                      <a:pt x="0" y="15"/>
                      <a:pt x="5" y="9"/>
                      <a:pt x="16" y="6"/>
                    </a:cubicBezTo>
                    <a:cubicBezTo>
                      <a:pt x="36" y="1"/>
                      <a:pt x="49" y="0"/>
                      <a:pt x="59" y="0"/>
                    </a:cubicBezTo>
                    <a:cubicBezTo>
                      <a:pt x="98" y="0"/>
                      <a:pt x="113" y="20"/>
                      <a:pt x="113" y="48"/>
                    </a:cubicBezTo>
                    <a:lnTo>
                      <a:pt x="113" y="136"/>
                    </a:lnTo>
                    <a:lnTo>
                      <a:pt x="84" y="136"/>
                    </a:lnTo>
                    <a:lnTo>
                      <a:pt x="84" y="51"/>
                    </a:lnTo>
                    <a:cubicBezTo>
                      <a:pt x="84" y="36"/>
                      <a:pt x="78" y="24"/>
                      <a:pt x="58" y="24"/>
                    </a:cubicBezTo>
                    <a:cubicBezTo>
                      <a:pt x="51" y="24"/>
                      <a:pt x="44" y="25"/>
                      <a:pt x="28" y="29"/>
                    </a:cubicBezTo>
                    <a:lnTo>
                      <a:pt x="2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6" name="Freeform 23">
                <a:extLst>
                  <a:ext uri="{FF2B5EF4-FFF2-40B4-BE49-F238E27FC236}">
                    <a16:creationId xmlns:a16="http://schemas.microsoft.com/office/drawing/2014/main" id="{0E777941-0ADC-82CE-74EA-1C3B2211F46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30304" y="4075180"/>
                <a:ext cx="54295" cy="57915"/>
              </a:xfrm>
              <a:custGeom>
                <a:avLst/>
                <a:gdLst>
                  <a:gd name="T0" fmla="*/ 89 w 132"/>
                  <a:gd name="T1" fmla="*/ 79 h 139"/>
                  <a:gd name="T2" fmla="*/ 56 w 132"/>
                  <a:gd name="T3" fmla="*/ 79 h 139"/>
                  <a:gd name="T4" fmla="*/ 28 w 132"/>
                  <a:gd name="T5" fmla="*/ 99 h 139"/>
                  <a:gd name="T6" fmla="*/ 51 w 132"/>
                  <a:gd name="T7" fmla="*/ 117 h 139"/>
                  <a:gd name="T8" fmla="*/ 77 w 132"/>
                  <a:gd name="T9" fmla="*/ 113 h 139"/>
                  <a:gd name="T10" fmla="*/ 89 w 132"/>
                  <a:gd name="T11" fmla="*/ 110 h 139"/>
                  <a:gd name="T12" fmla="*/ 89 w 132"/>
                  <a:gd name="T13" fmla="*/ 79 h 139"/>
                  <a:gd name="T14" fmla="*/ 121 w 132"/>
                  <a:gd name="T15" fmla="*/ 139 h 139"/>
                  <a:gd name="T16" fmla="*/ 109 w 132"/>
                  <a:gd name="T17" fmla="*/ 133 h 139"/>
                  <a:gd name="T18" fmla="*/ 90 w 132"/>
                  <a:gd name="T19" fmla="*/ 131 h 139"/>
                  <a:gd name="T20" fmla="*/ 82 w 132"/>
                  <a:gd name="T21" fmla="*/ 133 h 139"/>
                  <a:gd name="T22" fmla="*/ 46 w 132"/>
                  <a:gd name="T23" fmla="*/ 138 h 139"/>
                  <a:gd name="T24" fmla="*/ 0 w 132"/>
                  <a:gd name="T25" fmla="*/ 100 h 139"/>
                  <a:gd name="T26" fmla="*/ 60 w 132"/>
                  <a:gd name="T27" fmla="*/ 58 h 139"/>
                  <a:gd name="T28" fmla="*/ 89 w 132"/>
                  <a:gd name="T29" fmla="*/ 58 h 139"/>
                  <a:gd name="T30" fmla="*/ 89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6 w 132"/>
                  <a:gd name="T45" fmla="*/ 46 h 139"/>
                  <a:gd name="T46" fmla="*/ 116 w 132"/>
                  <a:gd name="T47" fmla="*/ 111 h 139"/>
                  <a:gd name="T48" fmla="*/ 132 w 132"/>
                  <a:gd name="T49" fmla="*/ 120 h 139"/>
                  <a:gd name="T50" fmla="*/ 121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89" y="79"/>
                    </a:moveTo>
                    <a:lnTo>
                      <a:pt x="56" y="79"/>
                    </a:lnTo>
                    <a:cubicBezTo>
                      <a:pt x="39" y="79"/>
                      <a:pt x="28" y="84"/>
                      <a:pt x="28" y="99"/>
                    </a:cubicBezTo>
                    <a:cubicBezTo>
                      <a:pt x="28" y="111"/>
                      <a:pt x="37" y="117"/>
                      <a:pt x="51" y="117"/>
                    </a:cubicBezTo>
                    <a:cubicBezTo>
                      <a:pt x="58" y="117"/>
                      <a:pt x="67" y="115"/>
                      <a:pt x="77" y="113"/>
                    </a:cubicBezTo>
                    <a:lnTo>
                      <a:pt x="89" y="110"/>
                    </a:lnTo>
                    <a:lnTo>
                      <a:pt x="89" y="79"/>
                    </a:lnTo>
                    <a:close/>
                    <a:moveTo>
                      <a:pt x="121" y="139"/>
                    </a:moveTo>
                    <a:lnTo>
                      <a:pt x="109" y="133"/>
                    </a:lnTo>
                    <a:cubicBezTo>
                      <a:pt x="103" y="130"/>
                      <a:pt x="97" y="129"/>
                      <a:pt x="90" y="131"/>
                    </a:cubicBezTo>
                    <a:lnTo>
                      <a:pt x="82" y="133"/>
                    </a:lnTo>
                    <a:cubicBezTo>
                      <a:pt x="70" y="136"/>
                      <a:pt x="56" y="138"/>
                      <a:pt x="46" y="138"/>
                    </a:cubicBezTo>
                    <a:cubicBezTo>
                      <a:pt x="17" y="138"/>
                      <a:pt x="0" y="124"/>
                      <a:pt x="0" y="100"/>
                    </a:cubicBezTo>
                    <a:cubicBezTo>
                      <a:pt x="0" y="66"/>
                      <a:pt x="28" y="58"/>
                      <a:pt x="60" y="58"/>
                    </a:cubicBezTo>
                    <a:lnTo>
                      <a:pt x="89" y="58"/>
                    </a:lnTo>
                    <a:lnTo>
                      <a:pt x="89" y="47"/>
                    </a:lnTo>
                    <a:cubicBezTo>
                      <a:pt x="89" y="30"/>
                      <a:pt x="78" y="24"/>
                      <a:pt x="63" y="24"/>
                    </a:cubicBezTo>
                    <a:cubicBezTo>
                      <a:pt x="51" y="24"/>
                      <a:pt x="36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4" y="3"/>
                      <a:pt x="50" y="0"/>
                      <a:pt x="65" y="0"/>
                    </a:cubicBezTo>
                    <a:cubicBezTo>
                      <a:pt x="94" y="0"/>
                      <a:pt x="116" y="13"/>
                      <a:pt x="116" y="46"/>
                    </a:cubicBezTo>
                    <a:lnTo>
                      <a:pt x="116" y="111"/>
                    </a:lnTo>
                    <a:lnTo>
                      <a:pt x="132" y="120"/>
                    </a:lnTo>
                    <a:lnTo>
                      <a:pt x="121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7" name="Freeform 24">
                <a:extLst>
                  <a:ext uri="{FF2B5EF4-FFF2-40B4-BE49-F238E27FC236}">
                    <a16:creationId xmlns:a16="http://schemas.microsoft.com/office/drawing/2014/main" id="{75CB649F-54B1-F6A3-A732-30BA69F715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17176" y="4055271"/>
                <a:ext cx="43436" cy="76013"/>
              </a:xfrm>
              <a:custGeom>
                <a:avLst/>
                <a:gdLst>
                  <a:gd name="T0" fmla="*/ 22 w 105"/>
                  <a:gd name="T1" fmla="*/ 184 h 184"/>
                  <a:gd name="T2" fmla="*/ 0 w 105"/>
                  <a:gd name="T3" fmla="*/ 164 h 184"/>
                  <a:gd name="T4" fmla="*/ 0 w 105"/>
                  <a:gd name="T5" fmla="*/ 0 h 184"/>
                  <a:gd name="T6" fmla="*/ 33 w 105"/>
                  <a:gd name="T7" fmla="*/ 0 h 184"/>
                  <a:gd name="T8" fmla="*/ 33 w 105"/>
                  <a:gd name="T9" fmla="*/ 156 h 184"/>
                  <a:gd name="T10" fmla="*/ 105 w 105"/>
                  <a:gd name="T11" fmla="*/ 156 h 184"/>
                  <a:gd name="T12" fmla="*/ 105 w 105"/>
                  <a:gd name="T13" fmla="*/ 184 h 184"/>
                  <a:gd name="T14" fmla="*/ 22 w 105"/>
                  <a:gd name="T15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" h="184">
                    <a:moveTo>
                      <a:pt x="22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0"/>
                    </a:lnTo>
                    <a:lnTo>
                      <a:pt x="33" y="0"/>
                    </a:lnTo>
                    <a:lnTo>
                      <a:pt x="33" y="156"/>
                    </a:lnTo>
                    <a:lnTo>
                      <a:pt x="105" y="156"/>
                    </a:lnTo>
                    <a:lnTo>
                      <a:pt x="105" y="184"/>
                    </a:lnTo>
                    <a:lnTo>
                      <a:pt x="22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8" name="Freeform 25">
                <a:extLst>
                  <a:ext uri="{FF2B5EF4-FFF2-40B4-BE49-F238E27FC236}">
                    <a16:creationId xmlns:a16="http://schemas.microsoft.com/office/drawing/2014/main" id="{DC9A01EB-0B2B-5706-46A0-B807C14F3C7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7851" y="4053462"/>
                <a:ext cx="14479" cy="77823"/>
              </a:xfrm>
              <a:custGeom>
                <a:avLst/>
                <a:gdLst>
                  <a:gd name="T0" fmla="*/ 2 w 34"/>
                  <a:gd name="T1" fmla="*/ 55 h 190"/>
                  <a:gd name="T2" fmla="*/ 31 w 34"/>
                  <a:gd name="T3" fmla="*/ 55 h 190"/>
                  <a:gd name="T4" fmla="*/ 31 w 34"/>
                  <a:gd name="T5" fmla="*/ 190 h 190"/>
                  <a:gd name="T6" fmla="*/ 2 w 34"/>
                  <a:gd name="T7" fmla="*/ 190 h 190"/>
                  <a:gd name="T8" fmla="*/ 2 w 34"/>
                  <a:gd name="T9" fmla="*/ 55 h 190"/>
                  <a:gd name="T10" fmla="*/ 17 w 34"/>
                  <a:gd name="T11" fmla="*/ 34 h 190"/>
                  <a:gd name="T12" fmla="*/ 0 w 34"/>
                  <a:gd name="T13" fmla="*/ 17 h 190"/>
                  <a:gd name="T14" fmla="*/ 17 w 34"/>
                  <a:gd name="T15" fmla="*/ 0 h 190"/>
                  <a:gd name="T16" fmla="*/ 34 w 34"/>
                  <a:gd name="T17" fmla="*/ 17 h 190"/>
                  <a:gd name="T18" fmla="*/ 17 w 34"/>
                  <a:gd name="T19" fmla="*/ 3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90">
                    <a:moveTo>
                      <a:pt x="2" y="55"/>
                    </a:moveTo>
                    <a:lnTo>
                      <a:pt x="31" y="55"/>
                    </a:lnTo>
                    <a:lnTo>
                      <a:pt x="31" y="190"/>
                    </a:lnTo>
                    <a:lnTo>
                      <a:pt x="2" y="190"/>
                    </a:lnTo>
                    <a:lnTo>
                      <a:pt x="2" y="55"/>
                    </a:lnTo>
                    <a:close/>
                    <a:moveTo>
                      <a:pt x="17" y="34"/>
                    </a:moveTo>
                    <a:cubicBezTo>
                      <a:pt x="6" y="34"/>
                      <a:pt x="0" y="27"/>
                      <a:pt x="0" y="17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7" y="0"/>
                      <a:pt x="34" y="7"/>
                      <a:pt x="34" y="17"/>
                    </a:cubicBezTo>
                    <a:cubicBezTo>
                      <a:pt x="34" y="27"/>
                      <a:pt x="27" y="34"/>
                      <a:pt x="17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9" name="Freeform 26">
                <a:extLst>
                  <a:ext uri="{FF2B5EF4-FFF2-40B4-BE49-F238E27FC236}">
                    <a16:creationId xmlns:a16="http://schemas.microsoft.com/office/drawing/2014/main" id="{8003F519-DBD6-318D-BD2C-02AC19C379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7760" y="4053462"/>
                <a:ext cx="39816" cy="77823"/>
              </a:xfrm>
              <a:custGeom>
                <a:avLst/>
                <a:gdLst>
                  <a:gd name="T0" fmla="*/ 92 w 95"/>
                  <a:gd name="T1" fmla="*/ 28 h 189"/>
                  <a:gd name="T2" fmla="*/ 68 w 95"/>
                  <a:gd name="T3" fmla="*/ 24 h 189"/>
                  <a:gd name="T4" fmla="*/ 48 w 95"/>
                  <a:gd name="T5" fmla="*/ 46 h 189"/>
                  <a:gd name="T6" fmla="*/ 48 w 95"/>
                  <a:gd name="T7" fmla="*/ 55 h 189"/>
                  <a:gd name="T8" fmla="*/ 89 w 95"/>
                  <a:gd name="T9" fmla="*/ 55 h 189"/>
                  <a:gd name="T10" fmla="*/ 89 w 95"/>
                  <a:gd name="T11" fmla="*/ 78 h 189"/>
                  <a:gd name="T12" fmla="*/ 48 w 95"/>
                  <a:gd name="T13" fmla="*/ 78 h 189"/>
                  <a:gd name="T14" fmla="*/ 48 w 95"/>
                  <a:gd name="T15" fmla="*/ 189 h 189"/>
                  <a:gd name="T16" fmla="*/ 20 w 95"/>
                  <a:gd name="T17" fmla="*/ 189 h 189"/>
                  <a:gd name="T18" fmla="*/ 20 w 95"/>
                  <a:gd name="T19" fmla="*/ 78 h 189"/>
                  <a:gd name="T20" fmla="*/ 0 w 95"/>
                  <a:gd name="T21" fmla="*/ 78 h 189"/>
                  <a:gd name="T22" fmla="*/ 0 w 95"/>
                  <a:gd name="T23" fmla="*/ 55 h 189"/>
                  <a:gd name="T24" fmla="*/ 20 w 95"/>
                  <a:gd name="T25" fmla="*/ 55 h 189"/>
                  <a:gd name="T26" fmla="*/ 20 w 95"/>
                  <a:gd name="T27" fmla="*/ 44 h 189"/>
                  <a:gd name="T28" fmla="*/ 64 w 95"/>
                  <a:gd name="T29" fmla="*/ 0 h 189"/>
                  <a:gd name="T30" fmla="*/ 95 w 95"/>
                  <a:gd name="T31" fmla="*/ 5 h 189"/>
                  <a:gd name="T32" fmla="*/ 92 w 95"/>
                  <a:gd name="T33" fmla="*/ 28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89">
                    <a:moveTo>
                      <a:pt x="92" y="28"/>
                    </a:moveTo>
                    <a:cubicBezTo>
                      <a:pt x="81" y="25"/>
                      <a:pt x="74" y="24"/>
                      <a:pt x="68" y="24"/>
                    </a:cubicBezTo>
                    <a:cubicBezTo>
                      <a:pt x="54" y="24"/>
                      <a:pt x="48" y="30"/>
                      <a:pt x="48" y="46"/>
                    </a:cubicBezTo>
                    <a:lnTo>
                      <a:pt x="48" y="55"/>
                    </a:lnTo>
                    <a:lnTo>
                      <a:pt x="89" y="55"/>
                    </a:lnTo>
                    <a:lnTo>
                      <a:pt x="89" y="78"/>
                    </a:lnTo>
                    <a:lnTo>
                      <a:pt x="48" y="78"/>
                    </a:lnTo>
                    <a:lnTo>
                      <a:pt x="48" y="189"/>
                    </a:lnTo>
                    <a:lnTo>
                      <a:pt x="20" y="189"/>
                    </a:lnTo>
                    <a:lnTo>
                      <a:pt x="20" y="78"/>
                    </a:lnTo>
                    <a:lnTo>
                      <a:pt x="0" y="78"/>
                    </a:lnTo>
                    <a:lnTo>
                      <a:pt x="0" y="55"/>
                    </a:lnTo>
                    <a:lnTo>
                      <a:pt x="20" y="55"/>
                    </a:lnTo>
                    <a:lnTo>
                      <a:pt x="20" y="44"/>
                    </a:lnTo>
                    <a:cubicBezTo>
                      <a:pt x="20" y="15"/>
                      <a:pt x="37" y="0"/>
                      <a:pt x="64" y="0"/>
                    </a:cubicBezTo>
                    <a:cubicBezTo>
                      <a:pt x="73" y="0"/>
                      <a:pt x="82" y="2"/>
                      <a:pt x="95" y="5"/>
                    </a:cubicBezTo>
                    <a:lnTo>
                      <a:pt x="92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0" name="Freeform 27">
                <a:extLst>
                  <a:ext uri="{FF2B5EF4-FFF2-40B4-BE49-F238E27FC236}">
                    <a16:creationId xmlns:a16="http://schemas.microsoft.com/office/drawing/2014/main" id="{E184AE65-10DA-3151-046F-3FC0194869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27576" y="4075180"/>
                <a:ext cx="50675" cy="56105"/>
              </a:xfrm>
              <a:custGeom>
                <a:avLst/>
                <a:gdLst>
                  <a:gd name="T0" fmla="*/ 62 w 124"/>
                  <a:gd name="T1" fmla="*/ 21 h 138"/>
                  <a:gd name="T2" fmla="*/ 28 w 124"/>
                  <a:gd name="T3" fmla="*/ 58 h 138"/>
                  <a:gd name="T4" fmla="*/ 96 w 124"/>
                  <a:gd name="T5" fmla="*/ 58 h 138"/>
                  <a:gd name="T6" fmla="*/ 62 w 124"/>
                  <a:gd name="T7" fmla="*/ 21 h 138"/>
                  <a:gd name="T8" fmla="*/ 63 w 124"/>
                  <a:gd name="T9" fmla="*/ 0 h 138"/>
                  <a:gd name="T10" fmla="*/ 124 w 124"/>
                  <a:gd name="T11" fmla="*/ 66 h 138"/>
                  <a:gd name="T12" fmla="*/ 111 w 124"/>
                  <a:gd name="T13" fmla="*/ 79 h 138"/>
                  <a:gd name="T14" fmla="*/ 28 w 124"/>
                  <a:gd name="T15" fmla="*/ 79 h 138"/>
                  <a:gd name="T16" fmla="*/ 68 w 124"/>
                  <a:gd name="T17" fmla="*/ 114 h 138"/>
                  <a:gd name="T18" fmla="*/ 105 w 124"/>
                  <a:gd name="T19" fmla="*/ 108 h 138"/>
                  <a:gd name="T20" fmla="*/ 118 w 124"/>
                  <a:gd name="T21" fmla="*/ 104 h 138"/>
                  <a:gd name="T22" fmla="*/ 123 w 124"/>
                  <a:gd name="T23" fmla="*/ 126 h 138"/>
                  <a:gd name="T24" fmla="*/ 109 w 124"/>
                  <a:gd name="T25" fmla="*/ 130 h 138"/>
                  <a:gd name="T26" fmla="*/ 66 w 124"/>
                  <a:gd name="T27" fmla="*/ 138 h 138"/>
                  <a:gd name="T28" fmla="*/ 0 w 124"/>
                  <a:gd name="T29" fmla="*/ 70 h 138"/>
                  <a:gd name="T30" fmla="*/ 63 w 124"/>
                  <a:gd name="T31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138">
                    <a:moveTo>
                      <a:pt x="62" y="21"/>
                    </a:moveTo>
                    <a:cubicBezTo>
                      <a:pt x="42" y="21"/>
                      <a:pt x="30" y="36"/>
                      <a:pt x="28" y="58"/>
                    </a:cubicBezTo>
                    <a:lnTo>
                      <a:pt x="96" y="58"/>
                    </a:lnTo>
                    <a:cubicBezTo>
                      <a:pt x="96" y="38"/>
                      <a:pt x="86" y="21"/>
                      <a:pt x="62" y="21"/>
                    </a:cubicBezTo>
                    <a:close/>
                    <a:moveTo>
                      <a:pt x="63" y="0"/>
                    </a:moveTo>
                    <a:cubicBezTo>
                      <a:pt x="100" y="0"/>
                      <a:pt x="124" y="21"/>
                      <a:pt x="124" y="66"/>
                    </a:cubicBezTo>
                    <a:cubicBezTo>
                      <a:pt x="124" y="75"/>
                      <a:pt x="120" y="79"/>
                      <a:pt x="111" y="79"/>
                    </a:cubicBezTo>
                    <a:lnTo>
                      <a:pt x="28" y="79"/>
                    </a:lnTo>
                    <a:cubicBezTo>
                      <a:pt x="30" y="103"/>
                      <a:pt x="46" y="114"/>
                      <a:pt x="68" y="114"/>
                    </a:cubicBezTo>
                    <a:cubicBezTo>
                      <a:pt x="79" y="114"/>
                      <a:pt x="90" y="112"/>
                      <a:pt x="105" y="108"/>
                    </a:cubicBezTo>
                    <a:lnTo>
                      <a:pt x="118" y="104"/>
                    </a:lnTo>
                    <a:lnTo>
                      <a:pt x="123" y="126"/>
                    </a:lnTo>
                    <a:lnTo>
                      <a:pt x="109" y="130"/>
                    </a:lnTo>
                    <a:cubicBezTo>
                      <a:pt x="92" y="136"/>
                      <a:pt x="80" y="138"/>
                      <a:pt x="66" y="138"/>
                    </a:cubicBezTo>
                    <a:cubicBezTo>
                      <a:pt x="27" y="138"/>
                      <a:pt x="0" y="115"/>
                      <a:pt x="0" y="70"/>
                    </a:cubicBezTo>
                    <a:cubicBezTo>
                      <a:pt x="0" y="21"/>
                      <a:pt x="29" y="0"/>
                      <a:pt x="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1" name="Freeform 28">
                <a:extLst>
                  <a:ext uri="{FF2B5EF4-FFF2-40B4-BE49-F238E27FC236}">
                    <a16:creationId xmlns:a16="http://schemas.microsoft.com/office/drawing/2014/main" id="{237B20AF-7500-5577-1DCA-E6950AB4CA0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80573" y="3655298"/>
                <a:ext cx="358347" cy="405403"/>
              </a:xfrm>
              <a:custGeom>
                <a:avLst/>
                <a:gdLst>
                  <a:gd name="T0" fmla="*/ 556 w 875"/>
                  <a:gd name="T1" fmla="*/ 361 h 985"/>
                  <a:gd name="T2" fmla="*/ 454 w 875"/>
                  <a:gd name="T3" fmla="*/ 361 h 985"/>
                  <a:gd name="T4" fmla="*/ 505 w 875"/>
                  <a:gd name="T5" fmla="*/ 327 h 985"/>
                  <a:gd name="T6" fmla="*/ 556 w 875"/>
                  <a:gd name="T7" fmla="*/ 361 h 985"/>
                  <a:gd name="T8" fmla="*/ 867 w 875"/>
                  <a:gd name="T9" fmla="*/ 368 h 985"/>
                  <a:gd name="T10" fmla="*/ 707 w 875"/>
                  <a:gd name="T11" fmla="*/ 276 h 985"/>
                  <a:gd name="T12" fmla="*/ 773 w 875"/>
                  <a:gd name="T13" fmla="*/ 132 h 985"/>
                  <a:gd name="T14" fmla="*/ 539 w 875"/>
                  <a:gd name="T15" fmla="*/ 220 h 985"/>
                  <a:gd name="T16" fmla="*/ 280 w 875"/>
                  <a:gd name="T17" fmla="*/ 69 h 985"/>
                  <a:gd name="T18" fmla="*/ 308 w 875"/>
                  <a:gd name="T19" fmla="*/ 0 h 985"/>
                  <a:gd name="T20" fmla="*/ 305 w 875"/>
                  <a:gd name="T21" fmla="*/ 0 h 985"/>
                  <a:gd name="T22" fmla="*/ 204 w 875"/>
                  <a:gd name="T23" fmla="*/ 236 h 985"/>
                  <a:gd name="T24" fmla="*/ 249 w 875"/>
                  <a:gd name="T25" fmla="*/ 309 h 985"/>
                  <a:gd name="T26" fmla="*/ 25 w 875"/>
                  <a:gd name="T27" fmla="*/ 770 h 985"/>
                  <a:gd name="T28" fmla="*/ 360 w 875"/>
                  <a:gd name="T29" fmla="*/ 985 h 985"/>
                  <a:gd name="T30" fmla="*/ 825 w 875"/>
                  <a:gd name="T31" fmla="*/ 533 h 985"/>
                  <a:gd name="T32" fmla="*/ 867 w 875"/>
                  <a:gd name="T33" fmla="*/ 368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75" h="985">
                    <a:moveTo>
                      <a:pt x="556" y="361"/>
                    </a:moveTo>
                    <a:lnTo>
                      <a:pt x="454" y="361"/>
                    </a:lnTo>
                    <a:cubicBezTo>
                      <a:pt x="454" y="361"/>
                      <a:pt x="477" y="327"/>
                      <a:pt x="505" y="327"/>
                    </a:cubicBezTo>
                    <a:cubicBezTo>
                      <a:pt x="533" y="327"/>
                      <a:pt x="556" y="361"/>
                      <a:pt x="556" y="361"/>
                    </a:cubicBezTo>
                    <a:close/>
                    <a:moveTo>
                      <a:pt x="867" y="368"/>
                    </a:moveTo>
                    <a:lnTo>
                      <a:pt x="707" y="276"/>
                    </a:lnTo>
                    <a:cubicBezTo>
                      <a:pt x="795" y="225"/>
                      <a:pt x="776" y="144"/>
                      <a:pt x="773" y="132"/>
                    </a:cubicBezTo>
                    <a:cubicBezTo>
                      <a:pt x="732" y="184"/>
                      <a:pt x="643" y="220"/>
                      <a:pt x="539" y="220"/>
                    </a:cubicBezTo>
                    <a:cubicBezTo>
                      <a:pt x="396" y="220"/>
                      <a:pt x="280" y="152"/>
                      <a:pt x="280" y="69"/>
                    </a:cubicBezTo>
                    <a:cubicBezTo>
                      <a:pt x="280" y="44"/>
                      <a:pt x="290" y="21"/>
                      <a:pt x="308" y="0"/>
                    </a:cubicBezTo>
                    <a:cubicBezTo>
                      <a:pt x="307" y="0"/>
                      <a:pt x="306" y="0"/>
                      <a:pt x="305" y="0"/>
                    </a:cubicBezTo>
                    <a:cubicBezTo>
                      <a:pt x="244" y="0"/>
                      <a:pt x="155" y="110"/>
                      <a:pt x="204" y="236"/>
                    </a:cubicBezTo>
                    <a:cubicBezTo>
                      <a:pt x="215" y="265"/>
                      <a:pt x="231" y="289"/>
                      <a:pt x="249" y="309"/>
                    </a:cubicBezTo>
                    <a:cubicBezTo>
                      <a:pt x="135" y="417"/>
                      <a:pt x="0" y="606"/>
                      <a:pt x="25" y="770"/>
                    </a:cubicBezTo>
                    <a:cubicBezTo>
                      <a:pt x="58" y="980"/>
                      <a:pt x="360" y="985"/>
                      <a:pt x="360" y="985"/>
                    </a:cubicBezTo>
                    <a:cubicBezTo>
                      <a:pt x="220" y="722"/>
                      <a:pt x="825" y="533"/>
                      <a:pt x="825" y="533"/>
                    </a:cubicBezTo>
                    <a:cubicBezTo>
                      <a:pt x="825" y="533"/>
                      <a:pt x="875" y="464"/>
                      <a:pt x="867" y="3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2" name="Freeform 29">
                <a:extLst>
                  <a:ext uri="{FF2B5EF4-FFF2-40B4-BE49-F238E27FC236}">
                    <a16:creationId xmlns:a16="http://schemas.microsoft.com/office/drawing/2014/main" id="{F2B48BF0-A064-2017-44AE-FDF622422B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27169" y="3910485"/>
                <a:ext cx="162885" cy="142978"/>
              </a:xfrm>
              <a:custGeom>
                <a:avLst/>
                <a:gdLst>
                  <a:gd name="T0" fmla="*/ 311 w 398"/>
                  <a:gd name="T1" fmla="*/ 0 h 349"/>
                  <a:gd name="T2" fmla="*/ 19 w 398"/>
                  <a:gd name="T3" fmla="*/ 228 h 349"/>
                  <a:gd name="T4" fmla="*/ 18 w 398"/>
                  <a:gd name="T5" fmla="*/ 349 h 349"/>
                  <a:gd name="T6" fmla="*/ 398 w 398"/>
                  <a:gd name="T7" fmla="*/ 184 h 349"/>
                  <a:gd name="T8" fmla="*/ 311 w 398"/>
                  <a:gd name="T9" fmla="*/ 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349">
                    <a:moveTo>
                      <a:pt x="311" y="0"/>
                    </a:moveTo>
                    <a:cubicBezTo>
                      <a:pt x="197" y="53"/>
                      <a:pt x="60" y="129"/>
                      <a:pt x="19" y="228"/>
                    </a:cubicBezTo>
                    <a:cubicBezTo>
                      <a:pt x="3" y="269"/>
                      <a:pt x="0" y="309"/>
                      <a:pt x="18" y="349"/>
                    </a:cubicBezTo>
                    <a:cubicBezTo>
                      <a:pt x="35" y="307"/>
                      <a:pt x="105" y="185"/>
                      <a:pt x="398" y="184"/>
                    </a:cubicBezTo>
                    <a:cubicBezTo>
                      <a:pt x="398" y="102"/>
                      <a:pt x="359" y="44"/>
                      <a:pt x="3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3" name="Freeform 30">
                <a:extLst>
                  <a:ext uri="{FF2B5EF4-FFF2-40B4-BE49-F238E27FC236}">
                    <a16:creationId xmlns:a16="http://schemas.microsoft.com/office/drawing/2014/main" id="{BC9CFD1D-8DDB-A709-12B5-43C1E29C37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9976" y="3903245"/>
                <a:ext cx="9050" cy="16289"/>
              </a:xfrm>
              <a:custGeom>
                <a:avLst/>
                <a:gdLst>
                  <a:gd name="T0" fmla="*/ 0 w 25"/>
                  <a:gd name="T1" fmla="*/ 42 h 42"/>
                  <a:gd name="T2" fmla="*/ 25 w 25"/>
                  <a:gd name="T3" fmla="*/ 0 h 42"/>
                  <a:gd name="T4" fmla="*/ 0 w 25"/>
                  <a:gd name="T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42">
                    <a:moveTo>
                      <a:pt x="0" y="42"/>
                    </a:moveTo>
                    <a:cubicBezTo>
                      <a:pt x="16" y="23"/>
                      <a:pt x="25" y="0"/>
                      <a:pt x="25" y="0"/>
                    </a:cubicBezTo>
                    <a:cubicBezTo>
                      <a:pt x="17" y="17"/>
                      <a:pt x="9" y="31"/>
                      <a:pt x="0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4" name="Rectangle 31">
                <a:extLst>
                  <a:ext uri="{FF2B5EF4-FFF2-40B4-BE49-F238E27FC236}">
                    <a16:creationId xmlns:a16="http://schemas.microsoft.com/office/drawing/2014/main" id="{B8DCAFFC-5BE1-EC35-AFF4-E3AF91BDC7D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409451" y="4104138"/>
                <a:ext cx="9050" cy="3981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5" name="Freeform 32">
                <a:extLst>
                  <a:ext uri="{FF2B5EF4-FFF2-40B4-BE49-F238E27FC236}">
                    <a16:creationId xmlns:a16="http://schemas.microsoft.com/office/drawing/2014/main" id="{5C73054B-B761-3917-85F6-3206576715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2212" y="3819993"/>
                <a:ext cx="7239" cy="3620"/>
              </a:xfrm>
              <a:custGeom>
                <a:avLst/>
                <a:gdLst>
                  <a:gd name="T0" fmla="*/ 0 w 16"/>
                  <a:gd name="T1" fmla="*/ 0 h 7"/>
                  <a:gd name="T2" fmla="*/ 16 w 16"/>
                  <a:gd name="T3" fmla="*/ 7 h 7"/>
                  <a:gd name="T4" fmla="*/ 16 w 16"/>
                  <a:gd name="T5" fmla="*/ 5 h 7"/>
                  <a:gd name="T6" fmla="*/ 0 w 16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7">
                    <a:moveTo>
                      <a:pt x="0" y="0"/>
                    </a:moveTo>
                    <a:cubicBezTo>
                      <a:pt x="6" y="2"/>
                      <a:pt x="11" y="4"/>
                      <a:pt x="16" y="7"/>
                    </a:cubicBezTo>
                    <a:lnTo>
                      <a:pt x="16" y="5"/>
                    </a:lnTo>
                    <a:cubicBezTo>
                      <a:pt x="11" y="3"/>
                      <a:pt x="6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6" name="Freeform 33">
                <a:extLst>
                  <a:ext uri="{FF2B5EF4-FFF2-40B4-BE49-F238E27FC236}">
                    <a16:creationId xmlns:a16="http://schemas.microsoft.com/office/drawing/2014/main" id="{EF5FA4B9-72B6-CE27-044E-F8BD5B2650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99025" y="3628150"/>
                <a:ext cx="47056" cy="314911"/>
              </a:xfrm>
              <a:custGeom>
                <a:avLst/>
                <a:gdLst>
                  <a:gd name="T0" fmla="*/ 3 w 115"/>
                  <a:gd name="T1" fmla="*/ 729 h 765"/>
                  <a:gd name="T2" fmla="*/ 9 w 115"/>
                  <a:gd name="T3" fmla="*/ 756 h 765"/>
                  <a:gd name="T4" fmla="*/ 19 w 115"/>
                  <a:gd name="T5" fmla="*/ 724 h 765"/>
                  <a:gd name="T6" fmla="*/ 34 w 115"/>
                  <a:gd name="T7" fmla="*/ 695 h 765"/>
                  <a:gd name="T8" fmla="*/ 30 w 115"/>
                  <a:gd name="T9" fmla="*/ 716 h 765"/>
                  <a:gd name="T10" fmla="*/ 22 w 115"/>
                  <a:gd name="T11" fmla="*/ 732 h 765"/>
                  <a:gd name="T12" fmla="*/ 17 w 115"/>
                  <a:gd name="T13" fmla="*/ 753 h 765"/>
                  <a:gd name="T14" fmla="*/ 30 w 115"/>
                  <a:gd name="T15" fmla="*/ 744 h 765"/>
                  <a:gd name="T16" fmla="*/ 49 w 115"/>
                  <a:gd name="T17" fmla="*/ 753 h 765"/>
                  <a:gd name="T18" fmla="*/ 54 w 115"/>
                  <a:gd name="T19" fmla="*/ 728 h 765"/>
                  <a:gd name="T20" fmla="*/ 68 w 115"/>
                  <a:gd name="T21" fmla="*/ 763 h 765"/>
                  <a:gd name="T22" fmla="*/ 67 w 115"/>
                  <a:gd name="T23" fmla="*/ 748 h 765"/>
                  <a:gd name="T24" fmla="*/ 65 w 115"/>
                  <a:gd name="T25" fmla="*/ 732 h 765"/>
                  <a:gd name="T26" fmla="*/ 64 w 115"/>
                  <a:gd name="T27" fmla="*/ 712 h 765"/>
                  <a:gd name="T28" fmla="*/ 66 w 115"/>
                  <a:gd name="T29" fmla="*/ 691 h 765"/>
                  <a:gd name="T30" fmla="*/ 68 w 115"/>
                  <a:gd name="T31" fmla="*/ 719 h 765"/>
                  <a:gd name="T32" fmla="*/ 76 w 115"/>
                  <a:gd name="T33" fmla="*/ 745 h 765"/>
                  <a:gd name="T34" fmla="*/ 78 w 115"/>
                  <a:gd name="T35" fmla="*/ 740 h 765"/>
                  <a:gd name="T36" fmla="*/ 77 w 115"/>
                  <a:gd name="T37" fmla="*/ 749 h 765"/>
                  <a:gd name="T38" fmla="*/ 77 w 115"/>
                  <a:gd name="T39" fmla="*/ 750 h 765"/>
                  <a:gd name="T40" fmla="*/ 79 w 115"/>
                  <a:gd name="T41" fmla="*/ 755 h 765"/>
                  <a:gd name="T42" fmla="*/ 84 w 115"/>
                  <a:gd name="T43" fmla="*/ 760 h 765"/>
                  <a:gd name="T44" fmla="*/ 86 w 115"/>
                  <a:gd name="T45" fmla="*/ 757 h 765"/>
                  <a:gd name="T46" fmla="*/ 86 w 115"/>
                  <a:gd name="T47" fmla="*/ 756 h 765"/>
                  <a:gd name="T48" fmla="*/ 78 w 115"/>
                  <a:gd name="T49" fmla="*/ 736 h 765"/>
                  <a:gd name="T50" fmla="*/ 84 w 115"/>
                  <a:gd name="T51" fmla="*/ 748 h 765"/>
                  <a:gd name="T52" fmla="*/ 84 w 115"/>
                  <a:gd name="T53" fmla="*/ 746 h 765"/>
                  <a:gd name="T54" fmla="*/ 89 w 115"/>
                  <a:gd name="T55" fmla="*/ 752 h 765"/>
                  <a:gd name="T56" fmla="*/ 90 w 115"/>
                  <a:gd name="T57" fmla="*/ 751 h 765"/>
                  <a:gd name="T58" fmla="*/ 83 w 115"/>
                  <a:gd name="T59" fmla="*/ 743 h 765"/>
                  <a:gd name="T60" fmla="*/ 91 w 115"/>
                  <a:gd name="T61" fmla="*/ 748 h 765"/>
                  <a:gd name="T62" fmla="*/ 95 w 115"/>
                  <a:gd name="T63" fmla="*/ 742 h 765"/>
                  <a:gd name="T64" fmla="*/ 96 w 115"/>
                  <a:gd name="T65" fmla="*/ 741 h 765"/>
                  <a:gd name="T66" fmla="*/ 103 w 115"/>
                  <a:gd name="T67" fmla="*/ 726 h 765"/>
                  <a:gd name="T68" fmla="*/ 101 w 115"/>
                  <a:gd name="T69" fmla="*/ 734 h 765"/>
                  <a:gd name="T70" fmla="*/ 112 w 115"/>
                  <a:gd name="T71" fmla="*/ 713 h 765"/>
                  <a:gd name="T72" fmla="*/ 101 w 115"/>
                  <a:gd name="T73" fmla="*/ 742 h 765"/>
                  <a:gd name="T74" fmla="*/ 104 w 115"/>
                  <a:gd name="T75" fmla="*/ 753 h 765"/>
                  <a:gd name="T76" fmla="*/ 106 w 115"/>
                  <a:gd name="T77" fmla="*/ 765 h 765"/>
                  <a:gd name="T78" fmla="*/ 109 w 115"/>
                  <a:gd name="T79" fmla="*/ 755 h 765"/>
                  <a:gd name="T80" fmla="*/ 110 w 115"/>
                  <a:gd name="T81" fmla="*/ 752 h 765"/>
                  <a:gd name="T82" fmla="*/ 110 w 115"/>
                  <a:gd name="T83" fmla="*/ 751 h 765"/>
                  <a:gd name="T84" fmla="*/ 110 w 115"/>
                  <a:gd name="T85" fmla="*/ 752 h 765"/>
                  <a:gd name="T86" fmla="*/ 110 w 115"/>
                  <a:gd name="T87" fmla="*/ 751 h 765"/>
                  <a:gd name="T88" fmla="*/ 111 w 115"/>
                  <a:gd name="T89" fmla="*/ 752 h 765"/>
                  <a:gd name="T90" fmla="*/ 111 w 115"/>
                  <a:gd name="T91" fmla="*/ 751 h 765"/>
                  <a:gd name="T92" fmla="*/ 113 w 115"/>
                  <a:gd name="T93" fmla="*/ 748 h 765"/>
                  <a:gd name="T94" fmla="*/ 113 w 115"/>
                  <a:gd name="T95" fmla="*/ 746 h 765"/>
                  <a:gd name="T96" fmla="*/ 109 w 115"/>
                  <a:gd name="T97" fmla="*/ 729 h 765"/>
                  <a:gd name="T98" fmla="*/ 109 w 115"/>
                  <a:gd name="T99" fmla="*/ 728 h 765"/>
                  <a:gd name="T100" fmla="*/ 109 w 115"/>
                  <a:gd name="T101" fmla="*/ 729 h 765"/>
                  <a:gd name="T102" fmla="*/ 112 w 115"/>
                  <a:gd name="T103" fmla="*/ 735 h 765"/>
                  <a:gd name="T104" fmla="*/ 115 w 115"/>
                  <a:gd name="T105" fmla="*/ 740 h 765"/>
                  <a:gd name="T106" fmla="*/ 115 w 115"/>
                  <a:gd name="T107" fmla="*/ 0 h 765"/>
                  <a:gd name="T108" fmla="*/ 0 w 115"/>
                  <a:gd name="T109" fmla="*/ 0 h 765"/>
                  <a:gd name="T110" fmla="*/ 0 w 115"/>
                  <a:gd name="T111" fmla="*/ 741 h 765"/>
                  <a:gd name="T112" fmla="*/ 2 w 115"/>
                  <a:gd name="T113" fmla="*/ 728 h 765"/>
                  <a:gd name="T114" fmla="*/ 3 w 115"/>
                  <a:gd name="T115" fmla="*/ 729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5" h="765">
                    <a:moveTo>
                      <a:pt x="3" y="729"/>
                    </a:moveTo>
                    <a:cubicBezTo>
                      <a:pt x="5" y="738"/>
                      <a:pt x="6" y="745"/>
                      <a:pt x="9" y="756"/>
                    </a:cubicBezTo>
                    <a:cubicBezTo>
                      <a:pt x="10" y="744"/>
                      <a:pt x="14" y="734"/>
                      <a:pt x="19" y="724"/>
                    </a:cubicBezTo>
                    <a:cubicBezTo>
                      <a:pt x="25" y="715"/>
                      <a:pt x="30" y="706"/>
                      <a:pt x="34" y="695"/>
                    </a:cubicBezTo>
                    <a:cubicBezTo>
                      <a:pt x="33" y="703"/>
                      <a:pt x="34" y="709"/>
                      <a:pt x="30" y="716"/>
                    </a:cubicBezTo>
                    <a:cubicBezTo>
                      <a:pt x="25" y="723"/>
                      <a:pt x="23" y="727"/>
                      <a:pt x="22" y="732"/>
                    </a:cubicBezTo>
                    <a:cubicBezTo>
                      <a:pt x="21" y="736"/>
                      <a:pt x="20" y="742"/>
                      <a:pt x="17" y="753"/>
                    </a:cubicBezTo>
                    <a:cubicBezTo>
                      <a:pt x="18" y="752"/>
                      <a:pt x="30" y="743"/>
                      <a:pt x="30" y="744"/>
                    </a:cubicBezTo>
                    <a:cubicBezTo>
                      <a:pt x="27" y="757"/>
                      <a:pt x="47" y="756"/>
                      <a:pt x="49" y="753"/>
                    </a:cubicBezTo>
                    <a:cubicBezTo>
                      <a:pt x="46" y="746"/>
                      <a:pt x="65" y="746"/>
                      <a:pt x="54" y="728"/>
                    </a:cubicBezTo>
                    <a:cubicBezTo>
                      <a:pt x="61" y="730"/>
                      <a:pt x="67" y="758"/>
                      <a:pt x="68" y="763"/>
                    </a:cubicBezTo>
                    <a:cubicBezTo>
                      <a:pt x="68" y="758"/>
                      <a:pt x="67" y="753"/>
                      <a:pt x="67" y="748"/>
                    </a:cubicBezTo>
                    <a:cubicBezTo>
                      <a:pt x="67" y="743"/>
                      <a:pt x="66" y="738"/>
                      <a:pt x="65" y="732"/>
                    </a:cubicBezTo>
                    <a:cubicBezTo>
                      <a:pt x="64" y="725"/>
                      <a:pt x="64" y="718"/>
                      <a:pt x="64" y="712"/>
                    </a:cubicBezTo>
                    <a:cubicBezTo>
                      <a:pt x="64" y="705"/>
                      <a:pt x="65" y="698"/>
                      <a:pt x="66" y="691"/>
                    </a:cubicBezTo>
                    <a:cubicBezTo>
                      <a:pt x="65" y="700"/>
                      <a:pt x="66" y="710"/>
                      <a:pt x="68" y="719"/>
                    </a:cubicBezTo>
                    <a:cubicBezTo>
                      <a:pt x="70" y="728"/>
                      <a:pt x="73" y="737"/>
                      <a:pt x="76" y="745"/>
                    </a:cubicBezTo>
                    <a:cubicBezTo>
                      <a:pt x="77" y="743"/>
                      <a:pt x="78" y="741"/>
                      <a:pt x="78" y="740"/>
                    </a:cubicBezTo>
                    <a:cubicBezTo>
                      <a:pt x="78" y="742"/>
                      <a:pt x="77" y="746"/>
                      <a:pt x="77" y="749"/>
                    </a:cubicBezTo>
                    <a:cubicBezTo>
                      <a:pt x="77" y="749"/>
                      <a:pt x="77" y="749"/>
                      <a:pt x="77" y="750"/>
                    </a:cubicBezTo>
                    <a:cubicBezTo>
                      <a:pt x="78" y="752"/>
                      <a:pt x="78" y="753"/>
                      <a:pt x="79" y="755"/>
                    </a:cubicBezTo>
                    <a:cubicBezTo>
                      <a:pt x="80" y="756"/>
                      <a:pt x="82" y="758"/>
                      <a:pt x="84" y="760"/>
                    </a:cubicBezTo>
                    <a:cubicBezTo>
                      <a:pt x="85" y="759"/>
                      <a:pt x="85" y="758"/>
                      <a:pt x="86" y="757"/>
                    </a:cubicBezTo>
                    <a:cubicBezTo>
                      <a:pt x="86" y="756"/>
                      <a:pt x="86" y="756"/>
                      <a:pt x="86" y="756"/>
                    </a:cubicBezTo>
                    <a:cubicBezTo>
                      <a:pt x="82" y="749"/>
                      <a:pt x="79" y="743"/>
                      <a:pt x="78" y="736"/>
                    </a:cubicBezTo>
                    <a:cubicBezTo>
                      <a:pt x="78" y="740"/>
                      <a:pt x="81" y="744"/>
                      <a:pt x="84" y="748"/>
                    </a:cubicBezTo>
                    <a:cubicBezTo>
                      <a:pt x="84" y="747"/>
                      <a:pt x="84" y="747"/>
                      <a:pt x="84" y="746"/>
                    </a:cubicBezTo>
                    <a:cubicBezTo>
                      <a:pt x="84" y="748"/>
                      <a:pt x="88" y="752"/>
                      <a:pt x="89" y="752"/>
                    </a:cubicBezTo>
                    <a:cubicBezTo>
                      <a:pt x="89" y="752"/>
                      <a:pt x="89" y="751"/>
                      <a:pt x="90" y="751"/>
                    </a:cubicBezTo>
                    <a:cubicBezTo>
                      <a:pt x="88" y="748"/>
                      <a:pt x="85" y="744"/>
                      <a:pt x="83" y="743"/>
                    </a:cubicBezTo>
                    <a:cubicBezTo>
                      <a:pt x="86" y="742"/>
                      <a:pt x="88" y="745"/>
                      <a:pt x="91" y="748"/>
                    </a:cubicBezTo>
                    <a:cubicBezTo>
                      <a:pt x="93" y="746"/>
                      <a:pt x="94" y="743"/>
                      <a:pt x="95" y="742"/>
                    </a:cubicBezTo>
                    <a:cubicBezTo>
                      <a:pt x="95" y="741"/>
                      <a:pt x="95" y="741"/>
                      <a:pt x="96" y="741"/>
                    </a:cubicBezTo>
                    <a:cubicBezTo>
                      <a:pt x="96" y="734"/>
                      <a:pt x="99" y="727"/>
                      <a:pt x="103" y="726"/>
                    </a:cubicBezTo>
                    <a:cubicBezTo>
                      <a:pt x="106" y="725"/>
                      <a:pt x="101" y="731"/>
                      <a:pt x="101" y="734"/>
                    </a:cubicBezTo>
                    <a:cubicBezTo>
                      <a:pt x="106" y="727"/>
                      <a:pt x="111" y="720"/>
                      <a:pt x="112" y="713"/>
                    </a:cubicBezTo>
                    <a:cubicBezTo>
                      <a:pt x="111" y="723"/>
                      <a:pt x="106" y="732"/>
                      <a:pt x="101" y="742"/>
                    </a:cubicBezTo>
                    <a:cubicBezTo>
                      <a:pt x="102" y="745"/>
                      <a:pt x="103" y="748"/>
                      <a:pt x="104" y="753"/>
                    </a:cubicBezTo>
                    <a:cubicBezTo>
                      <a:pt x="106" y="757"/>
                      <a:pt x="106" y="761"/>
                      <a:pt x="106" y="765"/>
                    </a:cubicBezTo>
                    <a:cubicBezTo>
                      <a:pt x="107" y="762"/>
                      <a:pt x="108" y="758"/>
                      <a:pt x="109" y="755"/>
                    </a:cubicBezTo>
                    <a:cubicBezTo>
                      <a:pt x="109" y="754"/>
                      <a:pt x="109" y="753"/>
                      <a:pt x="110" y="752"/>
                    </a:cubicBezTo>
                    <a:cubicBezTo>
                      <a:pt x="110" y="752"/>
                      <a:pt x="110" y="751"/>
                      <a:pt x="110" y="751"/>
                    </a:cubicBezTo>
                    <a:cubicBezTo>
                      <a:pt x="110" y="751"/>
                      <a:pt x="110" y="751"/>
                      <a:pt x="110" y="752"/>
                    </a:cubicBezTo>
                    <a:cubicBezTo>
                      <a:pt x="110" y="751"/>
                      <a:pt x="110" y="751"/>
                      <a:pt x="110" y="751"/>
                    </a:cubicBezTo>
                    <a:cubicBezTo>
                      <a:pt x="110" y="751"/>
                      <a:pt x="110" y="752"/>
                      <a:pt x="111" y="752"/>
                    </a:cubicBezTo>
                    <a:cubicBezTo>
                      <a:pt x="111" y="752"/>
                      <a:pt x="111" y="751"/>
                      <a:pt x="111" y="751"/>
                    </a:cubicBezTo>
                    <a:cubicBezTo>
                      <a:pt x="111" y="751"/>
                      <a:pt x="112" y="749"/>
                      <a:pt x="113" y="748"/>
                    </a:cubicBezTo>
                    <a:cubicBezTo>
                      <a:pt x="113" y="747"/>
                      <a:pt x="113" y="747"/>
                      <a:pt x="113" y="746"/>
                    </a:cubicBezTo>
                    <a:cubicBezTo>
                      <a:pt x="112" y="740"/>
                      <a:pt x="111" y="735"/>
                      <a:pt x="109" y="729"/>
                    </a:cubicBezTo>
                    <a:cubicBezTo>
                      <a:pt x="109" y="729"/>
                      <a:pt x="109" y="729"/>
                      <a:pt x="109" y="728"/>
                    </a:cubicBezTo>
                    <a:cubicBezTo>
                      <a:pt x="109" y="729"/>
                      <a:pt x="109" y="729"/>
                      <a:pt x="109" y="729"/>
                    </a:cubicBezTo>
                    <a:cubicBezTo>
                      <a:pt x="110" y="731"/>
                      <a:pt x="112" y="733"/>
                      <a:pt x="112" y="735"/>
                    </a:cubicBezTo>
                    <a:cubicBezTo>
                      <a:pt x="113" y="736"/>
                      <a:pt x="114" y="738"/>
                      <a:pt x="115" y="740"/>
                    </a:cubicBezTo>
                    <a:lnTo>
                      <a:pt x="115" y="0"/>
                    </a:lnTo>
                    <a:lnTo>
                      <a:pt x="0" y="0"/>
                    </a:lnTo>
                    <a:lnTo>
                      <a:pt x="0" y="741"/>
                    </a:lnTo>
                    <a:cubicBezTo>
                      <a:pt x="1" y="737"/>
                      <a:pt x="2" y="732"/>
                      <a:pt x="2" y="728"/>
                    </a:cubicBezTo>
                    <a:cubicBezTo>
                      <a:pt x="2" y="728"/>
                      <a:pt x="3" y="729"/>
                      <a:pt x="3" y="7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7" name="Freeform 34">
                <a:extLst>
                  <a:ext uri="{FF2B5EF4-FFF2-40B4-BE49-F238E27FC236}">
                    <a16:creationId xmlns:a16="http://schemas.microsoft.com/office/drawing/2014/main" id="{75EFCEAE-BFDE-B861-FC29-DB7E563E3B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4271" y="3935822"/>
                <a:ext cx="1810" cy="5430"/>
              </a:xfrm>
              <a:custGeom>
                <a:avLst/>
                <a:gdLst>
                  <a:gd name="T0" fmla="*/ 1 w 4"/>
                  <a:gd name="T1" fmla="*/ 8 h 11"/>
                  <a:gd name="T2" fmla="*/ 3 w 4"/>
                  <a:gd name="T3" fmla="*/ 10 h 11"/>
                  <a:gd name="T4" fmla="*/ 4 w 4"/>
                  <a:gd name="T5" fmla="*/ 11 h 11"/>
                  <a:gd name="T6" fmla="*/ 2 w 4"/>
                  <a:gd name="T7" fmla="*/ 0 h 11"/>
                  <a:gd name="T8" fmla="*/ 0 w 4"/>
                  <a:gd name="T9" fmla="*/ 6 h 11"/>
                  <a:gd name="T10" fmla="*/ 1 w 4"/>
                  <a:gd name="T11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1" y="8"/>
                    </a:moveTo>
                    <a:cubicBezTo>
                      <a:pt x="2" y="9"/>
                      <a:pt x="3" y="10"/>
                      <a:pt x="3" y="10"/>
                    </a:cubicBezTo>
                    <a:cubicBezTo>
                      <a:pt x="3" y="10"/>
                      <a:pt x="3" y="11"/>
                      <a:pt x="4" y="11"/>
                    </a:cubicBezTo>
                    <a:cubicBezTo>
                      <a:pt x="3" y="7"/>
                      <a:pt x="3" y="4"/>
                      <a:pt x="2" y="0"/>
                    </a:cubicBezTo>
                    <a:cubicBezTo>
                      <a:pt x="1" y="2"/>
                      <a:pt x="1" y="4"/>
                      <a:pt x="0" y="6"/>
                    </a:cubicBezTo>
                    <a:cubicBezTo>
                      <a:pt x="1" y="6"/>
                      <a:pt x="1" y="7"/>
                      <a:pt x="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8" name="Freeform 35">
                <a:extLst>
                  <a:ext uri="{FF2B5EF4-FFF2-40B4-BE49-F238E27FC236}">
                    <a16:creationId xmlns:a16="http://schemas.microsoft.com/office/drawing/2014/main" id="{1B463E5B-5F1B-4C9C-6A6D-0C3227E10A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37032" y="3937633"/>
                <a:ext cx="1810" cy="9050"/>
              </a:xfrm>
              <a:custGeom>
                <a:avLst/>
                <a:gdLst>
                  <a:gd name="T0" fmla="*/ 2 w 4"/>
                  <a:gd name="T1" fmla="*/ 21 h 22"/>
                  <a:gd name="T2" fmla="*/ 3 w 4"/>
                  <a:gd name="T3" fmla="*/ 22 h 22"/>
                  <a:gd name="T4" fmla="*/ 3 w 4"/>
                  <a:gd name="T5" fmla="*/ 21 h 22"/>
                  <a:gd name="T6" fmla="*/ 2 w 4"/>
                  <a:gd name="T7" fmla="*/ 0 h 22"/>
                  <a:gd name="T8" fmla="*/ 0 w 4"/>
                  <a:gd name="T9" fmla="*/ 5 h 22"/>
                  <a:gd name="T10" fmla="*/ 2 w 4"/>
                  <a:gd name="T11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2">
                    <a:moveTo>
                      <a:pt x="2" y="21"/>
                    </a:moveTo>
                    <a:cubicBezTo>
                      <a:pt x="2" y="21"/>
                      <a:pt x="2" y="22"/>
                      <a:pt x="3" y="22"/>
                    </a:cubicBezTo>
                    <a:cubicBezTo>
                      <a:pt x="3" y="22"/>
                      <a:pt x="3" y="21"/>
                      <a:pt x="3" y="21"/>
                    </a:cubicBezTo>
                    <a:cubicBezTo>
                      <a:pt x="4" y="13"/>
                      <a:pt x="3" y="8"/>
                      <a:pt x="2" y="0"/>
                    </a:cubicBezTo>
                    <a:cubicBezTo>
                      <a:pt x="1" y="2"/>
                      <a:pt x="0" y="3"/>
                      <a:pt x="0" y="5"/>
                    </a:cubicBezTo>
                    <a:cubicBezTo>
                      <a:pt x="1" y="10"/>
                      <a:pt x="2" y="17"/>
                      <a:pt x="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9" name="Freeform 36">
                <a:extLst>
                  <a:ext uri="{FF2B5EF4-FFF2-40B4-BE49-F238E27FC236}">
                    <a16:creationId xmlns:a16="http://schemas.microsoft.com/office/drawing/2014/main" id="{80D07420-3241-230A-F82A-75E41C376D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03995" y="3626341"/>
                <a:ext cx="220800" cy="318531"/>
              </a:xfrm>
              <a:custGeom>
                <a:avLst/>
                <a:gdLst>
                  <a:gd name="T0" fmla="*/ 381 w 538"/>
                  <a:gd name="T1" fmla="*/ 766 h 775"/>
                  <a:gd name="T2" fmla="*/ 388 w 538"/>
                  <a:gd name="T3" fmla="*/ 736 h 775"/>
                  <a:gd name="T4" fmla="*/ 419 w 538"/>
                  <a:gd name="T5" fmla="*/ 702 h 775"/>
                  <a:gd name="T6" fmla="*/ 403 w 538"/>
                  <a:gd name="T7" fmla="*/ 760 h 775"/>
                  <a:gd name="T8" fmla="*/ 441 w 538"/>
                  <a:gd name="T9" fmla="*/ 740 h 775"/>
                  <a:gd name="T10" fmla="*/ 450 w 538"/>
                  <a:gd name="T11" fmla="*/ 733 h 775"/>
                  <a:gd name="T12" fmla="*/ 416 w 538"/>
                  <a:gd name="T13" fmla="*/ 572 h 775"/>
                  <a:gd name="T14" fmla="*/ 153 w 538"/>
                  <a:gd name="T15" fmla="*/ 622 h 775"/>
                  <a:gd name="T16" fmla="*/ 123 w 538"/>
                  <a:gd name="T17" fmla="*/ 241 h 775"/>
                  <a:gd name="T18" fmla="*/ 271 w 538"/>
                  <a:gd name="T19" fmla="*/ 119 h 775"/>
                  <a:gd name="T20" fmla="*/ 538 w 538"/>
                  <a:gd name="T21" fmla="*/ 232 h 775"/>
                  <a:gd name="T22" fmla="*/ 122 w 538"/>
                  <a:gd name="T23" fmla="*/ 45 h 775"/>
                  <a:gd name="T24" fmla="*/ 0 w 538"/>
                  <a:gd name="T25" fmla="*/ 399 h 775"/>
                  <a:gd name="T26" fmla="*/ 33 w 538"/>
                  <a:gd name="T27" fmla="*/ 656 h 775"/>
                  <a:gd name="T28" fmla="*/ 100 w 538"/>
                  <a:gd name="T29" fmla="*/ 736 h 775"/>
                  <a:gd name="T30" fmla="*/ 103 w 538"/>
                  <a:gd name="T31" fmla="*/ 725 h 775"/>
                  <a:gd name="T32" fmla="*/ 113 w 538"/>
                  <a:gd name="T33" fmla="*/ 746 h 775"/>
                  <a:gd name="T34" fmla="*/ 119 w 538"/>
                  <a:gd name="T35" fmla="*/ 750 h 775"/>
                  <a:gd name="T36" fmla="*/ 120 w 538"/>
                  <a:gd name="T37" fmla="*/ 743 h 775"/>
                  <a:gd name="T38" fmla="*/ 130 w 538"/>
                  <a:gd name="T39" fmla="*/ 738 h 775"/>
                  <a:gd name="T40" fmla="*/ 128 w 538"/>
                  <a:gd name="T41" fmla="*/ 757 h 775"/>
                  <a:gd name="T42" fmla="*/ 138 w 538"/>
                  <a:gd name="T43" fmla="*/ 744 h 775"/>
                  <a:gd name="T44" fmla="*/ 149 w 538"/>
                  <a:gd name="T45" fmla="*/ 748 h 775"/>
                  <a:gd name="T46" fmla="*/ 144 w 538"/>
                  <a:gd name="T47" fmla="*/ 726 h 775"/>
                  <a:gd name="T48" fmla="*/ 157 w 538"/>
                  <a:gd name="T49" fmla="*/ 759 h 775"/>
                  <a:gd name="T50" fmla="*/ 164 w 538"/>
                  <a:gd name="T51" fmla="*/ 753 h 775"/>
                  <a:gd name="T52" fmla="*/ 180 w 538"/>
                  <a:gd name="T53" fmla="*/ 757 h 775"/>
                  <a:gd name="T54" fmla="*/ 190 w 538"/>
                  <a:gd name="T55" fmla="*/ 771 h 775"/>
                  <a:gd name="T56" fmla="*/ 198 w 538"/>
                  <a:gd name="T57" fmla="*/ 711 h 775"/>
                  <a:gd name="T58" fmla="*/ 209 w 538"/>
                  <a:gd name="T59" fmla="*/ 768 h 775"/>
                  <a:gd name="T60" fmla="*/ 213 w 538"/>
                  <a:gd name="T61" fmla="*/ 734 h 775"/>
                  <a:gd name="T62" fmla="*/ 221 w 538"/>
                  <a:gd name="T63" fmla="*/ 753 h 775"/>
                  <a:gd name="T64" fmla="*/ 230 w 538"/>
                  <a:gd name="T65" fmla="*/ 755 h 775"/>
                  <a:gd name="T66" fmla="*/ 234 w 538"/>
                  <a:gd name="T67" fmla="*/ 741 h 775"/>
                  <a:gd name="T68" fmla="*/ 237 w 538"/>
                  <a:gd name="T69" fmla="*/ 742 h 775"/>
                  <a:gd name="T70" fmla="*/ 257 w 538"/>
                  <a:gd name="T71" fmla="*/ 723 h 775"/>
                  <a:gd name="T72" fmla="*/ 260 w 538"/>
                  <a:gd name="T73" fmla="*/ 728 h 775"/>
                  <a:gd name="T74" fmla="*/ 267 w 538"/>
                  <a:gd name="T75" fmla="*/ 740 h 775"/>
                  <a:gd name="T76" fmla="*/ 268 w 538"/>
                  <a:gd name="T77" fmla="*/ 775 h 775"/>
                  <a:gd name="T78" fmla="*/ 273 w 538"/>
                  <a:gd name="T79" fmla="*/ 753 h 775"/>
                  <a:gd name="T80" fmla="*/ 278 w 538"/>
                  <a:gd name="T81" fmla="*/ 755 h 775"/>
                  <a:gd name="T82" fmla="*/ 288 w 538"/>
                  <a:gd name="T83" fmla="*/ 765 h 775"/>
                  <a:gd name="T84" fmla="*/ 291 w 538"/>
                  <a:gd name="T85" fmla="*/ 762 h 775"/>
                  <a:gd name="T86" fmla="*/ 292 w 538"/>
                  <a:gd name="T87" fmla="*/ 743 h 775"/>
                  <a:gd name="T88" fmla="*/ 302 w 538"/>
                  <a:gd name="T89" fmla="*/ 766 h 775"/>
                  <a:gd name="T90" fmla="*/ 297 w 538"/>
                  <a:gd name="T91" fmla="*/ 736 h 775"/>
                  <a:gd name="T92" fmla="*/ 305 w 538"/>
                  <a:gd name="T93" fmla="*/ 753 h 775"/>
                  <a:gd name="T94" fmla="*/ 309 w 538"/>
                  <a:gd name="T95" fmla="*/ 756 h 775"/>
                  <a:gd name="T96" fmla="*/ 310 w 538"/>
                  <a:gd name="T97" fmla="*/ 770 h 775"/>
                  <a:gd name="T98" fmla="*/ 317 w 538"/>
                  <a:gd name="T99" fmla="*/ 754 h 775"/>
                  <a:gd name="T100" fmla="*/ 334 w 538"/>
                  <a:gd name="T101" fmla="*/ 741 h 775"/>
                  <a:gd name="T102" fmla="*/ 344 w 538"/>
                  <a:gd name="T103" fmla="*/ 723 h 775"/>
                  <a:gd name="T104" fmla="*/ 343 w 538"/>
                  <a:gd name="T105" fmla="*/ 771 h 775"/>
                  <a:gd name="T106" fmla="*/ 353 w 538"/>
                  <a:gd name="T107" fmla="*/ 722 h 775"/>
                  <a:gd name="T108" fmla="*/ 355 w 538"/>
                  <a:gd name="T109" fmla="*/ 755 h 775"/>
                  <a:gd name="T110" fmla="*/ 362 w 538"/>
                  <a:gd name="T111" fmla="*/ 75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38" h="775">
                    <a:moveTo>
                      <a:pt x="366" y="734"/>
                    </a:moveTo>
                    <a:cubicBezTo>
                      <a:pt x="365" y="739"/>
                      <a:pt x="367" y="747"/>
                      <a:pt x="369" y="753"/>
                    </a:cubicBezTo>
                    <a:cubicBezTo>
                      <a:pt x="372" y="760"/>
                      <a:pt x="376" y="765"/>
                      <a:pt x="381" y="766"/>
                    </a:cubicBezTo>
                    <a:cubicBezTo>
                      <a:pt x="381" y="763"/>
                      <a:pt x="382" y="758"/>
                      <a:pt x="383" y="756"/>
                    </a:cubicBezTo>
                    <a:cubicBezTo>
                      <a:pt x="386" y="750"/>
                      <a:pt x="387" y="741"/>
                      <a:pt x="387" y="735"/>
                    </a:cubicBezTo>
                    <a:cubicBezTo>
                      <a:pt x="387" y="735"/>
                      <a:pt x="388" y="736"/>
                      <a:pt x="388" y="736"/>
                    </a:cubicBezTo>
                    <a:cubicBezTo>
                      <a:pt x="390" y="745"/>
                      <a:pt x="392" y="752"/>
                      <a:pt x="394" y="763"/>
                    </a:cubicBezTo>
                    <a:cubicBezTo>
                      <a:pt x="395" y="751"/>
                      <a:pt x="400" y="741"/>
                      <a:pt x="405" y="731"/>
                    </a:cubicBezTo>
                    <a:cubicBezTo>
                      <a:pt x="410" y="722"/>
                      <a:pt x="416" y="713"/>
                      <a:pt x="419" y="702"/>
                    </a:cubicBezTo>
                    <a:cubicBezTo>
                      <a:pt x="419" y="710"/>
                      <a:pt x="419" y="716"/>
                      <a:pt x="415" y="723"/>
                    </a:cubicBezTo>
                    <a:cubicBezTo>
                      <a:pt x="411" y="730"/>
                      <a:pt x="409" y="734"/>
                      <a:pt x="408" y="739"/>
                    </a:cubicBezTo>
                    <a:cubicBezTo>
                      <a:pt x="406" y="743"/>
                      <a:pt x="405" y="749"/>
                      <a:pt x="403" y="760"/>
                    </a:cubicBezTo>
                    <a:cubicBezTo>
                      <a:pt x="403" y="759"/>
                      <a:pt x="416" y="750"/>
                      <a:pt x="415" y="751"/>
                    </a:cubicBezTo>
                    <a:cubicBezTo>
                      <a:pt x="415" y="754"/>
                      <a:pt x="415" y="756"/>
                      <a:pt x="416" y="758"/>
                    </a:cubicBezTo>
                    <a:cubicBezTo>
                      <a:pt x="425" y="753"/>
                      <a:pt x="433" y="747"/>
                      <a:pt x="441" y="740"/>
                    </a:cubicBezTo>
                    <a:cubicBezTo>
                      <a:pt x="442" y="740"/>
                      <a:pt x="442" y="740"/>
                      <a:pt x="443" y="739"/>
                    </a:cubicBezTo>
                    <a:cubicBezTo>
                      <a:pt x="443" y="739"/>
                      <a:pt x="443" y="739"/>
                      <a:pt x="443" y="739"/>
                    </a:cubicBezTo>
                    <a:cubicBezTo>
                      <a:pt x="445" y="737"/>
                      <a:pt x="447" y="735"/>
                      <a:pt x="450" y="733"/>
                    </a:cubicBezTo>
                    <a:cubicBezTo>
                      <a:pt x="451" y="732"/>
                      <a:pt x="453" y="731"/>
                      <a:pt x="454" y="729"/>
                    </a:cubicBezTo>
                    <a:cubicBezTo>
                      <a:pt x="495" y="691"/>
                      <a:pt x="523" y="638"/>
                      <a:pt x="538" y="572"/>
                    </a:cubicBezTo>
                    <a:lnTo>
                      <a:pt x="416" y="572"/>
                    </a:lnTo>
                    <a:cubicBezTo>
                      <a:pt x="384" y="643"/>
                      <a:pt x="336" y="679"/>
                      <a:pt x="271" y="679"/>
                    </a:cubicBezTo>
                    <a:cubicBezTo>
                      <a:pt x="244" y="679"/>
                      <a:pt x="221" y="673"/>
                      <a:pt x="201" y="661"/>
                    </a:cubicBezTo>
                    <a:cubicBezTo>
                      <a:pt x="181" y="651"/>
                      <a:pt x="165" y="638"/>
                      <a:pt x="153" y="622"/>
                    </a:cubicBezTo>
                    <a:cubicBezTo>
                      <a:pt x="138" y="605"/>
                      <a:pt x="128" y="583"/>
                      <a:pt x="123" y="556"/>
                    </a:cubicBezTo>
                    <a:cubicBezTo>
                      <a:pt x="118" y="528"/>
                      <a:pt x="115" y="476"/>
                      <a:pt x="115" y="399"/>
                    </a:cubicBezTo>
                    <a:cubicBezTo>
                      <a:pt x="115" y="322"/>
                      <a:pt x="118" y="269"/>
                      <a:pt x="123" y="241"/>
                    </a:cubicBezTo>
                    <a:cubicBezTo>
                      <a:pt x="128" y="214"/>
                      <a:pt x="138" y="193"/>
                      <a:pt x="153" y="176"/>
                    </a:cubicBezTo>
                    <a:cubicBezTo>
                      <a:pt x="165" y="160"/>
                      <a:pt x="181" y="146"/>
                      <a:pt x="201" y="135"/>
                    </a:cubicBezTo>
                    <a:cubicBezTo>
                      <a:pt x="221" y="125"/>
                      <a:pt x="244" y="119"/>
                      <a:pt x="271" y="119"/>
                    </a:cubicBezTo>
                    <a:cubicBezTo>
                      <a:pt x="308" y="119"/>
                      <a:pt x="339" y="130"/>
                      <a:pt x="365" y="152"/>
                    </a:cubicBezTo>
                    <a:cubicBezTo>
                      <a:pt x="390" y="174"/>
                      <a:pt x="407" y="201"/>
                      <a:pt x="416" y="232"/>
                    </a:cubicBezTo>
                    <a:lnTo>
                      <a:pt x="538" y="232"/>
                    </a:lnTo>
                    <a:cubicBezTo>
                      <a:pt x="526" y="167"/>
                      <a:pt x="497" y="112"/>
                      <a:pt x="451" y="68"/>
                    </a:cubicBezTo>
                    <a:cubicBezTo>
                      <a:pt x="404" y="24"/>
                      <a:pt x="345" y="1"/>
                      <a:pt x="271" y="0"/>
                    </a:cubicBezTo>
                    <a:cubicBezTo>
                      <a:pt x="212" y="1"/>
                      <a:pt x="162" y="16"/>
                      <a:pt x="122" y="45"/>
                    </a:cubicBezTo>
                    <a:cubicBezTo>
                      <a:pt x="81" y="73"/>
                      <a:pt x="52" y="105"/>
                      <a:pt x="33" y="141"/>
                    </a:cubicBezTo>
                    <a:cubicBezTo>
                      <a:pt x="22" y="160"/>
                      <a:pt x="13" y="185"/>
                      <a:pt x="8" y="216"/>
                    </a:cubicBezTo>
                    <a:cubicBezTo>
                      <a:pt x="3" y="247"/>
                      <a:pt x="0" y="308"/>
                      <a:pt x="0" y="399"/>
                    </a:cubicBezTo>
                    <a:cubicBezTo>
                      <a:pt x="0" y="489"/>
                      <a:pt x="3" y="549"/>
                      <a:pt x="8" y="581"/>
                    </a:cubicBezTo>
                    <a:cubicBezTo>
                      <a:pt x="11" y="598"/>
                      <a:pt x="14" y="612"/>
                      <a:pt x="18" y="623"/>
                    </a:cubicBezTo>
                    <a:cubicBezTo>
                      <a:pt x="23" y="633"/>
                      <a:pt x="28" y="645"/>
                      <a:pt x="33" y="656"/>
                    </a:cubicBezTo>
                    <a:cubicBezTo>
                      <a:pt x="42" y="674"/>
                      <a:pt x="54" y="690"/>
                      <a:pt x="67" y="705"/>
                    </a:cubicBezTo>
                    <a:cubicBezTo>
                      <a:pt x="68" y="706"/>
                      <a:pt x="68" y="706"/>
                      <a:pt x="69" y="707"/>
                    </a:cubicBezTo>
                    <a:cubicBezTo>
                      <a:pt x="78" y="717"/>
                      <a:pt x="88" y="727"/>
                      <a:pt x="100" y="736"/>
                    </a:cubicBezTo>
                    <a:cubicBezTo>
                      <a:pt x="99" y="730"/>
                      <a:pt x="99" y="724"/>
                      <a:pt x="99" y="718"/>
                    </a:cubicBezTo>
                    <a:cubicBezTo>
                      <a:pt x="99" y="711"/>
                      <a:pt x="100" y="704"/>
                      <a:pt x="101" y="697"/>
                    </a:cubicBezTo>
                    <a:cubicBezTo>
                      <a:pt x="100" y="706"/>
                      <a:pt x="101" y="716"/>
                      <a:pt x="103" y="725"/>
                    </a:cubicBezTo>
                    <a:cubicBezTo>
                      <a:pt x="104" y="731"/>
                      <a:pt x="106" y="736"/>
                      <a:pt x="108" y="742"/>
                    </a:cubicBezTo>
                    <a:cubicBezTo>
                      <a:pt x="110" y="743"/>
                      <a:pt x="111" y="745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5" y="747"/>
                      <a:pt x="116" y="748"/>
                      <a:pt x="118" y="750"/>
                    </a:cubicBezTo>
                    <a:lnTo>
                      <a:pt x="119" y="750"/>
                    </a:lnTo>
                    <a:cubicBezTo>
                      <a:pt x="119" y="750"/>
                      <a:pt x="119" y="750"/>
                      <a:pt x="119" y="750"/>
                    </a:cubicBezTo>
                    <a:cubicBezTo>
                      <a:pt x="120" y="750"/>
                      <a:pt x="120" y="751"/>
                      <a:pt x="121" y="752"/>
                    </a:cubicBezTo>
                    <a:cubicBezTo>
                      <a:pt x="121" y="749"/>
                      <a:pt x="121" y="746"/>
                      <a:pt x="120" y="743"/>
                    </a:cubicBezTo>
                    <a:cubicBezTo>
                      <a:pt x="120" y="743"/>
                      <a:pt x="122" y="745"/>
                      <a:pt x="122" y="745"/>
                    </a:cubicBezTo>
                    <a:cubicBezTo>
                      <a:pt x="122" y="746"/>
                      <a:pt x="123" y="747"/>
                      <a:pt x="124" y="749"/>
                    </a:cubicBezTo>
                    <a:cubicBezTo>
                      <a:pt x="126" y="745"/>
                      <a:pt x="129" y="741"/>
                      <a:pt x="130" y="738"/>
                    </a:cubicBezTo>
                    <a:cubicBezTo>
                      <a:pt x="135" y="731"/>
                      <a:pt x="146" y="721"/>
                      <a:pt x="147" y="710"/>
                    </a:cubicBezTo>
                    <a:cubicBezTo>
                      <a:pt x="146" y="719"/>
                      <a:pt x="142" y="727"/>
                      <a:pt x="138" y="735"/>
                    </a:cubicBezTo>
                    <a:cubicBezTo>
                      <a:pt x="134" y="742"/>
                      <a:pt x="130" y="749"/>
                      <a:pt x="128" y="757"/>
                    </a:cubicBezTo>
                    <a:cubicBezTo>
                      <a:pt x="131" y="758"/>
                      <a:pt x="133" y="760"/>
                      <a:pt x="135" y="761"/>
                    </a:cubicBezTo>
                    <a:cubicBezTo>
                      <a:pt x="136" y="759"/>
                      <a:pt x="137" y="756"/>
                      <a:pt x="137" y="754"/>
                    </a:cubicBezTo>
                    <a:cubicBezTo>
                      <a:pt x="137" y="751"/>
                      <a:pt x="137" y="747"/>
                      <a:pt x="138" y="744"/>
                    </a:cubicBezTo>
                    <a:cubicBezTo>
                      <a:pt x="137" y="751"/>
                      <a:pt x="139" y="758"/>
                      <a:pt x="141" y="764"/>
                    </a:cubicBezTo>
                    <a:cubicBezTo>
                      <a:pt x="144" y="766"/>
                      <a:pt x="147" y="768"/>
                      <a:pt x="150" y="769"/>
                    </a:cubicBezTo>
                    <a:cubicBezTo>
                      <a:pt x="150" y="762"/>
                      <a:pt x="150" y="755"/>
                      <a:pt x="149" y="748"/>
                    </a:cubicBezTo>
                    <a:cubicBezTo>
                      <a:pt x="148" y="741"/>
                      <a:pt x="146" y="734"/>
                      <a:pt x="144" y="726"/>
                    </a:cubicBezTo>
                    <a:cubicBezTo>
                      <a:pt x="144" y="726"/>
                      <a:pt x="144" y="726"/>
                      <a:pt x="144" y="725"/>
                    </a:cubicBezTo>
                    <a:cubicBezTo>
                      <a:pt x="144" y="726"/>
                      <a:pt x="144" y="726"/>
                      <a:pt x="144" y="726"/>
                    </a:cubicBezTo>
                    <a:cubicBezTo>
                      <a:pt x="145" y="728"/>
                      <a:pt x="147" y="730"/>
                      <a:pt x="148" y="731"/>
                    </a:cubicBezTo>
                    <a:cubicBezTo>
                      <a:pt x="149" y="734"/>
                      <a:pt x="151" y="739"/>
                      <a:pt x="152" y="743"/>
                    </a:cubicBezTo>
                    <a:cubicBezTo>
                      <a:pt x="153" y="747"/>
                      <a:pt x="156" y="754"/>
                      <a:pt x="157" y="759"/>
                    </a:cubicBezTo>
                    <a:cubicBezTo>
                      <a:pt x="159" y="762"/>
                      <a:pt x="163" y="772"/>
                      <a:pt x="165" y="773"/>
                    </a:cubicBezTo>
                    <a:cubicBezTo>
                      <a:pt x="165" y="772"/>
                      <a:pt x="164" y="769"/>
                      <a:pt x="164" y="767"/>
                    </a:cubicBezTo>
                    <a:cubicBezTo>
                      <a:pt x="164" y="763"/>
                      <a:pt x="164" y="758"/>
                      <a:pt x="164" y="753"/>
                    </a:cubicBezTo>
                    <a:cubicBezTo>
                      <a:pt x="164" y="761"/>
                      <a:pt x="173" y="768"/>
                      <a:pt x="178" y="771"/>
                    </a:cubicBezTo>
                    <a:cubicBezTo>
                      <a:pt x="178" y="769"/>
                      <a:pt x="179" y="768"/>
                      <a:pt x="179" y="766"/>
                    </a:cubicBezTo>
                    <a:cubicBezTo>
                      <a:pt x="180" y="763"/>
                      <a:pt x="180" y="760"/>
                      <a:pt x="180" y="757"/>
                    </a:cubicBezTo>
                    <a:cubicBezTo>
                      <a:pt x="181" y="751"/>
                      <a:pt x="182" y="742"/>
                      <a:pt x="180" y="735"/>
                    </a:cubicBezTo>
                    <a:cubicBezTo>
                      <a:pt x="182" y="740"/>
                      <a:pt x="184" y="745"/>
                      <a:pt x="186" y="751"/>
                    </a:cubicBezTo>
                    <a:cubicBezTo>
                      <a:pt x="187" y="757"/>
                      <a:pt x="189" y="764"/>
                      <a:pt x="190" y="771"/>
                    </a:cubicBezTo>
                    <a:cubicBezTo>
                      <a:pt x="191" y="758"/>
                      <a:pt x="190" y="765"/>
                      <a:pt x="195" y="753"/>
                    </a:cubicBezTo>
                    <a:cubicBezTo>
                      <a:pt x="198" y="745"/>
                      <a:pt x="199" y="737"/>
                      <a:pt x="200" y="730"/>
                    </a:cubicBezTo>
                    <a:cubicBezTo>
                      <a:pt x="200" y="722"/>
                      <a:pt x="200" y="715"/>
                      <a:pt x="198" y="711"/>
                    </a:cubicBezTo>
                    <a:cubicBezTo>
                      <a:pt x="198" y="713"/>
                      <a:pt x="204" y="722"/>
                      <a:pt x="205" y="726"/>
                    </a:cubicBezTo>
                    <a:cubicBezTo>
                      <a:pt x="205" y="736"/>
                      <a:pt x="202" y="742"/>
                      <a:pt x="202" y="751"/>
                    </a:cubicBezTo>
                    <a:cubicBezTo>
                      <a:pt x="200" y="766"/>
                      <a:pt x="199" y="759"/>
                      <a:pt x="209" y="768"/>
                    </a:cubicBezTo>
                    <a:cubicBezTo>
                      <a:pt x="209" y="768"/>
                      <a:pt x="208" y="765"/>
                      <a:pt x="208" y="764"/>
                    </a:cubicBezTo>
                    <a:cubicBezTo>
                      <a:pt x="208" y="758"/>
                      <a:pt x="208" y="754"/>
                      <a:pt x="209" y="749"/>
                    </a:cubicBezTo>
                    <a:cubicBezTo>
                      <a:pt x="210" y="745"/>
                      <a:pt x="211" y="740"/>
                      <a:pt x="213" y="734"/>
                    </a:cubicBezTo>
                    <a:cubicBezTo>
                      <a:pt x="213" y="742"/>
                      <a:pt x="216" y="756"/>
                      <a:pt x="222" y="762"/>
                    </a:cubicBezTo>
                    <a:cubicBezTo>
                      <a:pt x="222" y="761"/>
                      <a:pt x="221" y="759"/>
                      <a:pt x="221" y="758"/>
                    </a:cubicBezTo>
                    <a:cubicBezTo>
                      <a:pt x="221" y="756"/>
                      <a:pt x="221" y="757"/>
                      <a:pt x="221" y="753"/>
                    </a:cubicBezTo>
                    <a:cubicBezTo>
                      <a:pt x="220" y="754"/>
                      <a:pt x="222" y="758"/>
                      <a:pt x="224" y="759"/>
                    </a:cubicBezTo>
                    <a:cubicBezTo>
                      <a:pt x="225" y="759"/>
                      <a:pt x="226" y="761"/>
                      <a:pt x="228" y="762"/>
                    </a:cubicBezTo>
                    <a:cubicBezTo>
                      <a:pt x="228" y="760"/>
                      <a:pt x="229" y="757"/>
                      <a:pt x="230" y="755"/>
                    </a:cubicBezTo>
                    <a:cubicBezTo>
                      <a:pt x="232" y="752"/>
                      <a:pt x="233" y="748"/>
                      <a:pt x="234" y="743"/>
                    </a:cubicBezTo>
                    <a:cubicBezTo>
                      <a:pt x="233" y="743"/>
                      <a:pt x="232" y="742"/>
                      <a:pt x="231" y="741"/>
                    </a:cubicBezTo>
                    <a:cubicBezTo>
                      <a:pt x="232" y="740"/>
                      <a:pt x="233" y="741"/>
                      <a:pt x="234" y="741"/>
                    </a:cubicBezTo>
                    <a:cubicBezTo>
                      <a:pt x="234" y="739"/>
                      <a:pt x="234" y="736"/>
                      <a:pt x="235" y="734"/>
                    </a:cubicBezTo>
                    <a:cubicBezTo>
                      <a:pt x="235" y="734"/>
                      <a:pt x="235" y="736"/>
                      <a:pt x="235" y="736"/>
                    </a:cubicBezTo>
                    <a:cubicBezTo>
                      <a:pt x="236" y="738"/>
                      <a:pt x="236" y="740"/>
                      <a:pt x="237" y="742"/>
                    </a:cubicBezTo>
                    <a:cubicBezTo>
                      <a:pt x="239" y="744"/>
                      <a:pt x="242" y="746"/>
                      <a:pt x="244" y="749"/>
                    </a:cubicBezTo>
                    <a:cubicBezTo>
                      <a:pt x="246" y="742"/>
                      <a:pt x="250" y="735"/>
                      <a:pt x="254" y="729"/>
                    </a:cubicBezTo>
                    <a:cubicBezTo>
                      <a:pt x="254" y="727"/>
                      <a:pt x="256" y="725"/>
                      <a:pt x="257" y="723"/>
                    </a:cubicBezTo>
                    <a:cubicBezTo>
                      <a:pt x="260" y="716"/>
                      <a:pt x="264" y="710"/>
                      <a:pt x="267" y="702"/>
                    </a:cubicBezTo>
                    <a:cubicBezTo>
                      <a:pt x="266" y="710"/>
                      <a:pt x="266" y="716"/>
                      <a:pt x="262" y="723"/>
                    </a:cubicBezTo>
                    <a:cubicBezTo>
                      <a:pt x="261" y="725"/>
                      <a:pt x="260" y="726"/>
                      <a:pt x="260" y="728"/>
                    </a:cubicBezTo>
                    <a:cubicBezTo>
                      <a:pt x="259" y="732"/>
                      <a:pt x="259" y="736"/>
                      <a:pt x="260" y="740"/>
                    </a:cubicBezTo>
                    <a:cubicBezTo>
                      <a:pt x="265" y="734"/>
                      <a:pt x="271" y="730"/>
                      <a:pt x="279" y="728"/>
                    </a:cubicBezTo>
                    <a:cubicBezTo>
                      <a:pt x="278" y="732"/>
                      <a:pt x="269" y="736"/>
                      <a:pt x="267" y="740"/>
                    </a:cubicBezTo>
                    <a:cubicBezTo>
                      <a:pt x="265" y="744"/>
                      <a:pt x="264" y="748"/>
                      <a:pt x="264" y="753"/>
                    </a:cubicBezTo>
                    <a:cubicBezTo>
                      <a:pt x="264" y="754"/>
                      <a:pt x="265" y="756"/>
                      <a:pt x="265" y="757"/>
                    </a:cubicBezTo>
                    <a:cubicBezTo>
                      <a:pt x="267" y="762"/>
                      <a:pt x="267" y="768"/>
                      <a:pt x="268" y="775"/>
                    </a:cubicBezTo>
                    <a:cubicBezTo>
                      <a:pt x="270" y="773"/>
                      <a:pt x="273" y="771"/>
                      <a:pt x="274" y="769"/>
                    </a:cubicBezTo>
                    <a:lnTo>
                      <a:pt x="274" y="769"/>
                    </a:lnTo>
                    <a:cubicBezTo>
                      <a:pt x="274" y="764"/>
                      <a:pt x="274" y="758"/>
                      <a:pt x="273" y="753"/>
                    </a:cubicBezTo>
                    <a:cubicBezTo>
                      <a:pt x="273" y="754"/>
                      <a:pt x="274" y="755"/>
                      <a:pt x="275" y="756"/>
                    </a:cubicBezTo>
                    <a:cubicBezTo>
                      <a:pt x="276" y="757"/>
                      <a:pt x="277" y="759"/>
                      <a:pt x="278" y="761"/>
                    </a:cubicBezTo>
                    <a:cubicBezTo>
                      <a:pt x="278" y="759"/>
                      <a:pt x="278" y="757"/>
                      <a:pt x="278" y="755"/>
                    </a:cubicBezTo>
                    <a:cubicBezTo>
                      <a:pt x="280" y="757"/>
                      <a:pt x="282" y="760"/>
                      <a:pt x="283" y="762"/>
                    </a:cubicBezTo>
                    <a:cubicBezTo>
                      <a:pt x="285" y="764"/>
                      <a:pt x="287" y="767"/>
                      <a:pt x="288" y="770"/>
                    </a:cubicBezTo>
                    <a:cubicBezTo>
                      <a:pt x="288" y="768"/>
                      <a:pt x="287" y="766"/>
                      <a:pt x="288" y="765"/>
                    </a:cubicBezTo>
                    <a:cubicBezTo>
                      <a:pt x="288" y="762"/>
                      <a:pt x="290" y="758"/>
                      <a:pt x="290" y="755"/>
                    </a:cubicBezTo>
                    <a:cubicBezTo>
                      <a:pt x="290" y="758"/>
                      <a:pt x="290" y="760"/>
                      <a:pt x="291" y="763"/>
                    </a:cubicBezTo>
                    <a:cubicBezTo>
                      <a:pt x="291" y="763"/>
                      <a:pt x="291" y="762"/>
                      <a:pt x="291" y="762"/>
                    </a:cubicBezTo>
                    <a:cubicBezTo>
                      <a:pt x="291" y="759"/>
                      <a:pt x="291" y="754"/>
                      <a:pt x="292" y="751"/>
                    </a:cubicBezTo>
                    <a:cubicBezTo>
                      <a:pt x="292" y="745"/>
                      <a:pt x="290" y="739"/>
                      <a:pt x="286" y="736"/>
                    </a:cubicBezTo>
                    <a:cubicBezTo>
                      <a:pt x="287" y="736"/>
                      <a:pt x="292" y="742"/>
                      <a:pt x="292" y="743"/>
                    </a:cubicBezTo>
                    <a:cubicBezTo>
                      <a:pt x="295" y="747"/>
                      <a:pt x="296" y="752"/>
                      <a:pt x="298" y="757"/>
                    </a:cubicBezTo>
                    <a:cubicBezTo>
                      <a:pt x="299" y="762"/>
                      <a:pt x="300" y="767"/>
                      <a:pt x="301" y="772"/>
                    </a:cubicBezTo>
                    <a:cubicBezTo>
                      <a:pt x="301" y="770"/>
                      <a:pt x="302" y="768"/>
                      <a:pt x="302" y="766"/>
                    </a:cubicBezTo>
                    <a:cubicBezTo>
                      <a:pt x="302" y="761"/>
                      <a:pt x="301" y="756"/>
                      <a:pt x="300" y="751"/>
                    </a:cubicBezTo>
                    <a:cubicBezTo>
                      <a:pt x="299" y="746"/>
                      <a:pt x="298" y="742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8" y="738"/>
                      <a:pt x="300" y="741"/>
                      <a:pt x="300" y="742"/>
                    </a:cubicBezTo>
                    <a:cubicBezTo>
                      <a:pt x="302" y="745"/>
                      <a:pt x="304" y="750"/>
                      <a:pt x="305" y="753"/>
                    </a:cubicBezTo>
                    <a:cubicBezTo>
                      <a:pt x="305" y="754"/>
                      <a:pt x="305" y="756"/>
                      <a:pt x="306" y="758"/>
                    </a:cubicBezTo>
                    <a:cubicBezTo>
                      <a:pt x="307" y="754"/>
                      <a:pt x="309" y="750"/>
                      <a:pt x="311" y="747"/>
                    </a:cubicBezTo>
                    <a:cubicBezTo>
                      <a:pt x="310" y="750"/>
                      <a:pt x="310" y="753"/>
                      <a:pt x="309" y="756"/>
                    </a:cubicBezTo>
                    <a:cubicBezTo>
                      <a:pt x="309" y="758"/>
                      <a:pt x="310" y="759"/>
                      <a:pt x="309" y="761"/>
                    </a:cubicBezTo>
                    <a:cubicBezTo>
                      <a:pt x="309" y="762"/>
                      <a:pt x="310" y="765"/>
                      <a:pt x="310" y="766"/>
                    </a:cubicBezTo>
                    <a:cubicBezTo>
                      <a:pt x="310" y="767"/>
                      <a:pt x="310" y="768"/>
                      <a:pt x="310" y="770"/>
                    </a:cubicBezTo>
                    <a:cubicBezTo>
                      <a:pt x="311" y="772"/>
                      <a:pt x="313" y="773"/>
                      <a:pt x="315" y="773"/>
                    </a:cubicBezTo>
                    <a:cubicBezTo>
                      <a:pt x="315" y="771"/>
                      <a:pt x="316" y="769"/>
                      <a:pt x="317" y="767"/>
                    </a:cubicBezTo>
                    <a:cubicBezTo>
                      <a:pt x="317" y="763"/>
                      <a:pt x="317" y="758"/>
                      <a:pt x="317" y="754"/>
                    </a:cubicBezTo>
                    <a:cubicBezTo>
                      <a:pt x="317" y="757"/>
                      <a:pt x="318" y="760"/>
                      <a:pt x="320" y="762"/>
                    </a:cubicBezTo>
                    <a:cubicBezTo>
                      <a:pt x="323" y="757"/>
                      <a:pt x="326" y="752"/>
                      <a:pt x="328" y="749"/>
                    </a:cubicBezTo>
                    <a:cubicBezTo>
                      <a:pt x="329" y="746"/>
                      <a:pt x="332" y="744"/>
                      <a:pt x="334" y="741"/>
                    </a:cubicBezTo>
                    <a:cubicBezTo>
                      <a:pt x="333" y="738"/>
                      <a:pt x="332" y="735"/>
                      <a:pt x="331" y="733"/>
                    </a:cubicBezTo>
                    <a:cubicBezTo>
                      <a:pt x="333" y="735"/>
                      <a:pt x="334" y="737"/>
                      <a:pt x="335" y="739"/>
                    </a:cubicBezTo>
                    <a:cubicBezTo>
                      <a:pt x="339" y="734"/>
                      <a:pt x="343" y="729"/>
                      <a:pt x="344" y="723"/>
                    </a:cubicBezTo>
                    <a:cubicBezTo>
                      <a:pt x="343" y="730"/>
                      <a:pt x="340" y="736"/>
                      <a:pt x="337" y="742"/>
                    </a:cubicBezTo>
                    <a:cubicBezTo>
                      <a:pt x="339" y="747"/>
                      <a:pt x="340" y="751"/>
                      <a:pt x="341" y="756"/>
                    </a:cubicBezTo>
                    <a:cubicBezTo>
                      <a:pt x="342" y="761"/>
                      <a:pt x="342" y="766"/>
                      <a:pt x="343" y="771"/>
                    </a:cubicBezTo>
                    <a:cubicBezTo>
                      <a:pt x="343" y="765"/>
                      <a:pt x="344" y="760"/>
                      <a:pt x="345" y="755"/>
                    </a:cubicBezTo>
                    <a:cubicBezTo>
                      <a:pt x="345" y="751"/>
                      <a:pt x="346" y="746"/>
                      <a:pt x="348" y="740"/>
                    </a:cubicBezTo>
                    <a:cubicBezTo>
                      <a:pt x="350" y="733"/>
                      <a:pt x="352" y="727"/>
                      <a:pt x="353" y="722"/>
                    </a:cubicBezTo>
                    <a:cubicBezTo>
                      <a:pt x="353" y="718"/>
                      <a:pt x="353" y="713"/>
                      <a:pt x="349" y="709"/>
                    </a:cubicBezTo>
                    <a:cubicBezTo>
                      <a:pt x="361" y="709"/>
                      <a:pt x="358" y="729"/>
                      <a:pt x="357" y="737"/>
                    </a:cubicBezTo>
                    <a:cubicBezTo>
                      <a:pt x="357" y="745"/>
                      <a:pt x="355" y="750"/>
                      <a:pt x="355" y="755"/>
                    </a:cubicBezTo>
                    <a:cubicBezTo>
                      <a:pt x="355" y="760"/>
                      <a:pt x="357" y="764"/>
                      <a:pt x="362" y="769"/>
                    </a:cubicBezTo>
                    <a:cubicBezTo>
                      <a:pt x="362" y="768"/>
                      <a:pt x="361" y="765"/>
                      <a:pt x="361" y="764"/>
                    </a:cubicBezTo>
                    <a:cubicBezTo>
                      <a:pt x="361" y="758"/>
                      <a:pt x="361" y="754"/>
                      <a:pt x="362" y="750"/>
                    </a:cubicBezTo>
                    <a:cubicBezTo>
                      <a:pt x="363" y="745"/>
                      <a:pt x="364" y="741"/>
                      <a:pt x="366" y="7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0" name="Freeform 37">
                <a:extLst>
                  <a:ext uri="{FF2B5EF4-FFF2-40B4-BE49-F238E27FC236}">
                    <a16:creationId xmlns:a16="http://schemas.microsoft.com/office/drawing/2014/main" id="{10DFCB3C-637E-6B6A-71AE-F652951DE2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7156" y="3934013"/>
                <a:ext cx="1810" cy="3620"/>
              </a:xfrm>
              <a:custGeom>
                <a:avLst/>
                <a:gdLst>
                  <a:gd name="T0" fmla="*/ 2 w 3"/>
                  <a:gd name="T1" fmla="*/ 0 h 12"/>
                  <a:gd name="T2" fmla="*/ 0 w 3"/>
                  <a:gd name="T3" fmla="*/ 12 h 12"/>
                  <a:gd name="T4" fmla="*/ 3 w 3"/>
                  <a:gd name="T5" fmla="*/ 6 h 12"/>
                  <a:gd name="T6" fmla="*/ 3 w 3"/>
                  <a:gd name="T7" fmla="*/ 5 h 12"/>
                  <a:gd name="T8" fmla="*/ 2 w 3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2">
                    <a:moveTo>
                      <a:pt x="2" y="0"/>
                    </a:moveTo>
                    <a:cubicBezTo>
                      <a:pt x="2" y="4"/>
                      <a:pt x="1" y="7"/>
                      <a:pt x="0" y="12"/>
                    </a:cubicBezTo>
                    <a:cubicBezTo>
                      <a:pt x="0" y="11"/>
                      <a:pt x="2" y="8"/>
                      <a:pt x="3" y="6"/>
                    </a:cubicBezTo>
                    <a:cubicBezTo>
                      <a:pt x="3" y="6"/>
                      <a:pt x="3" y="5"/>
                      <a:pt x="3" y="5"/>
                    </a:cubicBezTo>
                    <a:cubicBezTo>
                      <a:pt x="3" y="3"/>
                      <a:pt x="3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1" name="Freeform 38">
                <a:extLst>
                  <a:ext uri="{FF2B5EF4-FFF2-40B4-BE49-F238E27FC236}">
                    <a16:creationId xmlns:a16="http://schemas.microsoft.com/office/drawing/2014/main" id="{D3CD4A97-49DB-DCCB-432F-F93F2AEBEF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1726" y="3934013"/>
                <a:ext cx="1810" cy="5430"/>
              </a:xfrm>
              <a:custGeom>
                <a:avLst/>
                <a:gdLst>
                  <a:gd name="T0" fmla="*/ 0 w 5"/>
                  <a:gd name="T1" fmla="*/ 0 h 14"/>
                  <a:gd name="T2" fmla="*/ 3 w 5"/>
                  <a:gd name="T3" fmla="*/ 14 h 14"/>
                  <a:gd name="T4" fmla="*/ 5 w 5"/>
                  <a:gd name="T5" fmla="*/ 6 h 14"/>
                  <a:gd name="T6" fmla="*/ 0 w 5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4">
                    <a:moveTo>
                      <a:pt x="0" y="0"/>
                    </a:moveTo>
                    <a:cubicBezTo>
                      <a:pt x="1" y="4"/>
                      <a:pt x="2" y="9"/>
                      <a:pt x="3" y="14"/>
                    </a:cubicBezTo>
                    <a:cubicBezTo>
                      <a:pt x="4" y="11"/>
                      <a:pt x="4" y="9"/>
                      <a:pt x="5" y="6"/>
                    </a:cubicBezTo>
                    <a:cubicBezTo>
                      <a:pt x="4" y="4"/>
                      <a:pt x="2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2" name="Freeform 39">
                <a:extLst>
                  <a:ext uri="{FF2B5EF4-FFF2-40B4-BE49-F238E27FC236}">
                    <a16:creationId xmlns:a16="http://schemas.microsoft.com/office/drawing/2014/main" id="{DEBA006C-188C-9F98-71AD-E953F5BB51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1051" y="39322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3" name="Freeform 40">
                <a:extLst>
                  <a:ext uri="{FF2B5EF4-FFF2-40B4-BE49-F238E27FC236}">
                    <a16:creationId xmlns:a16="http://schemas.microsoft.com/office/drawing/2014/main" id="{053EA6E6-A265-C0C4-4C5A-2E9CABB8FE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2861" y="3934013"/>
                <a:ext cx="0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4" name="Freeform 41">
                <a:extLst>
                  <a:ext uri="{FF2B5EF4-FFF2-40B4-BE49-F238E27FC236}">
                    <a16:creationId xmlns:a16="http://schemas.microsoft.com/office/drawing/2014/main" id="{A9F55A8B-ECAA-74C6-C3CA-B027BD5133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37923" y="3932203"/>
                <a:ext cx="3620" cy="10859"/>
              </a:xfrm>
              <a:custGeom>
                <a:avLst/>
                <a:gdLst>
                  <a:gd name="T0" fmla="*/ 9 w 10"/>
                  <a:gd name="T1" fmla="*/ 11 h 24"/>
                  <a:gd name="T2" fmla="*/ 10 w 10"/>
                  <a:gd name="T3" fmla="*/ 0 h 24"/>
                  <a:gd name="T4" fmla="*/ 0 w 10"/>
                  <a:gd name="T5" fmla="*/ 21 h 24"/>
                  <a:gd name="T6" fmla="*/ 6 w 10"/>
                  <a:gd name="T7" fmla="*/ 24 h 24"/>
                  <a:gd name="T8" fmla="*/ 7 w 10"/>
                  <a:gd name="T9" fmla="*/ 20 h 24"/>
                  <a:gd name="T10" fmla="*/ 9 w 10"/>
                  <a:gd name="T11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4">
                    <a:moveTo>
                      <a:pt x="9" y="11"/>
                    </a:moveTo>
                    <a:cubicBezTo>
                      <a:pt x="10" y="8"/>
                      <a:pt x="10" y="4"/>
                      <a:pt x="10" y="0"/>
                    </a:cubicBezTo>
                    <a:cubicBezTo>
                      <a:pt x="6" y="7"/>
                      <a:pt x="2" y="14"/>
                      <a:pt x="0" y="21"/>
                    </a:cubicBezTo>
                    <a:cubicBezTo>
                      <a:pt x="2" y="23"/>
                      <a:pt x="4" y="24"/>
                      <a:pt x="6" y="24"/>
                    </a:cubicBezTo>
                    <a:cubicBezTo>
                      <a:pt x="6" y="22"/>
                      <a:pt x="7" y="22"/>
                      <a:pt x="7" y="20"/>
                    </a:cubicBezTo>
                    <a:cubicBezTo>
                      <a:pt x="7" y="17"/>
                      <a:pt x="9" y="14"/>
                      <a:pt x="9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5" name="Freeform 42">
                <a:extLst>
                  <a:ext uri="{FF2B5EF4-FFF2-40B4-BE49-F238E27FC236}">
                    <a16:creationId xmlns:a16="http://schemas.microsoft.com/office/drawing/2014/main" id="{D3D378FD-218D-5549-9D5E-F5AD8B8A41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29360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6" name="Freeform 43">
                <a:extLst>
                  <a:ext uri="{FF2B5EF4-FFF2-40B4-BE49-F238E27FC236}">
                    <a16:creationId xmlns:a16="http://schemas.microsoft.com/office/drawing/2014/main" id="{4EF6B16F-0CE0-4816-06D8-3285B9681A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56048" y="4004596"/>
                <a:ext cx="54295" cy="74204"/>
              </a:xfrm>
              <a:custGeom>
                <a:avLst/>
                <a:gdLst>
                  <a:gd name="T0" fmla="*/ 84 w 130"/>
                  <a:gd name="T1" fmla="*/ 181 h 181"/>
                  <a:gd name="T2" fmla="*/ 84 w 130"/>
                  <a:gd name="T3" fmla="*/ 33 h 181"/>
                  <a:gd name="T4" fmla="*/ 130 w 130"/>
                  <a:gd name="T5" fmla="*/ 33 h 181"/>
                  <a:gd name="T6" fmla="*/ 130 w 130"/>
                  <a:gd name="T7" fmla="*/ 0 h 181"/>
                  <a:gd name="T8" fmla="*/ 0 w 130"/>
                  <a:gd name="T9" fmla="*/ 0 h 181"/>
                  <a:gd name="T10" fmla="*/ 0 w 130"/>
                  <a:gd name="T11" fmla="*/ 33 h 181"/>
                  <a:gd name="T12" fmla="*/ 45 w 130"/>
                  <a:gd name="T13" fmla="*/ 33 h 181"/>
                  <a:gd name="T14" fmla="*/ 45 w 130"/>
                  <a:gd name="T15" fmla="*/ 181 h 181"/>
                  <a:gd name="T16" fmla="*/ 84 w 130"/>
                  <a:gd name="T17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0" h="181">
                    <a:moveTo>
                      <a:pt x="84" y="181"/>
                    </a:moveTo>
                    <a:lnTo>
                      <a:pt x="84" y="33"/>
                    </a:lnTo>
                    <a:lnTo>
                      <a:pt x="130" y="33"/>
                    </a:lnTo>
                    <a:lnTo>
                      <a:pt x="130" y="0"/>
                    </a:lnTo>
                    <a:lnTo>
                      <a:pt x="0" y="0"/>
                    </a:lnTo>
                    <a:lnTo>
                      <a:pt x="0" y="33"/>
                    </a:lnTo>
                    <a:lnTo>
                      <a:pt x="45" y="33"/>
                    </a:lnTo>
                    <a:lnTo>
                      <a:pt x="45" y="181"/>
                    </a:lnTo>
                    <a:lnTo>
                      <a:pt x="84" y="1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7" name="Freeform 44">
                <a:extLst>
                  <a:ext uri="{FF2B5EF4-FFF2-40B4-BE49-F238E27FC236}">
                    <a16:creationId xmlns:a16="http://schemas.microsoft.com/office/drawing/2014/main" id="{6594D440-AFD7-D8A6-8A8E-782F5BA085C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81844" y="4002787"/>
                <a:ext cx="61534" cy="77823"/>
              </a:xfrm>
              <a:custGeom>
                <a:avLst/>
                <a:gdLst>
                  <a:gd name="T0" fmla="*/ 76 w 150"/>
                  <a:gd name="T1" fmla="*/ 154 h 187"/>
                  <a:gd name="T2" fmla="*/ 40 w 150"/>
                  <a:gd name="T3" fmla="*/ 92 h 187"/>
                  <a:gd name="T4" fmla="*/ 74 w 150"/>
                  <a:gd name="T5" fmla="*/ 33 h 187"/>
                  <a:gd name="T6" fmla="*/ 109 w 150"/>
                  <a:gd name="T7" fmla="*/ 95 h 187"/>
                  <a:gd name="T8" fmla="*/ 76 w 150"/>
                  <a:gd name="T9" fmla="*/ 154 h 187"/>
                  <a:gd name="T10" fmla="*/ 76 w 150"/>
                  <a:gd name="T11" fmla="*/ 0 h 187"/>
                  <a:gd name="T12" fmla="*/ 0 w 150"/>
                  <a:gd name="T13" fmla="*/ 95 h 187"/>
                  <a:gd name="T14" fmla="*/ 74 w 150"/>
                  <a:gd name="T15" fmla="*/ 187 h 187"/>
                  <a:gd name="T16" fmla="*/ 150 w 150"/>
                  <a:gd name="T17" fmla="*/ 93 h 187"/>
                  <a:gd name="T18" fmla="*/ 76 w 150"/>
                  <a:gd name="T1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87">
                    <a:moveTo>
                      <a:pt x="76" y="154"/>
                    </a:moveTo>
                    <a:cubicBezTo>
                      <a:pt x="54" y="154"/>
                      <a:pt x="40" y="138"/>
                      <a:pt x="40" y="92"/>
                    </a:cubicBezTo>
                    <a:cubicBezTo>
                      <a:pt x="40" y="47"/>
                      <a:pt x="54" y="33"/>
                      <a:pt x="74" y="33"/>
                    </a:cubicBezTo>
                    <a:cubicBezTo>
                      <a:pt x="96" y="33"/>
                      <a:pt x="109" y="49"/>
                      <a:pt x="109" y="95"/>
                    </a:cubicBezTo>
                    <a:cubicBezTo>
                      <a:pt x="109" y="139"/>
                      <a:pt x="97" y="154"/>
                      <a:pt x="76" y="154"/>
                    </a:cubicBezTo>
                    <a:close/>
                    <a:moveTo>
                      <a:pt x="76" y="0"/>
                    </a:moveTo>
                    <a:cubicBezTo>
                      <a:pt x="32" y="0"/>
                      <a:pt x="0" y="29"/>
                      <a:pt x="0" y="95"/>
                    </a:cubicBezTo>
                    <a:cubicBezTo>
                      <a:pt x="0" y="163"/>
                      <a:pt x="28" y="187"/>
                      <a:pt x="74" y="187"/>
                    </a:cubicBezTo>
                    <a:cubicBezTo>
                      <a:pt x="118" y="187"/>
                      <a:pt x="150" y="159"/>
                      <a:pt x="150" y="93"/>
                    </a:cubicBezTo>
                    <a:cubicBezTo>
                      <a:pt x="150" y="25"/>
                      <a:pt x="121" y="0"/>
                      <a:pt x="7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" name="Freeform 45">
                <a:extLst>
                  <a:ext uri="{FF2B5EF4-FFF2-40B4-BE49-F238E27FC236}">
                    <a16:creationId xmlns:a16="http://schemas.microsoft.com/office/drawing/2014/main" id="{4601378D-4F67-F047-B0A8-A32AFE6A54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07642" y="4004596"/>
                <a:ext cx="54295" cy="74204"/>
              </a:xfrm>
              <a:custGeom>
                <a:avLst/>
                <a:gdLst>
                  <a:gd name="T0" fmla="*/ 66 w 132"/>
                  <a:gd name="T1" fmla="*/ 149 h 181"/>
                  <a:gd name="T2" fmla="*/ 39 w 132"/>
                  <a:gd name="T3" fmla="*/ 149 h 181"/>
                  <a:gd name="T4" fmla="*/ 39 w 132"/>
                  <a:gd name="T5" fmla="*/ 105 h 181"/>
                  <a:gd name="T6" fmla="*/ 64 w 132"/>
                  <a:gd name="T7" fmla="*/ 105 h 181"/>
                  <a:gd name="T8" fmla="*/ 92 w 132"/>
                  <a:gd name="T9" fmla="*/ 127 h 181"/>
                  <a:gd name="T10" fmla="*/ 66 w 132"/>
                  <a:gd name="T11" fmla="*/ 149 h 181"/>
                  <a:gd name="T12" fmla="*/ 39 w 132"/>
                  <a:gd name="T13" fmla="*/ 33 h 181"/>
                  <a:gd name="T14" fmla="*/ 60 w 132"/>
                  <a:gd name="T15" fmla="*/ 33 h 181"/>
                  <a:gd name="T16" fmla="*/ 85 w 132"/>
                  <a:gd name="T17" fmla="*/ 52 h 181"/>
                  <a:gd name="T18" fmla="*/ 59 w 132"/>
                  <a:gd name="T19" fmla="*/ 73 h 181"/>
                  <a:gd name="T20" fmla="*/ 39 w 132"/>
                  <a:gd name="T21" fmla="*/ 73 h 181"/>
                  <a:gd name="T22" fmla="*/ 39 w 132"/>
                  <a:gd name="T23" fmla="*/ 33 h 181"/>
                  <a:gd name="T24" fmla="*/ 97 w 132"/>
                  <a:gd name="T25" fmla="*/ 86 h 181"/>
                  <a:gd name="T26" fmla="*/ 97 w 132"/>
                  <a:gd name="T27" fmla="*/ 85 h 181"/>
                  <a:gd name="T28" fmla="*/ 123 w 132"/>
                  <a:gd name="T29" fmla="*/ 47 h 181"/>
                  <a:gd name="T30" fmla="*/ 65 w 132"/>
                  <a:gd name="T31" fmla="*/ 0 h 181"/>
                  <a:gd name="T32" fmla="*/ 0 w 132"/>
                  <a:gd name="T33" fmla="*/ 0 h 181"/>
                  <a:gd name="T34" fmla="*/ 0 w 132"/>
                  <a:gd name="T35" fmla="*/ 181 h 181"/>
                  <a:gd name="T36" fmla="*/ 60 w 132"/>
                  <a:gd name="T37" fmla="*/ 181 h 181"/>
                  <a:gd name="T38" fmla="*/ 132 w 132"/>
                  <a:gd name="T39" fmla="*/ 126 h 181"/>
                  <a:gd name="T40" fmla="*/ 97 w 132"/>
                  <a:gd name="T41" fmla="*/ 86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2" h="181">
                    <a:moveTo>
                      <a:pt x="66" y="149"/>
                    </a:moveTo>
                    <a:lnTo>
                      <a:pt x="39" y="149"/>
                    </a:lnTo>
                    <a:lnTo>
                      <a:pt x="39" y="105"/>
                    </a:lnTo>
                    <a:lnTo>
                      <a:pt x="64" y="105"/>
                    </a:lnTo>
                    <a:cubicBezTo>
                      <a:pt x="79" y="105"/>
                      <a:pt x="92" y="111"/>
                      <a:pt x="92" y="127"/>
                    </a:cubicBezTo>
                    <a:cubicBezTo>
                      <a:pt x="92" y="137"/>
                      <a:pt x="86" y="149"/>
                      <a:pt x="66" y="149"/>
                    </a:cubicBezTo>
                    <a:close/>
                    <a:moveTo>
                      <a:pt x="39" y="33"/>
                    </a:moveTo>
                    <a:lnTo>
                      <a:pt x="60" y="33"/>
                    </a:lnTo>
                    <a:cubicBezTo>
                      <a:pt x="79" y="33"/>
                      <a:pt x="85" y="41"/>
                      <a:pt x="85" y="52"/>
                    </a:cubicBezTo>
                    <a:cubicBezTo>
                      <a:pt x="85" y="63"/>
                      <a:pt x="78" y="73"/>
                      <a:pt x="59" y="73"/>
                    </a:cubicBezTo>
                    <a:lnTo>
                      <a:pt x="39" y="73"/>
                    </a:lnTo>
                    <a:lnTo>
                      <a:pt x="39" y="33"/>
                    </a:lnTo>
                    <a:close/>
                    <a:moveTo>
                      <a:pt x="97" y="86"/>
                    </a:moveTo>
                    <a:lnTo>
                      <a:pt x="97" y="85"/>
                    </a:lnTo>
                    <a:cubicBezTo>
                      <a:pt x="111" y="80"/>
                      <a:pt x="123" y="67"/>
                      <a:pt x="123" y="47"/>
                    </a:cubicBezTo>
                    <a:cubicBezTo>
                      <a:pt x="123" y="10"/>
                      <a:pt x="97" y="0"/>
                      <a:pt x="65" y="0"/>
                    </a:cubicBezTo>
                    <a:lnTo>
                      <a:pt x="0" y="0"/>
                    </a:lnTo>
                    <a:lnTo>
                      <a:pt x="0" y="181"/>
                    </a:lnTo>
                    <a:lnTo>
                      <a:pt x="60" y="181"/>
                    </a:lnTo>
                    <a:cubicBezTo>
                      <a:pt x="120" y="181"/>
                      <a:pt x="132" y="149"/>
                      <a:pt x="132" y="126"/>
                    </a:cubicBezTo>
                    <a:cubicBezTo>
                      <a:pt x="132" y="100"/>
                      <a:pt x="114" y="88"/>
                      <a:pt x="9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" name="Freeform 46">
                <a:extLst>
                  <a:ext uri="{FF2B5EF4-FFF2-40B4-BE49-F238E27FC236}">
                    <a16:creationId xmlns:a16="http://schemas.microsoft.com/office/drawing/2014/main" id="{18E3DDB7-9F78-763E-9751-B10D6BD052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7182" y="4104138"/>
                <a:ext cx="30768" cy="39816"/>
              </a:xfrm>
              <a:custGeom>
                <a:avLst/>
                <a:gdLst>
                  <a:gd name="T0" fmla="*/ 53 w 74"/>
                  <a:gd name="T1" fmla="*/ 61 h 97"/>
                  <a:gd name="T2" fmla="*/ 38 w 74"/>
                  <a:gd name="T3" fmla="*/ 80 h 97"/>
                  <a:gd name="T4" fmla="*/ 21 w 74"/>
                  <a:gd name="T5" fmla="*/ 59 h 97"/>
                  <a:gd name="T6" fmla="*/ 21 w 74"/>
                  <a:gd name="T7" fmla="*/ 0 h 97"/>
                  <a:gd name="T8" fmla="*/ 0 w 74"/>
                  <a:gd name="T9" fmla="*/ 0 h 97"/>
                  <a:gd name="T10" fmla="*/ 0 w 74"/>
                  <a:gd name="T11" fmla="*/ 63 h 97"/>
                  <a:gd name="T12" fmla="*/ 35 w 74"/>
                  <a:gd name="T13" fmla="*/ 97 h 97"/>
                  <a:gd name="T14" fmla="*/ 74 w 74"/>
                  <a:gd name="T15" fmla="*/ 58 h 97"/>
                  <a:gd name="T16" fmla="*/ 74 w 74"/>
                  <a:gd name="T17" fmla="*/ 0 h 97"/>
                  <a:gd name="T18" fmla="*/ 53 w 74"/>
                  <a:gd name="T19" fmla="*/ 0 h 97"/>
                  <a:gd name="T20" fmla="*/ 53 w 74"/>
                  <a:gd name="T21" fmla="*/ 6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4" h="97">
                    <a:moveTo>
                      <a:pt x="53" y="61"/>
                    </a:moveTo>
                    <a:cubicBezTo>
                      <a:pt x="53" y="74"/>
                      <a:pt x="48" y="80"/>
                      <a:pt x="38" y="80"/>
                    </a:cubicBezTo>
                    <a:cubicBezTo>
                      <a:pt x="26" y="80"/>
                      <a:pt x="21" y="72"/>
                      <a:pt x="21" y="59"/>
                    </a:cubicBezTo>
                    <a:lnTo>
                      <a:pt x="21" y="0"/>
                    </a:lnTo>
                    <a:lnTo>
                      <a:pt x="0" y="0"/>
                    </a:lnTo>
                    <a:lnTo>
                      <a:pt x="0" y="63"/>
                    </a:lnTo>
                    <a:cubicBezTo>
                      <a:pt x="0" y="82"/>
                      <a:pt x="10" y="97"/>
                      <a:pt x="35" y="97"/>
                    </a:cubicBezTo>
                    <a:cubicBezTo>
                      <a:pt x="56" y="97"/>
                      <a:pt x="74" y="87"/>
                      <a:pt x="74" y="58"/>
                    </a:cubicBezTo>
                    <a:lnTo>
                      <a:pt x="74" y="0"/>
                    </a:lnTo>
                    <a:lnTo>
                      <a:pt x="53" y="0"/>
                    </a:lnTo>
                    <a:lnTo>
                      <a:pt x="53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" name="Freeform 47">
                <a:extLst>
                  <a:ext uri="{FF2B5EF4-FFF2-40B4-BE49-F238E27FC236}">
                    <a16:creationId xmlns:a16="http://schemas.microsoft.com/office/drawing/2014/main" id="{1E26F21C-4A53-95B3-D478-416610F192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9176" y="4104138"/>
                <a:ext cx="28957" cy="39816"/>
              </a:xfrm>
              <a:custGeom>
                <a:avLst/>
                <a:gdLst>
                  <a:gd name="T0" fmla="*/ 26 w 69"/>
                  <a:gd name="T1" fmla="*/ 26 h 98"/>
                  <a:gd name="T2" fmla="*/ 36 w 69"/>
                  <a:gd name="T3" fmla="*/ 18 h 98"/>
                  <a:gd name="T4" fmla="*/ 54 w 69"/>
                  <a:gd name="T5" fmla="*/ 27 h 98"/>
                  <a:gd name="T6" fmla="*/ 67 w 69"/>
                  <a:gd name="T7" fmla="*/ 11 h 98"/>
                  <a:gd name="T8" fmla="*/ 38 w 69"/>
                  <a:gd name="T9" fmla="*/ 0 h 98"/>
                  <a:gd name="T10" fmla="*/ 4 w 69"/>
                  <a:gd name="T11" fmla="*/ 28 h 98"/>
                  <a:gd name="T12" fmla="*/ 48 w 69"/>
                  <a:gd name="T13" fmla="*/ 71 h 98"/>
                  <a:gd name="T14" fmla="*/ 36 w 69"/>
                  <a:gd name="T15" fmla="*/ 81 h 98"/>
                  <a:gd name="T16" fmla="*/ 12 w 69"/>
                  <a:gd name="T17" fmla="*/ 69 h 98"/>
                  <a:gd name="T18" fmla="*/ 0 w 69"/>
                  <a:gd name="T19" fmla="*/ 86 h 98"/>
                  <a:gd name="T20" fmla="*/ 33 w 69"/>
                  <a:gd name="T21" fmla="*/ 98 h 98"/>
                  <a:gd name="T22" fmla="*/ 69 w 69"/>
                  <a:gd name="T23" fmla="*/ 70 h 98"/>
                  <a:gd name="T24" fmla="*/ 26 w 69"/>
                  <a:gd name="T25" fmla="*/ 2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98">
                    <a:moveTo>
                      <a:pt x="26" y="26"/>
                    </a:moveTo>
                    <a:cubicBezTo>
                      <a:pt x="26" y="22"/>
                      <a:pt x="29" y="18"/>
                      <a:pt x="36" y="18"/>
                    </a:cubicBezTo>
                    <a:cubicBezTo>
                      <a:pt x="46" y="18"/>
                      <a:pt x="52" y="24"/>
                      <a:pt x="54" y="27"/>
                    </a:cubicBezTo>
                    <a:lnTo>
                      <a:pt x="67" y="11"/>
                    </a:lnTo>
                    <a:cubicBezTo>
                      <a:pt x="64" y="7"/>
                      <a:pt x="54" y="0"/>
                      <a:pt x="38" y="0"/>
                    </a:cubicBezTo>
                    <a:cubicBezTo>
                      <a:pt x="18" y="0"/>
                      <a:pt x="4" y="12"/>
                      <a:pt x="4" y="28"/>
                    </a:cubicBezTo>
                    <a:cubicBezTo>
                      <a:pt x="4" y="58"/>
                      <a:pt x="48" y="56"/>
                      <a:pt x="48" y="71"/>
                    </a:cubicBezTo>
                    <a:cubicBezTo>
                      <a:pt x="48" y="76"/>
                      <a:pt x="44" y="81"/>
                      <a:pt x="36" y="81"/>
                    </a:cubicBezTo>
                    <a:cubicBezTo>
                      <a:pt x="24" y="81"/>
                      <a:pt x="16" y="73"/>
                      <a:pt x="12" y="69"/>
                    </a:cubicBezTo>
                    <a:lnTo>
                      <a:pt x="0" y="86"/>
                    </a:lnTo>
                    <a:cubicBezTo>
                      <a:pt x="4" y="90"/>
                      <a:pt x="15" y="98"/>
                      <a:pt x="33" y="98"/>
                    </a:cubicBezTo>
                    <a:cubicBezTo>
                      <a:pt x="58" y="98"/>
                      <a:pt x="69" y="84"/>
                      <a:pt x="69" y="70"/>
                    </a:cubicBezTo>
                    <a:cubicBezTo>
                      <a:pt x="69" y="40"/>
                      <a:pt x="26" y="42"/>
                      <a:pt x="2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" name="Freeform 48">
                <a:extLst>
                  <a:ext uri="{FF2B5EF4-FFF2-40B4-BE49-F238E27FC236}">
                    <a16:creationId xmlns:a16="http://schemas.microsoft.com/office/drawing/2014/main" id="{7DF84786-29CF-9077-5450-A5361B78CFE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83628" y="4104138"/>
                <a:ext cx="27148" cy="39816"/>
              </a:xfrm>
              <a:custGeom>
                <a:avLst/>
                <a:gdLst>
                  <a:gd name="T0" fmla="*/ 27 w 66"/>
                  <a:gd name="T1" fmla="*/ 45 h 96"/>
                  <a:gd name="T2" fmla="*/ 21 w 66"/>
                  <a:gd name="T3" fmla="*/ 45 h 96"/>
                  <a:gd name="T4" fmla="*/ 21 w 66"/>
                  <a:gd name="T5" fmla="*/ 18 h 96"/>
                  <a:gd name="T6" fmla="*/ 29 w 66"/>
                  <a:gd name="T7" fmla="*/ 18 h 96"/>
                  <a:gd name="T8" fmla="*/ 44 w 66"/>
                  <a:gd name="T9" fmla="*/ 31 h 96"/>
                  <a:gd name="T10" fmla="*/ 27 w 66"/>
                  <a:gd name="T11" fmla="*/ 45 h 96"/>
                  <a:gd name="T12" fmla="*/ 32 w 66"/>
                  <a:gd name="T13" fmla="*/ 0 h 96"/>
                  <a:gd name="T14" fmla="*/ 0 w 66"/>
                  <a:gd name="T15" fmla="*/ 0 h 96"/>
                  <a:gd name="T16" fmla="*/ 0 w 66"/>
                  <a:gd name="T17" fmla="*/ 96 h 96"/>
                  <a:gd name="T18" fmla="*/ 21 w 66"/>
                  <a:gd name="T19" fmla="*/ 96 h 96"/>
                  <a:gd name="T20" fmla="*/ 21 w 66"/>
                  <a:gd name="T21" fmla="*/ 62 h 96"/>
                  <a:gd name="T22" fmla="*/ 29 w 66"/>
                  <a:gd name="T23" fmla="*/ 62 h 96"/>
                  <a:gd name="T24" fmla="*/ 66 w 66"/>
                  <a:gd name="T25" fmla="*/ 29 h 96"/>
                  <a:gd name="T26" fmla="*/ 32 w 66"/>
                  <a:gd name="T27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6" h="96">
                    <a:moveTo>
                      <a:pt x="27" y="45"/>
                    </a:moveTo>
                    <a:lnTo>
                      <a:pt x="21" y="45"/>
                    </a:lnTo>
                    <a:lnTo>
                      <a:pt x="21" y="18"/>
                    </a:lnTo>
                    <a:lnTo>
                      <a:pt x="29" y="18"/>
                    </a:lnTo>
                    <a:cubicBezTo>
                      <a:pt x="40" y="18"/>
                      <a:pt x="44" y="22"/>
                      <a:pt x="44" y="31"/>
                    </a:cubicBezTo>
                    <a:cubicBezTo>
                      <a:pt x="44" y="39"/>
                      <a:pt x="41" y="45"/>
                      <a:pt x="27" y="45"/>
                    </a:cubicBezTo>
                    <a:close/>
                    <a:moveTo>
                      <a:pt x="32" y="0"/>
                    </a:move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2"/>
                    </a:lnTo>
                    <a:lnTo>
                      <a:pt x="29" y="62"/>
                    </a:lnTo>
                    <a:cubicBezTo>
                      <a:pt x="57" y="62"/>
                      <a:pt x="66" y="46"/>
                      <a:pt x="66" y="29"/>
                    </a:cubicBezTo>
                    <a:cubicBezTo>
                      <a:pt x="66" y="7"/>
                      <a:pt x="52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" name="Freeform 49">
                <a:extLst>
                  <a:ext uri="{FF2B5EF4-FFF2-40B4-BE49-F238E27FC236}">
                    <a16:creationId xmlns:a16="http://schemas.microsoft.com/office/drawing/2014/main" id="{28CF7D54-9617-1DD7-4977-2034381895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31143" y="4104138"/>
                <a:ext cx="39816" cy="39816"/>
              </a:xfrm>
              <a:custGeom>
                <a:avLst/>
                <a:gdLst>
                  <a:gd name="T0" fmla="*/ 51 w 100"/>
                  <a:gd name="T1" fmla="*/ 52 h 96"/>
                  <a:gd name="T2" fmla="*/ 50 w 100"/>
                  <a:gd name="T3" fmla="*/ 52 h 96"/>
                  <a:gd name="T4" fmla="*/ 32 w 100"/>
                  <a:gd name="T5" fmla="*/ 0 h 96"/>
                  <a:gd name="T6" fmla="*/ 0 w 100"/>
                  <a:gd name="T7" fmla="*/ 0 h 96"/>
                  <a:gd name="T8" fmla="*/ 0 w 100"/>
                  <a:gd name="T9" fmla="*/ 96 h 96"/>
                  <a:gd name="T10" fmla="*/ 19 w 100"/>
                  <a:gd name="T11" fmla="*/ 96 h 96"/>
                  <a:gd name="T12" fmla="*/ 19 w 100"/>
                  <a:gd name="T13" fmla="*/ 25 h 96"/>
                  <a:gd name="T14" fmla="*/ 20 w 100"/>
                  <a:gd name="T15" fmla="*/ 25 h 96"/>
                  <a:gd name="T16" fmla="*/ 41 w 100"/>
                  <a:gd name="T17" fmla="*/ 84 h 96"/>
                  <a:gd name="T18" fmla="*/ 58 w 100"/>
                  <a:gd name="T19" fmla="*/ 84 h 96"/>
                  <a:gd name="T20" fmla="*/ 80 w 100"/>
                  <a:gd name="T21" fmla="*/ 25 h 96"/>
                  <a:gd name="T22" fmla="*/ 80 w 100"/>
                  <a:gd name="T23" fmla="*/ 25 h 96"/>
                  <a:gd name="T24" fmla="*/ 80 w 100"/>
                  <a:gd name="T25" fmla="*/ 96 h 96"/>
                  <a:gd name="T26" fmla="*/ 100 w 100"/>
                  <a:gd name="T27" fmla="*/ 96 h 96"/>
                  <a:gd name="T28" fmla="*/ 100 w 100"/>
                  <a:gd name="T29" fmla="*/ 0 h 96"/>
                  <a:gd name="T30" fmla="*/ 69 w 100"/>
                  <a:gd name="T31" fmla="*/ 0 h 96"/>
                  <a:gd name="T32" fmla="*/ 51 w 100"/>
                  <a:gd name="T33" fmla="*/ 5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96">
                    <a:moveTo>
                      <a:pt x="51" y="52"/>
                    </a:moveTo>
                    <a:lnTo>
                      <a:pt x="50" y="52"/>
                    </a:lnTo>
                    <a:lnTo>
                      <a:pt x="32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25"/>
                    </a:lnTo>
                    <a:lnTo>
                      <a:pt x="20" y="25"/>
                    </a:lnTo>
                    <a:lnTo>
                      <a:pt x="41" y="84"/>
                    </a:lnTo>
                    <a:lnTo>
                      <a:pt x="58" y="84"/>
                    </a:lnTo>
                    <a:lnTo>
                      <a:pt x="80" y="25"/>
                    </a:lnTo>
                    <a:lnTo>
                      <a:pt x="80" y="25"/>
                    </a:lnTo>
                    <a:lnTo>
                      <a:pt x="80" y="96"/>
                    </a:lnTo>
                    <a:lnTo>
                      <a:pt x="100" y="96"/>
                    </a:lnTo>
                    <a:lnTo>
                      <a:pt x="100" y="0"/>
                    </a:lnTo>
                    <a:lnTo>
                      <a:pt x="69" y="0"/>
                    </a:lnTo>
                    <a:lnTo>
                      <a:pt x="51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" name="Freeform 50">
                <a:extLst>
                  <a:ext uri="{FF2B5EF4-FFF2-40B4-BE49-F238E27FC236}">
                    <a16:creationId xmlns:a16="http://schemas.microsoft.com/office/drawing/2014/main" id="{347C4EAB-25E0-1317-7E3A-70BCEE5A14E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1077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4 w 87"/>
                  <a:gd name="T7" fmla="*/ 15 h 96"/>
                  <a:gd name="T8" fmla="*/ 51 w 87"/>
                  <a:gd name="T9" fmla="*/ 43 h 96"/>
                  <a:gd name="T10" fmla="*/ 55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2" y="23"/>
                      <a:pt x="43" y="15"/>
                    </a:cubicBezTo>
                    <a:lnTo>
                      <a:pt x="44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5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" name="Freeform 51">
                <a:extLst>
                  <a:ext uri="{FF2B5EF4-FFF2-40B4-BE49-F238E27FC236}">
                    <a16:creationId xmlns:a16="http://schemas.microsoft.com/office/drawing/2014/main" id="{DFD74453-0C4D-4FD2-3976-FA2B804399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81819" y="4004596"/>
                <a:ext cx="59725" cy="74204"/>
              </a:xfrm>
              <a:custGeom>
                <a:avLst/>
                <a:gdLst>
                  <a:gd name="T0" fmla="*/ 0 w 146"/>
                  <a:gd name="T1" fmla="*/ 0 h 181"/>
                  <a:gd name="T2" fmla="*/ 0 w 146"/>
                  <a:gd name="T3" fmla="*/ 181 h 181"/>
                  <a:gd name="T4" fmla="*/ 38 w 146"/>
                  <a:gd name="T5" fmla="*/ 181 h 181"/>
                  <a:gd name="T6" fmla="*/ 38 w 146"/>
                  <a:gd name="T7" fmla="*/ 113 h 181"/>
                  <a:gd name="T8" fmla="*/ 35 w 146"/>
                  <a:gd name="T9" fmla="*/ 49 h 181"/>
                  <a:gd name="T10" fmla="*/ 36 w 146"/>
                  <a:gd name="T11" fmla="*/ 49 h 181"/>
                  <a:gd name="T12" fmla="*/ 60 w 146"/>
                  <a:gd name="T13" fmla="*/ 105 h 181"/>
                  <a:gd name="T14" fmla="*/ 100 w 146"/>
                  <a:gd name="T15" fmla="*/ 181 h 181"/>
                  <a:gd name="T16" fmla="*/ 146 w 146"/>
                  <a:gd name="T17" fmla="*/ 181 h 181"/>
                  <a:gd name="T18" fmla="*/ 146 w 146"/>
                  <a:gd name="T19" fmla="*/ 0 h 181"/>
                  <a:gd name="T20" fmla="*/ 109 w 146"/>
                  <a:gd name="T21" fmla="*/ 0 h 181"/>
                  <a:gd name="T22" fmla="*/ 109 w 146"/>
                  <a:gd name="T23" fmla="*/ 57 h 181"/>
                  <a:gd name="T24" fmla="*/ 111 w 146"/>
                  <a:gd name="T25" fmla="*/ 127 h 181"/>
                  <a:gd name="T26" fmla="*/ 110 w 146"/>
                  <a:gd name="T27" fmla="*/ 127 h 181"/>
                  <a:gd name="T28" fmla="*/ 84 w 146"/>
                  <a:gd name="T29" fmla="*/ 71 h 181"/>
                  <a:gd name="T30" fmla="*/ 47 w 146"/>
                  <a:gd name="T31" fmla="*/ 0 h 181"/>
                  <a:gd name="T32" fmla="*/ 0 w 146"/>
                  <a:gd name="T33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6" h="181">
                    <a:moveTo>
                      <a:pt x="0" y="0"/>
                    </a:moveTo>
                    <a:lnTo>
                      <a:pt x="0" y="181"/>
                    </a:lnTo>
                    <a:lnTo>
                      <a:pt x="38" y="181"/>
                    </a:lnTo>
                    <a:lnTo>
                      <a:pt x="38" y="113"/>
                    </a:lnTo>
                    <a:cubicBezTo>
                      <a:pt x="38" y="81"/>
                      <a:pt x="37" y="67"/>
                      <a:pt x="35" y="49"/>
                    </a:cubicBezTo>
                    <a:lnTo>
                      <a:pt x="36" y="49"/>
                    </a:lnTo>
                    <a:cubicBezTo>
                      <a:pt x="44" y="69"/>
                      <a:pt x="51" y="87"/>
                      <a:pt x="60" y="105"/>
                    </a:cubicBezTo>
                    <a:lnTo>
                      <a:pt x="100" y="181"/>
                    </a:lnTo>
                    <a:lnTo>
                      <a:pt x="146" y="181"/>
                    </a:lnTo>
                    <a:lnTo>
                      <a:pt x="146" y="0"/>
                    </a:lnTo>
                    <a:lnTo>
                      <a:pt x="109" y="0"/>
                    </a:lnTo>
                    <a:lnTo>
                      <a:pt x="109" y="57"/>
                    </a:lnTo>
                    <a:cubicBezTo>
                      <a:pt x="109" y="77"/>
                      <a:pt x="109" y="102"/>
                      <a:pt x="111" y="127"/>
                    </a:cubicBezTo>
                    <a:lnTo>
                      <a:pt x="110" y="127"/>
                    </a:lnTo>
                    <a:cubicBezTo>
                      <a:pt x="103" y="109"/>
                      <a:pt x="93" y="89"/>
                      <a:pt x="84" y="71"/>
                    </a:cubicBezTo>
                    <a:lnTo>
                      <a:pt x="4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" name="Freeform 52">
                <a:extLst>
                  <a:ext uri="{FF2B5EF4-FFF2-40B4-BE49-F238E27FC236}">
                    <a16:creationId xmlns:a16="http://schemas.microsoft.com/office/drawing/2014/main" id="{D1FC3F30-BE36-F71E-F605-9DCF6AE9CA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5421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2 w 77"/>
                  <a:gd name="T23" fmla="*/ 55 h 96"/>
                  <a:gd name="T24" fmla="*/ 53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2" y="55"/>
                    </a:cubicBezTo>
                    <a:lnTo>
                      <a:pt x="53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" name="Freeform 53">
                <a:extLst>
                  <a:ext uri="{FF2B5EF4-FFF2-40B4-BE49-F238E27FC236}">
                    <a16:creationId xmlns:a16="http://schemas.microsoft.com/office/drawing/2014/main" id="{51842938-D227-FC41-ECCC-84902079045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59641" y="4004596"/>
                <a:ext cx="68774" cy="74204"/>
              </a:xfrm>
              <a:custGeom>
                <a:avLst/>
                <a:gdLst>
                  <a:gd name="T0" fmla="*/ 61 w 165"/>
                  <a:gd name="T1" fmla="*/ 107 h 181"/>
                  <a:gd name="T2" fmla="*/ 68 w 165"/>
                  <a:gd name="T3" fmla="*/ 81 h 181"/>
                  <a:gd name="T4" fmla="*/ 82 w 165"/>
                  <a:gd name="T5" fmla="*/ 27 h 181"/>
                  <a:gd name="T6" fmla="*/ 83 w 165"/>
                  <a:gd name="T7" fmla="*/ 27 h 181"/>
                  <a:gd name="T8" fmla="*/ 96 w 165"/>
                  <a:gd name="T9" fmla="*/ 82 h 181"/>
                  <a:gd name="T10" fmla="*/ 103 w 165"/>
                  <a:gd name="T11" fmla="*/ 107 h 181"/>
                  <a:gd name="T12" fmla="*/ 61 w 165"/>
                  <a:gd name="T13" fmla="*/ 107 h 181"/>
                  <a:gd name="T14" fmla="*/ 55 w 165"/>
                  <a:gd name="T15" fmla="*/ 0 h 181"/>
                  <a:gd name="T16" fmla="*/ 0 w 165"/>
                  <a:gd name="T17" fmla="*/ 181 h 181"/>
                  <a:gd name="T18" fmla="*/ 40 w 165"/>
                  <a:gd name="T19" fmla="*/ 181 h 181"/>
                  <a:gd name="T20" fmla="*/ 52 w 165"/>
                  <a:gd name="T21" fmla="*/ 140 h 181"/>
                  <a:gd name="T22" fmla="*/ 112 w 165"/>
                  <a:gd name="T23" fmla="*/ 140 h 181"/>
                  <a:gd name="T24" fmla="*/ 124 w 165"/>
                  <a:gd name="T25" fmla="*/ 181 h 181"/>
                  <a:gd name="T26" fmla="*/ 165 w 165"/>
                  <a:gd name="T27" fmla="*/ 181 h 181"/>
                  <a:gd name="T28" fmla="*/ 110 w 165"/>
                  <a:gd name="T29" fmla="*/ 0 h 181"/>
                  <a:gd name="T30" fmla="*/ 55 w 165"/>
                  <a:gd name="T31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1" y="107"/>
                    </a:moveTo>
                    <a:lnTo>
                      <a:pt x="68" y="81"/>
                    </a:lnTo>
                    <a:cubicBezTo>
                      <a:pt x="75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close/>
                    <a:moveTo>
                      <a:pt x="55" y="0"/>
                    </a:move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" name="Freeform 54">
                <a:extLst>
                  <a:ext uri="{FF2B5EF4-FFF2-40B4-BE49-F238E27FC236}">
                    <a16:creationId xmlns:a16="http://schemas.microsoft.com/office/drawing/2014/main" id="{5A979611-55E5-D61E-8768-C55E2E31DE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94028" y="4104138"/>
                <a:ext cx="34387" cy="39816"/>
              </a:xfrm>
              <a:custGeom>
                <a:avLst/>
                <a:gdLst>
                  <a:gd name="T0" fmla="*/ 63 w 85"/>
                  <a:gd name="T1" fmla="*/ 0 h 96"/>
                  <a:gd name="T2" fmla="*/ 43 w 85"/>
                  <a:gd name="T3" fmla="*/ 44 h 96"/>
                  <a:gd name="T4" fmla="*/ 43 w 85"/>
                  <a:gd name="T5" fmla="*/ 44 h 96"/>
                  <a:gd name="T6" fmla="*/ 23 w 85"/>
                  <a:gd name="T7" fmla="*/ 0 h 96"/>
                  <a:gd name="T8" fmla="*/ 0 w 85"/>
                  <a:gd name="T9" fmla="*/ 0 h 96"/>
                  <a:gd name="T10" fmla="*/ 32 w 85"/>
                  <a:gd name="T11" fmla="*/ 65 h 96"/>
                  <a:gd name="T12" fmla="*/ 32 w 85"/>
                  <a:gd name="T13" fmla="*/ 96 h 96"/>
                  <a:gd name="T14" fmla="*/ 53 w 85"/>
                  <a:gd name="T15" fmla="*/ 96 h 96"/>
                  <a:gd name="T16" fmla="*/ 53 w 85"/>
                  <a:gd name="T17" fmla="*/ 65 h 96"/>
                  <a:gd name="T18" fmla="*/ 85 w 85"/>
                  <a:gd name="T19" fmla="*/ 0 h 96"/>
                  <a:gd name="T20" fmla="*/ 63 w 85"/>
                  <a:gd name="T2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" h="96">
                    <a:moveTo>
                      <a:pt x="63" y="0"/>
                    </a:moveTo>
                    <a:lnTo>
                      <a:pt x="43" y="44"/>
                    </a:lnTo>
                    <a:lnTo>
                      <a:pt x="43" y="44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32" y="65"/>
                    </a:lnTo>
                    <a:lnTo>
                      <a:pt x="32" y="96"/>
                    </a:lnTo>
                    <a:lnTo>
                      <a:pt x="53" y="96"/>
                    </a:lnTo>
                    <a:lnTo>
                      <a:pt x="53" y="65"/>
                    </a:lnTo>
                    <a:lnTo>
                      <a:pt x="85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" name="Freeform 55">
                <a:extLst>
                  <a:ext uri="{FF2B5EF4-FFF2-40B4-BE49-F238E27FC236}">
                    <a16:creationId xmlns:a16="http://schemas.microsoft.com/office/drawing/2014/main" id="{5A06A503-0349-B80B-B350-B3CFC72AE02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94946" y="4004596"/>
                <a:ext cx="66964" cy="74204"/>
              </a:xfrm>
              <a:custGeom>
                <a:avLst/>
                <a:gdLst>
                  <a:gd name="T0" fmla="*/ 68 w 165"/>
                  <a:gd name="T1" fmla="*/ 81 h 181"/>
                  <a:gd name="T2" fmla="*/ 82 w 165"/>
                  <a:gd name="T3" fmla="*/ 27 h 181"/>
                  <a:gd name="T4" fmla="*/ 83 w 165"/>
                  <a:gd name="T5" fmla="*/ 27 h 181"/>
                  <a:gd name="T6" fmla="*/ 96 w 165"/>
                  <a:gd name="T7" fmla="*/ 82 h 181"/>
                  <a:gd name="T8" fmla="*/ 103 w 165"/>
                  <a:gd name="T9" fmla="*/ 107 h 181"/>
                  <a:gd name="T10" fmla="*/ 61 w 165"/>
                  <a:gd name="T11" fmla="*/ 107 h 181"/>
                  <a:gd name="T12" fmla="*/ 68 w 165"/>
                  <a:gd name="T13" fmla="*/ 81 h 181"/>
                  <a:gd name="T14" fmla="*/ 52 w 165"/>
                  <a:gd name="T15" fmla="*/ 140 h 181"/>
                  <a:gd name="T16" fmla="*/ 112 w 165"/>
                  <a:gd name="T17" fmla="*/ 140 h 181"/>
                  <a:gd name="T18" fmla="*/ 124 w 165"/>
                  <a:gd name="T19" fmla="*/ 181 h 181"/>
                  <a:gd name="T20" fmla="*/ 165 w 165"/>
                  <a:gd name="T21" fmla="*/ 181 h 181"/>
                  <a:gd name="T22" fmla="*/ 110 w 165"/>
                  <a:gd name="T23" fmla="*/ 0 h 181"/>
                  <a:gd name="T24" fmla="*/ 55 w 165"/>
                  <a:gd name="T25" fmla="*/ 0 h 181"/>
                  <a:gd name="T26" fmla="*/ 0 w 165"/>
                  <a:gd name="T27" fmla="*/ 181 h 181"/>
                  <a:gd name="T28" fmla="*/ 40 w 165"/>
                  <a:gd name="T29" fmla="*/ 181 h 181"/>
                  <a:gd name="T30" fmla="*/ 52 w 165"/>
                  <a:gd name="T31" fmla="*/ 14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8" y="81"/>
                    </a:moveTo>
                    <a:cubicBezTo>
                      <a:pt x="74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lnTo>
                      <a:pt x="68" y="81"/>
                    </a:lnTo>
                    <a:close/>
                    <a:moveTo>
                      <a:pt x="52" y="140"/>
                    </a:move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" name="Freeform 56">
                <a:extLst>
                  <a:ext uri="{FF2B5EF4-FFF2-40B4-BE49-F238E27FC236}">
                    <a16:creationId xmlns:a16="http://schemas.microsoft.com/office/drawing/2014/main" id="{2598F916-0952-48DD-F888-3DA1144BB8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2482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19 w 77"/>
                  <a:gd name="T15" fmla="*/ 96 h 96"/>
                  <a:gd name="T16" fmla="*/ 19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60"/>
                    </a:lnTo>
                    <a:cubicBezTo>
                      <a:pt x="19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" name="Freeform 57">
                <a:extLst>
                  <a:ext uri="{FF2B5EF4-FFF2-40B4-BE49-F238E27FC236}">
                    <a16:creationId xmlns:a16="http://schemas.microsoft.com/office/drawing/2014/main" id="{519F0C0C-26A4-AEA7-775A-A691BBCB6B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448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" name="Freeform 58">
                <a:extLst>
                  <a:ext uri="{FF2B5EF4-FFF2-40B4-BE49-F238E27FC236}">
                    <a16:creationId xmlns:a16="http://schemas.microsoft.com/office/drawing/2014/main" id="{5D180926-7ADF-D7EE-EA9C-00A6C1BF85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19392" y="4002787"/>
                <a:ext cx="54295" cy="77823"/>
              </a:xfrm>
              <a:custGeom>
                <a:avLst/>
                <a:gdLst>
                  <a:gd name="T0" fmla="*/ 68 w 131"/>
                  <a:gd name="T1" fmla="*/ 154 h 187"/>
                  <a:gd name="T2" fmla="*/ 22 w 131"/>
                  <a:gd name="T3" fmla="*/ 132 h 187"/>
                  <a:gd name="T4" fmla="*/ 0 w 131"/>
                  <a:gd name="T5" fmla="*/ 164 h 187"/>
                  <a:gd name="T6" fmla="*/ 63 w 131"/>
                  <a:gd name="T7" fmla="*/ 187 h 187"/>
                  <a:gd name="T8" fmla="*/ 131 w 131"/>
                  <a:gd name="T9" fmla="*/ 133 h 187"/>
                  <a:gd name="T10" fmla="*/ 48 w 131"/>
                  <a:gd name="T11" fmla="*/ 51 h 187"/>
                  <a:gd name="T12" fmla="*/ 68 w 131"/>
                  <a:gd name="T13" fmla="*/ 35 h 187"/>
                  <a:gd name="T14" fmla="*/ 102 w 131"/>
                  <a:gd name="T15" fmla="*/ 51 h 187"/>
                  <a:gd name="T16" fmla="*/ 127 w 131"/>
                  <a:gd name="T17" fmla="*/ 22 h 187"/>
                  <a:gd name="T18" fmla="*/ 72 w 131"/>
                  <a:gd name="T19" fmla="*/ 0 h 187"/>
                  <a:gd name="T20" fmla="*/ 8 w 131"/>
                  <a:gd name="T21" fmla="*/ 54 h 187"/>
                  <a:gd name="T22" fmla="*/ 91 w 131"/>
                  <a:gd name="T23" fmla="*/ 136 h 187"/>
                  <a:gd name="T24" fmla="*/ 68 w 131"/>
                  <a:gd name="T25" fmla="*/ 154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1" h="187">
                    <a:moveTo>
                      <a:pt x="68" y="154"/>
                    </a:moveTo>
                    <a:cubicBezTo>
                      <a:pt x="46" y="154"/>
                      <a:pt x="30" y="140"/>
                      <a:pt x="22" y="132"/>
                    </a:cubicBezTo>
                    <a:lnTo>
                      <a:pt x="0" y="164"/>
                    </a:lnTo>
                    <a:cubicBezTo>
                      <a:pt x="6" y="171"/>
                      <a:pt x="28" y="187"/>
                      <a:pt x="63" y="187"/>
                    </a:cubicBezTo>
                    <a:cubicBezTo>
                      <a:pt x="109" y="187"/>
                      <a:pt x="131" y="160"/>
                      <a:pt x="131" y="133"/>
                    </a:cubicBezTo>
                    <a:cubicBezTo>
                      <a:pt x="131" y="76"/>
                      <a:pt x="48" y="80"/>
                      <a:pt x="48" y="51"/>
                    </a:cubicBezTo>
                    <a:cubicBezTo>
                      <a:pt x="48" y="42"/>
                      <a:pt x="55" y="35"/>
                      <a:pt x="68" y="35"/>
                    </a:cubicBezTo>
                    <a:cubicBezTo>
                      <a:pt x="87" y="35"/>
                      <a:pt x="98" y="46"/>
                      <a:pt x="102" y="51"/>
                    </a:cubicBezTo>
                    <a:lnTo>
                      <a:pt x="127" y="22"/>
                    </a:lnTo>
                    <a:cubicBezTo>
                      <a:pt x="121" y="14"/>
                      <a:pt x="102" y="0"/>
                      <a:pt x="72" y="0"/>
                    </a:cubicBezTo>
                    <a:cubicBezTo>
                      <a:pt x="34" y="0"/>
                      <a:pt x="8" y="24"/>
                      <a:pt x="8" y="54"/>
                    </a:cubicBezTo>
                    <a:cubicBezTo>
                      <a:pt x="8" y="111"/>
                      <a:pt x="91" y="107"/>
                      <a:pt x="91" y="136"/>
                    </a:cubicBezTo>
                    <a:cubicBezTo>
                      <a:pt x="91" y="145"/>
                      <a:pt x="84" y="154"/>
                      <a:pt x="68" y="1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" name="Freeform 59">
                <a:extLst>
                  <a:ext uri="{FF2B5EF4-FFF2-40B4-BE49-F238E27FC236}">
                    <a16:creationId xmlns:a16="http://schemas.microsoft.com/office/drawing/2014/main" id="{9B52BA26-0092-30FB-F960-84B5CB9199A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48809" y="4104138"/>
                <a:ext cx="28957" cy="39816"/>
              </a:xfrm>
              <a:custGeom>
                <a:avLst/>
                <a:gdLst>
                  <a:gd name="T0" fmla="*/ 29 w 71"/>
                  <a:gd name="T1" fmla="*/ 44 h 96"/>
                  <a:gd name="T2" fmla="*/ 21 w 71"/>
                  <a:gd name="T3" fmla="*/ 44 h 96"/>
                  <a:gd name="T4" fmla="*/ 21 w 71"/>
                  <a:gd name="T5" fmla="*/ 17 h 96"/>
                  <a:gd name="T6" fmla="*/ 29 w 71"/>
                  <a:gd name="T7" fmla="*/ 17 h 96"/>
                  <a:gd name="T8" fmla="*/ 43 w 71"/>
                  <a:gd name="T9" fmla="*/ 30 h 96"/>
                  <a:gd name="T10" fmla="*/ 29 w 71"/>
                  <a:gd name="T11" fmla="*/ 44 h 96"/>
                  <a:gd name="T12" fmla="*/ 44 w 71"/>
                  <a:gd name="T13" fmla="*/ 55 h 96"/>
                  <a:gd name="T14" fmla="*/ 44 w 71"/>
                  <a:gd name="T15" fmla="*/ 55 h 96"/>
                  <a:gd name="T16" fmla="*/ 64 w 71"/>
                  <a:gd name="T17" fmla="*/ 28 h 96"/>
                  <a:gd name="T18" fmla="*/ 31 w 71"/>
                  <a:gd name="T19" fmla="*/ 0 h 96"/>
                  <a:gd name="T20" fmla="*/ 0 w 71"/>
                  <a:gd name="T21" fmla="*/ 0 h 96"/>
                  <a:gd name="T22" fmla="*/ 0 w 71"/>
                  <a:gd name="T23" fmla="*/ 96 h 96"/>
                  <a:gd name="T24" fmla="*/ 21 w 71"/>
                  <a:gd name="T25" fmla="*/ 96 h 96"/>
                  <a:gd name="T26" fmla="*/ 21 w 71"/>
                  <a:gd name="T27" fmla="*/ 60 h 96"/>
                  <a:gd name="T28" fmla="*/ 22 w 71"/>
                  <a:gd name="T29" fmla="*/ 60 h 96"/>
                  <a:gd name="T30" fmla="*/ 31 w 71"/>
                  <a:gd name="T31" fmla="*/ 65 h 96"/>
                  <a:gd name="T32" fmla="*/ 47 w 71"/>
                  <a:gd name="T33" fmla="*/ 96 h 96"/>
                  <a:gd name="T34" fmla="*/ 71 w 71"/>
                  <a:gd name="T35" fmla="*/ 96 h 96"/>
                  <a:gd name="T36" fmla="*/ 57 w 71"/>
                  <a:gd name="T37" fmla="*/ 69 h 96"/>
                  <a:gd name="T38" fmla="*/ 44 w 71"/>
                  <a:gd name="T39" fmla="*/ 55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96">
                    <a:moveTo>
                      <a:pt x="29" y="44"/>
                    </a:moveTo>
                    <a:lnTo>
                      <a:pt x="21" y="44"/>
                    </a:lnTo>
                    <a:lnTo>
                      <a:pt x="21" y="17"/>
                    </a:lnTo>
                    <a:lnTo>
                      <a:pt x="29" y="17"/>
                    </a:lnTo>
                    <a:cubicBezTo>
                      <a:pt x="38" y="17"/>
                      <a:pt x="43" y="21"/>
                      <a:pt x="43" y="30"/>
                    </a:cubicBezTo>
                    <a:cubicBezTo>
                      <a:pt x="43" y="39"/>
                      <a:pt x="40" y="44"/>
                      <a:pt x="29" y="44"/>
                    </a:cubicBezTo>
                    <a:close/>
                    <a:moveTo>
                      <a:pt x="44" y="55"/>
                    </a:moveTo>
                    <a:lnTo>
                      <a:pt x="44" y="55"/>
                    </a:lnTo>
                    <a:cubicBezTo>
                      <a:pt x="55" y="53"/>
                      <a:pt x="64" y="45"/>
                      <a:pt x="64" y="28"/>
                    </a:cubicBezTo>
                    <a:cubicBezTo>
                      <a:pt x="64" y="8"/>
                      <a:pt x="52" y="0"/>
                      <a:pt x="31" y="0"/>
                    </a:cubicBez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0"/>
                    </a:lnTo>
                    <a:lnTo>
                      <a:pt x="22" y="60"/>
                    </a:lnTo>
                    <a:cubicBezTo>
                      <a:pt x="26" y="60"/>
                      <a:pt x="29" y="61"/>
                      <a:pt x="31" y="65"/>
                    </a:cubicBezTo>
                    <a:lnTo>
                      <a:pt x="47" y="96"/>
                    </a:lnTo>
                    <a:lnTo>
                      <a:pt x="71" y="96"/>
                    </a:lnTo>
                    <a:lnTo>
                      <a:pt x="57" y="69"/>
                    </a:lnTo>
                    <a:cubicBezTo>
                      <a:pt x="52" y="61"/>
                      <a:pt x="49" y="58"/>
                      <a:pt x="44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3" name="Freeform 60">
                <a:extLst>
                  <a:ext uri="{FF2B5EF4-FFF2-40B4-BE49-F238E27FC236}">
                    <a16:creationId xmlns:a16="http://schemas.microsoft.com/office/drawing/2014/main" id="{6C9D3E94-8240-5E7C-3FF7-0E3B273149A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8138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3 w 87"/>
                  <a:gd name="T7" fmla="*/ 15 h 96"/>
                  <a:gd name="T8" fmla="*/ 51 w 87"/>
                  <a:gd name="T9" fmla="*/ 43 h 96"/>
                  <a:gd name="T10" fmla="*/ 54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1" y="23"/>
                      <a:pt x="43" y="15"/>
                    </a:cubicBezTo>
                    <a:lnTo>
                      <a:pt x="43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4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4" name="Freeform 61">
                <a:extLst>
                  <a:ext uri="{FF2B5EF4-FFF2-40B4-BE49-F238E27FC236}">
                    <a16:creationId xmlns:a16="http://schemas.microsoft.com/office/drawing/2014/main" id="{0F17F7EB-46EF-1DC9-6A59-544A82E9A8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89516" y="4104138"/>
                <a:ext cx="32577" cy="39816"/>
              </a:xfrm>
              <a:custGeom>
                <a:avLst/>
                <a:gdLst>
                  <a:gd name="T0" fmla="*/ 40 w 79"/>
                  <a:gd name="T1" fmla="*/ 81 h 98"/>
                  <a:gd name="T2" fmla="*/ 21 w 79"/>
                  <a:gd name="T3" fmla="*/ 48 h 98"/>
                  <a:gd name="T4" fmla="*/ 39 w 79"/>
                  <a:gd name="T5" fmla="*/ 17 h 98"/>
                  <a:gd name="T6" fmla="*/ 57 w 79"/>
                  <a:gd name="T7" fmla="*/ 49 h 98"/>
                  <a:gd name="T8" fmla="*/ 40 w 79"/>
                  <a:gd name="T9" fmla="*/ 81 h 98"/>
                  <a:gd name="T10" fmla="*/ 40 w 79"/>
                  <a:gd name="T11" fmla="*/ 0 h 98"/>
                  <a:gd name="T12" fmla="*/ 0 w 79"/>
                  <a:gd name="T13" fmla="*/ 50 h 98"/>
                  <a:gd name="T14" fmla="*/ 39 w 79"/>
                  <a:gd name="T15" fmla="*/ 98 h 98"/>
                  <a:gd name="T16" fmla="*/ 79 w 79"/>
                  <a:gd name="T17" fmla="*/ 48 h 98"/>
                  <a:gd name="T18" fmla="*/ 40 w 79"/>
                  <a:gd name="T19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98">
                    <a:moveTo>
                      <a:pt x="40" y="81"/>
                    </a:moveTo>
                    <a:cubicBezTo>
                      <a:pt x="28" y="81"/>
                      <a:pt x="21" y="72"/>
                      <a:pt x="21" y="48"/>
                    </a:cubicBezTo>
                    <a:cubicBezTo>
                      <a:pt x="21" y="25"/>
                      <a:pt x="28" y="17"/>
                      <a:pt x="39" y="17"/>
                    </a:cubicBezTo>
                    <a:cubicBezTo>
                      <a:pt x="50" y="17"/>
                      <a:pt x="57" y="26"/>
                      <a:pt x="57" y="49"/>
                    </a:cubicBezTo>
                    <a:cubicBezTo>
                      <a:pt x="57" y="73"/>
                      <a:pt x="51" y="81"/>
                      <a:pt x="40" y="81"/>
                    </a:cubicBezTo>
                    <a:close/>
                    <a:moveTo>
                      <a:pt x="40" y="0"/>
                    </a:moveTo>
                    <a:cubicBezTo>
                      <a:pt x="17" y="0"/>
                      <a:pt x="0" y="15"/>
                      <a:pt x="0" y="50"/>
                    </a:cubicBezTo>
                    <a:cubicBezTo>
                      <a:pt x="0" y="85"/>
                      <a:pt x="15" y="98"/>
                      <a:pt x="39" y="98"/>
                    </a:cubicBezTo>
                    <a:cubicBezTo>
                      <a:pt x="62" y="98"/>
                      <a:pt x="79" y="83"/>
                      <a:pt x="79" y="48"/>
                    </a:cubicBezTo>
                    <a:cubicBezTo>
                      <a:pt x="79" y="13"/>
                      <a:pt x="64" y="0"/>
                      <a:pt x="4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5" name="Freeform 62">
                <a:extLst>
                  <a:ext uri="{FF2B5EF4-FFF2-40B4-BE49-F238E27FC236}">
                    <a16:creationId xmlns:a16="http://schemas.microsoft.com/office/drawing/2014/main" id="{DDF503F3-293B-CECE-929F-ACC97FDD43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04455" y="4104138"/>
                <a:ext cx="23528" cy="39816"/>
              </a:xfrm>
              <a:custGeom>
                <a:avLst/>
                <a:gdLst>
                  <a:gd name="T0" fmla="*/ 0 w 58"/>
                  <a:gd name="T1" fmla="*/ 0 h 96"/>
                  <a:gd name="T2" fmla="*/ 0 w 58"/>
                  <a:gd name="T3" fmla="*/ 96 h 96"/>
                  <a:gd name="T4" fmla="*/ 58 w 58"/>
                  <a:gd name="T5" fmla="*/ 96 h 96"/>
                  <a:gd name="T6" fmla="*/ 58 w 58"/>
                  <a:gd name="T7" fmla="*/ 79 h 96"/>
                  <a:gd name="T8" fmla="*/ 20 w 58"/>
                  <a:gd name="T9" fmla="*/ 79 h 96"/>
                  <a:gd name="T10" fmla="*/ 20 w 58"/>
                  <a:gd name="T11" fmla="*/ 56 h 96"/>
                  <a:gd name="T12" fmla="*/ 51 w 58"/>
                  <a:gd name="T13" fmla="*/ 56 h 96"/>
                  <a:gd name="T14" fmla="*/ 51 w 58"/>
                  <a:gd name="T15" fmla="*/ 39 h 96"/>
                  <a:gd name="T16" fmla="*/ 20 w 58"/>
                  <a:gd name="T17" fmla="*/ 39 h 96"/>
                  <a:gd name="T18" fmla="*/ 20 w 58"/>
                  <a:gd name="T19" fmla="*/ 17 h 96"/>
                  <a:gd name="T20" fmla="*/ 56 w 58"/>
                  <a:gd name="T21" fmla="*/ 17 h 96"/>
                  <a:gd name="T22" fmla="*/ 56 w 58"/>
                  <a:gd name="T23" fmla="*/ 0 h 96"/>
                  <a:gd name="T24" fmla="*/ 0 w 58"/>
                  <a:gd name="T25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" h="96">
                    <a:moveTo>
                      <a:pt x="0" y="0"/>
                    </a:moveTo>
                    <a:lnTo>
                      <a:pt x="0" y="96"/>
                    </a:lnTo>
                    <a:lnTo>
                      <a:pt x="58" y="96"/>
                    </a:lnTo>
                    <a:lnTo>
                      <a:pt x="58" y="79"/>
                    </a:lnTo>
                    <a:lnTo>
                      <a:pt x="20" y="79"/>
                    </a:lnTo>
                    <a:lnTo>
                      <a:pt x="20" y="56"/>
                    </a:lnTo>
                    <a:lnTo>
                      <a:pt x="51" y="56"/>
                    </a:lnTo>
                    <a:lnTo>
                      <a:pt x="51" y="39"/>
                    </a:lnTo>
                    <a:lnTo>
                      <a:pt x="20" y="39"/>
                    </a:lnTo>
                    <a:lnTo>
                      <a:pt x="20" y="17"/>
                    </a:lnTo>
                    <a:lnTo>
                      <a:pt x="56" y="17"/>
                    </a:lnTo>
                    <a:lnTo>
                      <a:pt x="5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6" name="Freeform 63">
                <a:extLst>
                  <a:ext uri="{FF2B5EF4-FFF2-40B4-BE49-F238E27FC236}">
                    <a16:creationId xmlns:a16="http://schemas.microsoft.com/office/drawing/2014/main" id="{96336945-B614-23A3-4628-9049D7D00E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3320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7" name="Freeform 64">
                <a:extLst>
                  <a:ext uri="{FF2B5EF4-FFF2-40B4-BE49-F238E27FC236}">
                    <a16:creationId xmlns:a16="http://schemas.microsoft.com/office/drawing/2014/main" id="{68C171AE-89C5-26AC-0B39-4EC1B1CA59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6356" y="4004596"/>
                <a:ext cx="101351" cy="74204"/>
              </a:xfrm>
              <a:custGeom>
                <a:avLst/>
                <a:gdLst>
                  <a:gd name="T0" fmla="*/ 188 w 246"/>
                  <a:gd name="T1" fmla="*/ 77 h 181"/>
                  <a:gd name="T2" fmla="*/ 178 w 246"/>
                  <a:gd name="T3" fmla="*/ 137 h 181"/>
                  <a:gd name="T4" fmla="*/ 177 w 246"/>
                  <a:gd name="T5" fmla="*/ 137 h 181"/>
                  <a:gd name="T6" fmla="*/ 168 w 246"/>
                  <a:gd name="T7" fmla="*/ 88 h 181"/>
                  <a:gd name="T8" fmla="*/ 148 w 246"/>
                  <a:gd name="T9" fmla="*/ 0 h 181"/>
                  <a:gd name="T10" fmla="*/ 101 w 246"/>
                  <a:gd name="T11" fmla="*/ 0 h 181"/>
                  <a:gd name="T12" fmla="*/ 81 w 246"/>
                  <a:gd name="T13" fmla="*/ 89 h 181"/>
                  <a:gd name="T14" fmla="*/ 73 w 246"/>
                  <a:gd name="T15" fmla="*/ 137 h 181"/>
                  <a:gd name="T16" fmla="*/ 72 w 246"/>
                  <a:gd name="T17" fmla="*/ 137 h 181"/>
                  <a:gd name="T18" fmla="*/ 61 w 246"/>
                  <a:gd name="T19" fmla="*/ 73 h 181"/>
                  <a:gd name="T20" fmla="*/ 43 w 246"/>
                  <a:gd name="T21" fmla="*/ 0 h 181"/>
                  <a:gd name="T22" fmla="*/ 0 w 246"/>
                  <a:gd name="T23" fmla="*/ 0 h 181"/>
                  <a:gd name="T24" fmla="*/ 46 w 246"/>
                  <a:gd name="T25" fmla="*/ 181 h 181"/>
                  <a:gd name="T26" fmla="*/ 93 w 246"/>
                  <a:gd name="T27" fmla="*/ 181 h 181"/>
                  <a:gd name="T28" fmla="*/ 114 w 246"/>
                  <a:gd name="T29" fmla="*/ 93 h 181"/>
                  <a:gd name="T30" fmla="*/ 123 w 246"/>
                  <a:gd name="T31" fmla="*/ 44 h 181"/>
                  <a:gd name="T32" fmla="*/ 124 w 246"/>
                  <a:gd name="T33" fmla="*/ 44 h 181"/>
                  <a:gd name="T34" fmla="*/ 134 w 246"/>
                  <a:gd name="T35" fmla="*/ 101 h 181"/>
                  <a:gd name="T36" fmla="*/ 153 w 246"/>
                  <a:gd name="T37" fmla="*/ 181 h 181"/>
                  <a:gd name="T38" fmla="*/ 199 w 246"/>
                  <a:gd name="T39" fmla="*/ 181 h 181"/>
                  <a:gd name="T40" fmla="*/ 246 w 246"/>
                  <a:gd name="T41" fmla="*/ 0 h 181"/>
                  <a:gd name="T42" fmla="*/ 206 w 246"/>
                  <a:gd name="T43" fmla="*/ 0 h 181"/>
                  <a:gd name="T44" fmla="*/ 188 w 246"/>
                  <a:gd name="T45" fmla="*/ 77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6" h="181">
                    <a:moveTo>
                      <a:pt x="188" y="77"/>
                    </a:moveTo>
                    <a:cubicBezTo>
                      <a:pt x="183" y="100"/>
                      <a:pt x="179" y="121"/>
                      <a:pt x="178" y="137"/>
                    </a:cubicBezTo>
                    <a:lnTo>
                      <a:pt x="177" y="137"/>
                    </a:lnTo>
                    <a:cubicBezTo>
                      <a:pt x="175" y="120"/>
                      <a:pt x="173" y="108"/>
                      <a:pt x="168" y="88"/>
                    </a:cubicBezTo>
                    <a:lnTo>
                      <a:pt x="148" y="0"/>
                    </a:lnTo>
                    <a:lnTo>
                      <a:pt x="101" y="0"/>
                    </a:lnTo>
                    <a:lnTo>
                      <a:pt x="81" y="89"/>
                    </a:lnTo>
                    <a:cubicBezTo>
                      <a:pt x="78" y="106"/>
                      <a:pt x="75" y="116"/>
                      <a:pt x="73" y="137"/>
                    </a:cubicBezTo>
                    <a:lnTo>
                      <a:pt x="72" y="137"/>
                    </a:lnTo>
                    <a:cubicBezTo>
                      <a:pt x="71" y="118"/>
                      <a:pt x="66" y="93"/>
                      <a:pt x="61" y="73"/>
                    </a:cubicBezTo>
                    <a:lnTo>
                      <a:pt x="43" y="0"/>
                    </a:lnTo>
                    <a:lnTo>
                      <a:pt x="0" y="0"/>
                    </a:lnTo>
                    <a:lnTo>
                      <a:pt x="46" y="181"/>
                    </a:lnTo>
                    <a:lnTo>
                      <a:pt x="93" y="181"/>
                    </a:lnTo>
                    <a:lnTo>
                      <a:pt x="114" y="93"/>
                    </a:lnTo>
                    <a:cubicBezTo>
                      <a:pt x="118" y="77"/>
                      <a:pt x="120" y="63"/>
                      <a:pt x="123" y="44"/>
                    </a:cubicBezTo>
                    <a:lnTo>
                      <a:pt x="124" y="44"/>
                    </a:lnTo>
                    <a:cubicBezTo>
                      <a:pt x="126" y="62"/>
                      <a:pt x="129" y="76"/>
                      <a:pt x="134" y="101"/>
                    </a:cubicBezTo>
                    <a:lnTo>
                      <a:pt x="153" y="181"/>
                    </a:lnTo>
                    <a:lnTo>
                      <a:pt x="199" y="181"/>
                    </a:lnTo>
                    <a:lnTo>
                      <a:pt x="246" y="0"/>
                    </a:lnTo>
                    <a:lnTo>
                      <a:pt x="206" y="0"/>
                    </a:lnTo>
                    <a:lnTo>
                      <a:pt x="188" y="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8" name="Freeform 65">
                <a:extLst>
                  <a:ext uri="{FF2B5EF4-FFF2-40B4-BE49-F238E27FC236}">
                    <a16:creationId xmlns:a16="http://schemas.microsoft.com/office/drawing/2014/main" id="{716BF435-0864-3C11-4C7C-49E2E5F0D4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6815" y="3935822"/>
                <a:ext cx="3620" cy="5430"/>
              </a:xfrm>
              <a:custGeom>
                <a:avLst/>
                <a:gdLst>
                  <a:gd name="T0" fmla="*/ 2 w 7"/>
                  <a:gd name="T1" fmla="*/ 11 h 12"/>
                  <a:gd name="T2" fmla="*/ 3 w 7"/>
                  <a:gd name="T3" fmla="*/ 12 h 12"/>
                  <a:gd name="T4" fmla="*/ 7 w 7"/>
                  <a:gd name="T5" fmla="*/ 0 h 12"/>
                  <a:gd name="T6" fmla="*/ 0 w 7"/>
                  <a:gd name="T7" fmla="*/ 4 h 12"/>
                  <a:gd name="T8" fmla="*/ 2 w 7"/>
                  <a:gd name="T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2" y="11"/>
                    </a:moveTo>
                    <a:cubicBezTo>
                      <a:pt x="2" y="11"/>
                      <a:pt x="2" y="12"/>
                      <a:pt x="3" y="12"/>
                    </a:cubicBezTo>
                    <a:cubicBezTo>
                      <a:pt x="3" y="9"/>
                      <a:pt x="5" y="5"/>
                      <a:pt x="7" y="0"/>
                    </a:cubicBezTo>
                    <a:cubicBezTo>
                      <a:pt x="5" y="2"/>
                      <a:pt x="3" y="3"/>
                      <a:pt x="0" y="4"/>
                    </a:cubicBezTo>
                    <a:cubicBezTo>
                      <a:pt x="1" y="6"/>
                      <a:pt x="2" y="6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9" name="Freeform 66">
                <a:extLst>
                  <a:ext uri="{FF2B5EF4-FFF2-40B4-BE49-F238E27FC236}">
                    <a16:creationId xmlns:a16="http://schemas.microsoft.com/office/drawing/2014/main" id="{BE07557B-A83C-771C-B0DE-43C0DDF100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1386" y="3941252"/>
                <a:ext cx="0" cy="0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0" name="Freeform 67">
                <a:extLst>
                  <a:ext uri="{FF2B5EF4-FFF2-40B4-BE49-F238E27FC236}">
                    <a16:creationId xmlns:a16="http://schemas.microsoft.com/office/drawing/2014/main" id="{D9D128CF-3700-9D38-AB3D-DF24E35C7C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8992" y="3937633"/>
                <a:ext cx="0" cy="5430"/>
              </a:xfrm>
              <a:custGeom>
                <a:avLst/>
                <a:gdLst>
                  <a:gd name="T0" fmla="*/ 1 w 2"/>
                  <a:gd name="T1" fmla="*/ 0 h 14"/>
                  <a:gd name="T2" fmla="*/ 1 w 2"/>
                  <a:gd name="T3" fmla="*/ 11 h 14"/>
                  <a:gd name="T4" fmla="*/ 2 w 2"/>
                  <a:gd name="T5" fmla="*/ 14 h 14"/>
                  <a:gd name="T6" fmla="*/ 1 w 2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4">
                    <a:moveTo>
                      <a:pt x="1" y="0"/>
                    </a:moveTo>
                    <a:cubicBezTo>
                      <a:pt x="0" y="4"/>
                      <a:pt x="1" y="8"/>
                      <a:pt x="1" y="11"/>
                    </a:cubicBezTo>
                    <a:cubicBezTo>
                      <a:pt x="1" y="12"/>
                      <a:pt x="2" y="13"/>
                      <a:pt x="2" y="14"/>
                    </a:cubicBezTo>
                    <a:cubicBezTo>
                      <a:pt x="2" y="9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1" name="Freeform 68">
                <a:extLst>
                  <a:ext uri="{FF2B5EF4-FFF2-40B4-BE49-F238E27FC236}">
                    <a16:creationId xmlns:a16="http://schemas.microsoft.com/office/drawing/2014/main" id="{04677334-B32C-D78F-CCF6-75E41199CC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6907" y="3926774"/>
                <a:ext cx="7239" cy="16289"/>
              </a:xfrm>
              <a:custGeom>
                <a:avLst/>
                <a:gdLst>
                  <a:gd name="T0" fmla="*/ 6 w 19"/>
                  <a:gd name="T1" fmla="*/ 26 h 42"/>
                  <a:gd name="T2" fmla="*/ 13 w 19"/>
                  <a:gd name="T3" fmla="*/ 34 h 42"/>
                  <a:gd name="T4" fmla="*/ 15 w 19"/>
                  <a:gd name="T5" fmla="*/ 23 h 42"/>
                  <a:gd name="T6" fmla="*/ 19 w 19"/>
                  <a:gd name="T7" fmla="*/ 27 h 42"/>
                  <a:gd name="T8" fmla="*/ 19 w 19"/>
                  <a:gd name="T9" fmla="*/ 25 h 42"/>
                  <a:gd name="T10" fmla="*/ 13 w 19"/>
                  <a:gd name="T11" fmla="*/ 0 h 42"/>
                  <a:gd name="T12" fmla="*/ 4 w 19"/>
                  <a:gd name="T13" fmla="*/ 8 h 42"/>
                  <a:gd name="T14" fmla="*/ 0 w 19"/>
                  <a:gd name="T15" fmla="*/ 25 h 42"/>
                  <a:gd name="T16" fmla="*/ 4 w 19"/>
                  <a:gd name="T17" fmla="*/ 42 h 42"/>
                  <a:gd name="T18" fmla="*/ 7 w 19"/>
                  <a:gd name="T19" fmla="*/ 40 h 42"/>
                  <a:gd name="T20" fmla="*/ 7 w 19"/>
                  <a:gd name="T21" fmla="*/ 39 h 42"/>
                  <a:gd name="T22" fmla="*/ 3 w 19"/>
                  <a:gd name="T23" fmla="*/ 26 h 42"/>
                  <a:gd name="T24" fmla="*/ 3 w 19"/>
                  <a:gd name="T25" fmla="*/ 20 h 42"/>
                  <a:gd name="T26" fmla="*/ 6 w 19"/>
                  <a:gd name="T27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42">
                    <a:moveTo>
                      <a:pt x="6" y="26"/>
                    </a:moveTo>
                    <a:cubicBezTo>
                      <a:pt x="8" y="28"/>
                      <a:pt x="10" y="30"/>
                      <a:pt x="13" y="34"/>
                    </a:cubicBezTo>
                    <a:cubicBezTo>
                      <a:pt x="14" y="31"/>
                      <a:pt x="15" y="26"/>
                      <a:pt x="15" y="23"/>
                    </a:cubicBezTo>
                    <a:cubicBezTo>
                      <a:pt x="16" y="24"/>
                      <a:pt x="18" y="25"/>
                      <a:pt x="19" y="27"/>
                    </a:cubicBezTo>
                    <a:lnTo>
                      <a:pt x="19" y="25"/>
                    </a:lnTo>
                    <a:cubicBezTo>
                      <a:pt x="19" y="17"/>
                      <a:pt x="15" y="8"/>
                      <a:pt x="13" y="0"/>
                    </a:cubicBezTo>
                    <a:cubicBezTo>
                      <a:pt x="10" y="3"/>
                      <a:pt x="5" y="5"/>
                      <a:pt x="4" y="8"/>
                    </a:cubicBezTo>
                    <a:cubicBezTo>
                      <a:pt x="2" y="13"/>
                      <a:pt x="1" y="19"/>
                      <a:pt x="0" y="25"/>
                    </a:cubicBezTo>
                    <a:cubicBezTo>
                      <a:pt x="0" y="31"/>
                      <a:pt x="1" y="37"/>
                      <a:pt x="4" y="42"/>
                    </a:cubicBezTo>
                    <a:cubicBezTo>
                      <a:pt x="5" y="42"/>
                      <a:pt x="6" y="41"/>
                      <a:pt x="7" y="40"/>
                    </a:cubicBezTo>
                    <a:cubicBezTo>
                      <a:pt x="7" y="40"/>
                      <a:pt x="7" y="40"/>
                      <a:pt x="7" y="39"/>
                    </a:cubicBezTo>
                    <a:cubicBezTo>
                      <a:pt x="6" y="35"/>
                      <a:pt x="4" y="30"/>
                      <a:pt x="3" y="26"/>
                    </a:cubicBezTo>
                    <a:cubicBezTo>
                      <a:pt x="3" y="23"/>
                      <a:pt x="2" y="25"/>
                      <a:pt x="3" y="20"/>
                    </a:cubicBezTo>
                    <a:cubicBezTo>
                      <a:pt x="2" y="22"/>
                      <a:pt x="4" y="25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2" name="Freeform 69">
                <a:extLst>
                  <a:ext uri="{FF2B5EF4-FFF2-40B4-BE49-F238E27FC236}">
                    <a16:creationId xmlns:a16="http://schemas.microsoft.com/office/drawing/2014/main" id="{BC8EE769-7F69-68E6-4E0F-74D048F0A2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98133" y="3785607"/>
                <a:ext cx="18098" cy="9050"/>
              </a:xfrm>
              <a:custGeom>
                <a:avLst/>
                <a:gdLst>
                  <a:gd name="T0" fmla="*/ 36 w 44"/>
                  <a:gd name="T1" fmla="*/ 20 h 25"/>
                  <a:gd name="T2" fmla="*/ 22 w 44"/>
                  <a:gd name="T3" fmla="*/ 3 h 25"/>
                  <a:gd name="T4" fmla="*/ 1 w 44"/>
                  <a:gd name="T5" fmla="*/ 10 h 25"/>
                  <a:gd name="T6" fmla="*/ 36 w 44"/>
                  <a:gd name="T7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25">
                    <a:moveTo>
                      <a:pt x="36" y="20"/>
                    </a:moveTo>
                    <a:cubicBezTo>
                      <a:pt x="27" y="12"/>
                      <a:pt x="32" y="6"/>
                      <a:pt x="22" y="3"/>
                    </a:cubicBezTo>
                    <a:cubicBezTo>
                      <a:pt x="12" y="0"/>
                      <a:pt x="0" y="4"/>
                      <a:pt x="1" y="10"/>
                    </a:cubicBezTo>
                    <a:cubicBezTo>
                      <a:pt x="3" y="19"/>
                      <a:pt x="44" y="25"/>
                      <a:pt x="3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3" name="Freeform 70">
                <a:extLst>
                  <a:ext uri="{FF2B5EF4-FFF2-40B4-BE49-F238E27FC236}">
                    <a16:creationId xmlns:a16="http://schemas.microsoft.com/office/drawing/2014/main" id="{E55442D0-DA80-D289-C156-8BDD56CCAE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9451" y="3628150"/>
                <a:ext cx="217180" cy="322151"/>
              </a:xfrm>
              <a:custGeom>
                <a:avLst/>
                <a:gdLst>
                  <a:gd name="T0" fmla="*/ 357 w 531"/>
                  <a:gd name="T1" fmla="*/ 727 h 784"/>
                  <a:gd name="T2" fmla="*/ 383 w 531"/>
                  <a:gd name="T3" fmla="*/ 715 h 784"/>
                  <a:gd name="T4" fmla="*/ 380 w 531"/>
                  <a:gd name="T5" fmla="*/ 734 h 784"/>
                  <a:gd name="T6" fmla="*/ 400 w 531"/>
                  <a:gd name="T7" fmla="*/ 720 h 784"/>
                  <a:gd name="T8" fmla="*/ 413 w 531"/>
                  <a:gd name="T9" fmla="*/ 743 h 784"/>
                  <a:gd name="T10" fmla="*/ 421 w 531"/>
                  <a:gd name="T11" fmla="*/ 759 h 784"/>
                  <a:gd name="T12" fmla="*/ 420 w 531"/>
                  <a:gd name="T13" fmla="*/ 690 h 784"/>
                  <a:gd name="T14" fmla="*/ 431 w 531"/>
                  <a:gd name="T15" fmla="*/ 748 h 784"/>
                  <a:gd name="T16" fmla="*/ 440 w 531"/>
                  <a:gd name="T17" fmla="*/ 746 h 784"/>
                  <a:gd name="T18" fmla="*/ 449 w 531"/>
                  <a:gd name="T19" fmla="*/ 731 h 784"/>
                  <a:gd name="T20" fmla="*/ 465 w 531"/>
                  <a:gd name="T21" fmla="*/ 727 h 784"/>
                  <a:gd name="T22" fmla="*/ 501 w 531"/>
                  <a:gd name="T23" fmla="*/ 448 h 784"/>
                  <a:gd name="T24" fmla="*/ 455 w 531"/>
                  <a:gd name="T25" fmla="*/ 349 h 784"/>
                  <a:gd name="T26" fmla="*/ 463 w 531"/>
                  <a:gd name="T27" fmla="*/ 58 h 784"/>
                  <a:gd name="T28" fmla="*/ 0 w 531"/>
                  <a:gd name="T29" fmla="*/ 0 h 784"/>
                  <a:gd name="T30" fmla="*/ 203 w 531"/>
                  <a:gd name="T31" fmla="*/ 234 h 784"/>
                  <a:gd name="T32" fmla="*/ 274 w 531"/>
                  <a:gd name="T33" fmla="*/ 227 h 784"/>
                  <a:gd name="T34" fmla="*/ 341 w 531"/>
                  <a:gd name="T35" fmla="*/ 226 h 784"/>
                  <a:gd name="T36" fmla="*/ 269 w 531"/>
                  <a:gd name="T37" fmla="*/ 284 h 784"/>
                  <a:gd name="T38" fmla="*/ 321 w 531"/>
                  <a:gd name="T39" fmla="*/ 312 h 784"/>
                  <a:gd name="T40" fmla="*/ 362 w 531"/>
                  <a:gd name="T41" fmla="*/ 425 h 784"/>
                  <a:gd name="T42" fmla="*/ 99 w 531"/>
                  <a:gd name="T43" fmla="*/ 574 h 784"/>
                  <a:gd name="T44" fmla="*/ 65 w 531"/>
                  <a:gd name="T45" fmla="*/ 605 h 784"/>
                  <a:gd name="T46" fmla="*/ 63 w 531"/>
                  <a:gd name="T47" fmla="*/ 728 h 784"/>
                  <a:gd name="T48" fmla="*/ 151 w 531"/>
                  <a:gd name="T49" fmla="*/ 776 h 784"/>
                  <a:gd name="T50" fmla="*/ 158 w 531"/>
                  <a:gd name="T51" fmla="*/ 772 h 784"/>
                  <a:gd name="T52" fmla="*/ 160 w 531"/>
                  <a:gd name="T53" fmla="*/ 753 h 784"/>
                  <a:gd name="T54" fmla="*/ 171 w 531"/>
                  <a:gd name="T55" fmla="*/ 751 h 784"/>
                  <a:gd name="T56" fmla="*/ 172 w 531"/>
                  <a:gd name="T57" fmla="*/ 754 h 784"/>
                  <a:gd name="T58" fmla="*/ 181 w 531"/>
                  <a:gd name="T59" fmla="*/ 763 h 784"/>
                  <a:gd name="T60" fmla="*/ 190 w 531"/>
                  <a:gd name="T61" fmla="*/ 747 h 784"/>
                  <a:gd name="T62" fmla="*/ 196 w 531"/>
                  <a:gd name="T63" fmla="*/ 750 h 784"/>
                  <a:gd name="T64" fmla="*/ 202 w 531"/>
                  <a:gd name="T65" fmla="*/ 756 h 784"/>
                  <a:gd name="T66" fmla="*/ 211 w 531"/>
                  <a:gd name="T67" fmla="*/ 760 h 784"/>
                  <a:gd name="T68" fmla="*/ 217 w 531"/>
                  <a:gd name="T69" fmla="*/ 746 h 784"/>
                  <a:gd name="T70" fmla="*/ 221 w 531"/>
                  <a:gd name="T71" fmla="*/ 735 h 784"/>
                  <a:gd name="T72" fmla="*/ 229 w 531"/>
                  <a:gd name="T73" fmla="*/ 733 h 784"/>
                  <a:gd name="T74" fmla="*/ 237 w 531"/>
                  <a:gd name="T75" fmla="*/ 770 h 784"/>
                  <a:gd name="T76" fmla="*/ 247 w 531"/>
                  <a:gd name="T77" fmla="*/ 754 h 784"/>
                  <a:gd name="T78" fmla="*/ 253 w 531"/>
                  <a:gd name="T79" fmla="*/ 769 h 784"/>
                  <a:gd name="T80" fmla="*/ 256 w 531"/>
                  <a:gd name="T81" fmla="*/ 753 h 784"/>
                  <a:gd name="T82" fmla="*/ 264 w 531"/>
                  <a:gd name="T83" fmla="*/ 753 h 784"/>
                  <a:gd name="T84" fmla="*/ 267 w 531"/>
                  <a:gd name="T85" fmla="*/ 774 h 784"/>
                  <a:gd name="T86" fmla="*/ 266 w 531"/>
                  <a:gd name="T87" fmla="*/ 726 h 784"/>
                  <a:gd name="T88" fmla="*/ 280 w 531"/>
                  <a:gd name="T89" fmla="*/ 761 h 784"/>
                  <a:gd name="T90" fmla="*/ 286 w 531"/>
                  <a:gd name="T91" fmla="*/ 763 h 784"/>
                  <a:gd name="T92" fmla="*/ 289 w 531"/>
                  <a:gd name="T93" fmla="*/ 753 h 784"/>
                  <a:gd name="T94" fmla="*/ 298 w 531"/>
                  <a:gd name="T95" fmla="*/ 760 h 784"/>
                  <a:gd name="T96" fmla="*/ 299 w 531"/>
                  <a:gd name="T97" fmla="*/ 724 h 784"/>
                  <a:gd name="T98" fmla="*/ 316 w 531"/>
                  <a:gd name="T99" fmla="*/ 730 h 784"/>
                  <a:gd name="T100" fmla="*/ 324 w 531"/>
                  <a:gd name="T101" fmla="*/ 745 h 784"/>
                  <a:gd name="T102" fmla="*/ 334 w 531"/>
                  <a:gd name="T103" fmla="*/ 725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31" h="784">
                    <a:moveTo>
                      <a:pt x="349" y="756"/>
                    </a:moveTo>
                    <a:cubicBezTo>
                      <a:pt x="349" y="754"/>
                      <a:pt x="350" y="748"/>
                      <a:pt x="351" y="746"/>
                    </a:cubicBezTo>
                    <a:cubicBezTo>
                      <a:pt x="354" y="741"/>
                      <a:pt x="355" y="732"/>
                      <a:pt x="356" y="726"/>
                    </a:cubicBezTo>
                    <a:cubicBezTo>
                      <a:pt x="356" y="726"/>
                      <a:pt x="356" y="727"/>
                      <a:pt x="357" y="727"/>
                    </a:cubicBezTo>
                    <a:cubicBezTo>
                      <a:pt x="359" y="736"/>
                      <a:pt x="360" y="742"/>
                      <a:pt x="363" y="753"/>
                    </a:cubicBezTo>
                    <a:cubicBezTo>
                      <a:pt x="364" y="742"/>
                      <a:pt x="368" y="732"/>
                      <a:pt x="373" y="723"/>
                    </a:cubicBezTo>
                    <a:cubicBezTo>
                      <a:pt x="378" y="714"/>
                      <a:pt x="384" y="705"/>
                      <a:pt x="388" y="694"/>
                    </a:cubicBezTo>
                    <a:cubicBezTo>
                      <a:pt x="387" y="702"/>
                      <a:pt x="388" y="708"/>
                      <a:pt x="383" y="715"/>
                    </a:cubicBezTo>
                    <a:cubicBezTo>
                      <a:pt x="379" y="722"/>
                      <a:pt x="377" y="725"/>
                      <a:pt x="376" y="730"/>
                    </a:cubicBezTo>
                    <a:cubicBezTo>
                      <a:pt x="375" y="734"/>
                      <a:pt x="374" y="740"/>
                      <a:pt x="371" y="751"/>
                    </a:cubicBezTo>
                    <a:cubicBezTo>
                      <a:pt x="371" y="750"/>
                      <a:pt x="374" y="747"/>
                      <a:pt x="374" y="745"/>
                    </a:cubicBezTo>
                    <a:cubicBezTo>
                      <a:pt x="375" y="741"/>
                      <a:pt x="378" y="737"/>
                      <a:pt x="380" y="734"/>
                    </a:cubicBezTo>
                    <a:cubicBezTo>
                      <a:pt x="384" y="727"/>
                      <a:pt x="390" y="723"/>
                      <a:pt x="396" y="721"/>
                    </a:cubicBezTo>
                    <a:cubicBezTo>
                      <a:pt x="396" y="721"/>
                      <a:pt x="396" y="720"/>
                      <a:pt x="395" y="720"/>
                    </a:cubicBezTo>
                    <a:cubicBezTo>
                      <a:pt x="396" y="720"/>
                      <a:pt x="396" y="720"/>
                      <a:pt x="397" y="721"/>
                    </a:cubicBezTo>
                    <a:cubicBezTo>
                      <a:pt x="398" y="720"/>
                      <a:pt x="399" y="720"/>
                      <a:pt x="400" y="720"/>
                    </a:cubicBezTo>
                    <a:cubicBezTo>
                      <a:pt x="399" y="721"/>
                      <a:pt x="399" y="722"/>
                      <a:pt x="398" y="722"/>
                    </a:cubicBezTo>
                    <a:cubicBezTo>
                      <a:pt x="400" y="725"/>
                      <a:pt x="403" y="730"/>
                      <a:pt x="405" y="735"/>
                    </a:cubicBezTo>
                    <a:cubicBezTo>
                      <a:pt x="407" y="741"/>
                      <a:pt x="410" y="747"/>
                      <a:pt x="412" y="753"/>
                    </a:cubicBezTo>
                    <a:cubicBezTo>
                      <a:pt x="412" y="750"/>
                      <a:pt x="413" y="746"/>
                      <a:pt x="413" y="743"/>
                    </a:cubicBezTo>
                    <a:cubicBezTo>
                      <a:pt x="413" y="736"/>
                      <a:pt x="411" y="731"/>
                      <a:pt x="407" y="727"/>
                    </a:cubicBezTo>
                    <a:cubicBezTo>
                      <a:pt x="408" y="727"/>
                      <a:pt x="413" y="734"/>
                      <a:pt x="413" y="735"/>
                    </a:cubicBezTo>
                    <a:cubicBezTo>
                      <a:pt x="418" y="741"/>
                      <a:pt x="419" y="751"/>
                      <a:pt x="421" y="759"/>
                    </a:cubicBezTo>
                    <a:cubicBezTo>
                      <a:pt x="421" y="759"/>
                      <a:pt x="421" y="759"/>
                      <a:pt x="421" y="759"/>
                    </a:cubicBezTo>
                    <a:cubicBezTo>
                      <a:pt x="421" y="755"/>
                      <a:pt x="421" y="751"/>
                      <a:pt x="421" y="747"/>
                    </a:cubicBezTo>
                    <a:cubicBezTo>
                      <a:pt x="420" y="742"/>
                      <a:pt x="419" y="737"/>
                      <a:pt x="419" y="731"/>
                    </a:cubicBezTo>
                    <a:cubicBezTo>
                      <a:pt x="418" y="725"/>
                      <a:pt x="418" y="718"/>
                      <a:pt x="418" y="711"/>
                    </a:cubicBezTo>
                    <a:cubicBezTo>
                      <a:pt x="418" y="704"/>
                      <a:pt x="419" y="697"/>
                      <a:pt x="420" y="690"/>
                    </a:cubicBezTo>
                    <a:cubicBezTo>
                      <a:pt x="419" y="699"/>
                      <a:pt x="420" y="709"/>
                      <a:pt x="422" y="718"/>
                    </a:cubicBezTo>
                    <a:cubicBezTo>
                      <a:pt x="424" y="727"/>
                      <a:pt x="427" y="736"/>
                      <a:pt x="429" y="744"/>
                    </a:cubicBezTo>
                    <a:cubicBezTo>
                      <a:pt x="430" y="743"/>
                      <a:pt x="431" y="740"/>
                      <a:pt x="432" y="739"/>
                    </a:cubicBezTo>
                    <a:cubicBezTo>
                      <a:pt x="431" y="742"/>
                      <a:pt x="431" y="745"/>
                      <a:pt x="431" y="748"/>
                    </a:cubicBezTo>
                    <a:cubicBezTo>
                      <a:pt x="431" y="748"/>
                      <a:pt x="431" y="748"/>
                      <a:pt x="431" y="749"/>
                    </a:cubicBezTo>
                    <a:cubicBezTo>
                      <a:pt x="432" y="751"/>
                      <a:pt x="432" y="752"/>
                      <a:pt x="433" y="752"/>
                    </a:cubicBezTo>
                    <a:cubicBezTo>
                      <a:pt x="435" y="751"/>
                      <a:pt x="437" y="750"/>
                      <a:pt x="439" y="748"/>
                    </a:cubicBezTo>
                    <a:cubicBezTo>
                      <a:pt x="439" y="747"/>
                      <a:pt x="440" y="747"/>
                      <a:pt x="440" y="746"/>
                    </a:cubicBezTo>
                    <a:cubicBezTo>
                      <a:pt x="440" y="743"/>
                      <a:pt x="439" y="739"/>
                      <a:pt x="439" y="736"/>
                    </a:cubicBezTo>
                    <a:cubicBezTo>
                      <a:pt x="439" y="736"/>
                      <a:pt x="440" y="738"/>
                      <a:pt x="441" y="738"/>
                    </a:cubicBezTo>
                    <a:cubicBezTo>
                      <a:pt x="441" y="739"/>
                      <a:pt x="442" y="740"/>
                      <a:pt x="442" y="742"/>
                    </a:cubicBezTo>
                    <a:cubicBezTo>
                      <a:pt x="445" y="738"/>
                      <a:pt x="447" y="734"/>
                      <a:pt x="449" y="731"/>
                    </a:cubicBezTo>
                    <a:cubicBezTo>
                      <a:pt x="454" y="724"/>
                      <a:pt x="465" y="714"/>
                      <a:pt x="466" y="703"/>
                    </a:cubicBezTo>
                    <a:cubicBezTo>
                      <a:pt x="465" y="712"/>
                      <a:pt x="461" y="720"/>
                      <a:pt x="457" y="728"/>
                    </a:cubicBezTo>
                    <a:cubicBezTo>
                      <a:pt x="455" y="731"/>
                      <a:pt x="452" y="736"/>
                      <a:pt x="451" y="739"/>
                    </a:cubicBezTo>
                    <a:cubicBezTo>
                      <a:pt x="455" y="736"/>
                      <a:pt x="460" y="731"/>
                      <a:pt x="465" y="727"/>
                    </a:cubicBezTo>
                    <a:cubicBezTo>
                      <a:pt x="465" y="726"/>
                      <a:pt x="466" y="726"/>
                      <a:pt x="466" y="725"/>
                    </a:cubicBezTo>
                    <a:cubicBezTo>
                      <a:pt x="468" y="724"/>
                      <a:pt x="469" y="723"/>
                      <a:pt x="470" y="722"/>
                    </a:cubicBezTo>
                    <a:cubicBezTo>
                      <a:pt x="510" y="683"/>
                      <a:pt x="530" y="629"/>
                      <a:pt x="531" y="561"/>
                    </a:cubicBezTo>
                    <a:cubicBezTo>
                      <a:pt x="531" y="520"/>
                      <a:pt x="521" y="482"/>
                      <a:pt x="501" y="448"/>
                    </a:cubicBezTo>
                    <a:cubicBezTo>
                      <a:pt x="489" y="429"/>
                      <a:pt x="473" y="413"/>
                      <a:pt x="455" y="401"/>
                    </a:cubicBezTo>
                    <a:lnTo>
                      <a:pt x="407" y="381"/>
                    </a:lnTo>
                    <a:lnTo>
                      <a:pt x="407" y="378"/>
                    </a:lnTo>
                    <a:cubicBezTo>
                      <a:pt x="426" y="369"/>
                      <a:pt x="441" y="360"/>
                      <a:pt x="455" y="349"/>
                    </a:cubicBezTo>
                    <a:cubicBezTo>
                      <a:pt x="457" y="347"/>
                      <a:pt x="460" y="345"/>
                      <a:pt x="463" y="343"/>
                    </a:cubicBezTo>
                    <a:cubicBezTo>
                      <a:pt x="477" y="330"/>
                      <a:pt x="489" y="317"/>
                      <a:pt x="497" y="303"/>
                    </a:cubicBezTo>
                    <a:cubicBezTo>
                      <a:pt x="512" y="273"/>
                      <a:pt x="520" y="242"/>
                      <a:pt x="519" y="210"/>
                    </a:cubicBezTo>
                    <a:cubicBezTo>
                      <a:pt x="519" y="147"/>
                      <a:pt x="500" y="96"/>
                      <a:pt x="463" y="58"/>
                    </a:cubicBezTo>
                    <a:cubicBezTo>
                      <a:pt x="460" y="56"/>
                      <a:pt x="457" y="53"/>
                      <a:pt x="455" y="51"/>
                    </a:cubicBezTo>
                    <a:cubicBezTo>
                      <a:pt x="448" y="45"/>
                      <a:pt x="442" y="40"/>
                      <a:pt x="434" y="36"/>
                    </a:cubicBezTo>
                    <a:cubicBezTo>
                      <a:pt x="399" y="13"/>
                      <a:pt x="352" y="0"/>
                      <a:pt x="294" y="0"/>
                    </a:cubicBezTo>
                    <a:lnTo>
                      <a:pt x="0" y="0"/>
                    </a:lnTo>
                    <a:lnTo>
                      <a:pt x="0" y="275"/>
                    </a:lnTo>
                    <a:cubicBezTo>
                      <a:pt x="70" y="281"/>
                      <a:pt x="147" y="280"/>
                      <a:pt x="168" y="249"/>
                    </a:cubicBezTo>
                    <a:cubicBezTo>
                      <a:pt x="172" y="244"/>
                      <a:pt x="173" y="231"/>
                      <a:pt x="193" y="233"/>
                    </a:cubicBezTo>
                    <a:cubicBezTo>
                      <a:pt x="195" y="233"/>
                      <a:pt x="199" y="233"/>
                      <a:pt x="203" y="234"/>
                    </a:cubicBezTo>
                    <a:cubicBezTo>
                      <a:pt x="205" y="234"/>
                      <a:pt x="207" y="234"/>
                      <a:pt x="209" y="234"/>
                    </a:cubicBezTo>
                    <a:cubicBezTo>
                      <a:pt x="225" y="234"/>
                      <a:pt x="246" y="233"/>
                      <a:pt x="269" y="229"/>
                    </a:cubicBezTo>
                    <a:cubicBezTo>
                      <a:pt x="270" y="228"/>
                      <a:pt x="272" y="228"/>
                      <a:pt x="273" y="228"/>
                    </a:cubicBezTo>
                    <a:cubicBezTo>
                      <a:pt x="273" y="227"/>
                      <a:pt x="273" y="227"/>
                      <a:pt x="274" y="227"/>
                    </a:cubicBezTo>
                    <a:cubicBezTo>
                      <a:pt x="282" y="225"/>
                      <a:pt x="290" y="223"/>
                      <a:pt x="298" y="220"/>
                    </a:cubicBezTo>
                    <a:cubicBezTo>
                      <a:pt x="303" y="218"/>
                      <a:pt x="309" y="215"/>
                      <a:pt x="314" y="212"/>
                    </a:cubicBezTo>
                    <a:cubicBezTo>
                      <a:pt x="357" y="188"/>
                      <a:pt x="379" y="160"/>
                      <a:pt x="379" y="160"/>
                    </a:cubicBezTo>
                    <a:cubicBezTo>
                      <a:pt x="379" y="160"/>
                      <a:pt x="366" y="196"/>
                      <a:pt x="341" y="226"/>
                    </a:cubicBezTo>
                    <a:cubicBezTo>
                      <a:pt x="326" y="245"/>
                      <a:pt x="311" y="259"/>
                      <a:pt x="295" y="270"/>
                    </a:cubicBezTo>
                    <a:cubicBezTo>
                      <a:pt x="288" y="275"/>
                      <a:pt x="280" y="279"/>
                      <a:pt x="273" y="282"/>
                    </a:cubicBezTo>
                    <a:cubicBezTo>
                      <a:pt x="272" y="283"/>
                      <a:pt x="271" y="283"/>
                      <a:pt x="270" y="284"/>
                    </a:cubicBezTo>
                    <a:cubicBezTo>
                      <a:pt x="270" y="284"/>
                      <a:pt x="270" y="284"/>
                      <a:pt x="269" y="284"/>
                    </a:cubicBezTo>
                    <a:cubicBezTo>
                      <a:pt x="232" y="301"/>
                      <a:pt x="203" y="299"/>
                      <a:pt x="203" y="299"/>
                    </a:cubicBezTo>
                    <a:cubicBezTo>
                      <a:pt x="244" y="303"/>
                      <a:pt x="282" y="299"/>
                      <a:pt x="319" y="280"/>
                    </a:cubicBezTo>
                    <a:cubicBezTo>
                      <a:pt x="352" y="264"/>
                      <a:pt x="361" y="248"/>
                      <a:pt x="363" y="244"/>
                    </a:cubicBezTo>
                    <a:cubicBezTo>
                      <a:pt x="360" y="251"/>
                      <a:pt x="339" y="297"/>
                      <a:pt x="321" y="312"/>
                    </a:cubicBezTo>
                    <a:lnTo>
                      <a:pt x="302" y="329"/>
                    </a:lnTo>
                    <a:lnTo>
                      <a:pt x="288" y="340"/>
                    </a:lnTo>
                    <a:cubicBezTo>
                      <a:pt x="288" y="340"/>
                      <a:pt x="284" y="352"/>
                      <a:pt x="314" y="383"/>
                    </a:cubicBezTo>
                    <a:cubicBezTo>
                      <a:pt x="326" y="394"/>
                      <a:pt x="345" y="411"/>
                      <a:pt x="362" y="425"/>
                    </a:cubicBezTo>
                    <a:cubicBezTo>
                      <a:pt x="371" y="433"/>
                      <a:pt x="379" y="440"/>
                      <a:pt x="385" y="446"/>
                    </a:cubicBezTo>
                    <a:cubicBezTo>
                      <a:pt x="418" y="478"/>
                      <a:pt x="348" y="531"/>
                      <a:pt x="304" y="504"/>
                    </a:cubicBezTo>
                    <a:cubicBezTo>
                      <a:pt x="282" y="491"/>
                      <a:pt x="211" y="521"/>
                      <a:pt x="167" y="515"/>
                    </a:cubicBezTo>
                    <a:cubicBezTo>
                      <a:pt x="111" y="508"/>
                      <a:pt x="121" y="546"/>
                      <a:pt x="99" y="574"/>
                    </a:cubicBezTo>
                    <a:cubicBezTo>
                      <a:pt x="68" y="614"/>
                      <a:pt x="45" y="559"/>
                      <a:pt x="42" y="540"/>
                    </a:cubicBezTo>
                    <a:cubicBezTo>
                      <a:pt x="38" y="513"/>
                      <a:pt x="28" y="484"/>
                      <a:pt x="0" y="472"/>
                    </a:cubicBezTo>
                    <a:lnTo>
                      <a:pt x="0" y="474"/>
                    </a:lnTo>
                    <a:cubicBezTo>
                      <a:pt x="50" y="501"/>
                      <a:pt x="11" y="562"/>
                      <a:pt x="65" y="605"/>
                    </a:cubicBezTo>
                    <a:cubicBezTo>
                      <a:pt x="58" y="622"/>
                      <a:pt x="49" y="636"/>
                      <a:pt x="45" y="650"/>
                    </a:cubicBezTo>
                    <a:cubicBezTo>
                      <a:pt x="46" y="653"/>
                      <a:pt x="48" y="655"/>
                      <a:pt x="49" y="657"/>
                    </a:cubicBezTo>
                    <a:cubicBezTo>
                      <a:pt x="54" y="665"/>
                      <a:pt x="69" y="666"/>
                      <a:pt x="69" y="675"/>
                    </a:cubicBezTo>
                    <a:cubicBezTo>
                      <a:pt x="70" y="683"/>
                      <a:pt x="68" y="722"/>
                      <a:pt x="63" y="728"/>
                    </a:cubicBezTo>
                    <a:cubicBezTo>
                      <a:pt x="59" y="733"/>
                      <a:pt x="60" y="761"/>
                      <a:pt x="41" y="784"/>
                    </a:cubicBezTo>
                    <a:lnTo>
                      <a:pt x="129" y="784"/>
                    </a:lnTo>
                    <a:cubicBezTo>
                      <a:pt x="136" y="782"/>
                      <a:pt x="143" y="779"/>
                      <a:pt x="151" y="777"/>
                    </a:cubicBezTo>
                    <a:cubicBezTo>
                      <a:pt x="151" y="777"/>
                      <a:pt x="151" y="776"/>
                      <a:pt x="151" y="776"/>
                    </a:cubicBezTo>
                    <a:cubicBezTo>
                      <a:pt x="153" y="768"/>
                      <a:pt x="150" y="762"/>
                      <a:pt x="146" y="756"/>
                    </a:cubicBezTo>
                    <a:cubicBezTo>
                      <a:pt x="143" y="749"/>
                      <a:pt x="139" y="743"/>
                      <a:pt x="138" y="736"/>
                    </a:cubicBezTo>
                    <a:cubicBezTo>
                      <a:pt x="139" y="743"/>
                      <a:pt x="146" y="749"/>
                      <a:pt x="149" y="754"/>
                    </a:cubicBezTo>
                    <a:cubicBezTo>
                      <a:pt x="152" y="758"/>
                      <a:pt x="158" y="767"/>
                      <a:pt x="158" y="772"/>
                    </a:cubicBezTo>
                    <a:cubicBezTo>
                      <a:pt x="159" y="770"/>
                      <a:pt x="161" y="767"/>
                      <a:pt x="161" y="765"/>
                    </a:cubicBezTo>
                    <a:lnTo>
                      <a:pt x="161" y="762"/>
                    </a:lnTo>
                    <a:cubicBezTo>
                      <a:pt x="161" y="761"/>
                      <a:pt x="161" y="760"/>
                      <a:pt x="161" y="759"/>
                    </a:cubicBezTo>
                    <a:cubicBezTo>
                      <a:pt x="161" y="757"/>
                      <a:pt x="160" y="755"/>
                      <a:pt x="160" y="753"/>
                    </a:cubicBezTo>
                    <a:cubicBezTo>
                      <a:pt x="161" y="756"/>
                      <a:pt x="162" y="758"/>
                      <a:pt x="163" y="761"/>
                    </a:cubicBezTo>
                    <a:cubicBezTo>
                      <a:pt x="164" y="763"/>
                      <a:pt x="166" y="766"/>
                      <a:pt x="166" y="769"/>
                    </a:cubicBezTo>
                    <a:cubicBezTo>
                      <a:pt x="167" y="764"/>
                      <a:pt x="168" y="759"/>
                      <a:pt x="170" y="755"/>
                    </a:cubicBezTo>
                    <a:cubicBezTo>
                      <a:pt x="170" y="753"/>
                      <a:pt x="171" y="752"/>
                      <a:pt x="171" y="751"/>
                    </a:cubicBezTo>
                    <a:cubicBezTo>
                      <a:pt x="171" y="751"/>
                      <a:pt x="171" y="752"/>
                      <a:pt x="171" y="752"/>
                    </a:cubicBezTo>
                    <a:cubicBezTo>
                      <a:pt x="171" y="752"/>
                      <a:pt x="171" y="751"/>
                      <a:pt x="172" y="751"/>
                    </a:cubicBezTo>
                    <a:cubicBezTo>
                      <a:pt x="172" y="750"/>
                      <a:pt x="175" y="747"/>
                      <a:pt x="176" y="747"/>
                    </a:cubicBezTo>
                    <a:cubicBezTo>
                      <a:pt x="173" y="749"/>
                      <a:pt x="172" y="751"/>
                      <a:pt x="172" y="754"/>
                    </a:cubicBezTo>
                    <a:cubicBezTo>
                      <a:pt x="173" y="756"/>
                      <a:pt x="174" y="757"/>
                      <a:pt x="175" y="758"/>
                    </a:cubicBezTo>
                    <a:cubicBezTo>
                      <a:pt x="175" y="759"/>
                      <a:pt x="177" y="760"/>
                      <a:pt x="179" y="761"/>
                    </a:cubicBezTo>
                    <a:cubicBezTo>
                      <a:pt x="179" y="760"/>
                      <a:pt x="180" y="760"/>
                      <a:pt x="181" y="759"/>
                    </a:cubicBezTo>
                    <a:cubicBezTo>
                      <a:pt x="181" y="760"/>
                      <a:pt x="181" y="761"/>
                      <a:pt x="181" y="763"/>
                    </a:cubicBezTo>
                    <a:cubicBezTo>
                      <a:pt x="184" y="764"/>
                      <a:pt x="187" y="765"/>
                      <a:pt x="190" y="765"/>
                    </a:cubicBezTo>
                    <a:cubicBezTo>
                      <a:pt x="191" y="760"/>
                      <a:pt x="189" y="754"/>
                      <a:pt x="188" y="750"/>
                    </a:cubicBezTo>
                    <a:cubicBezTo>
                      <a:pt x="187" y="747"/>
                      <a:pt x="181" y="745"/>
                      <a:pt x="180" y="742"/>
                    </a:cubicBezTo>
                    <a:cubicBezTo>
                      <a:pt x="184" y="743"/>
                      <a:pt x="187" y="745"/>
                      <a:pt x="190" y="747"/>
                    </a:cubicBezTo>
                    <a:cubicBezTo>
                      <a:pt x="189" y="747"/>
                      <a:pt x="189" y="746"/>
                      <a:pt x="189" y="746"/>
                    </a:cubicBezTo>
                    <a:cubicBezTo>
                      <a:pt x="189" y="744"/>
                      <a:pt x="189" y="745"/>
                      <a:pt x="189" y="741"/>
                    </a:cubicBezTo>
                    <a:cubicBezTo>
                      <a:pt x="189" y="742"/>
                      <a:pt x="191" y="746"/>
                      <a:pt x="192" y="746"/>
                    </a:cubicBezTo>
                    <a:cubicBezTo>
                      <a:pt x="193" y="747"/>
                      <a:pt x="194" y="748"/>
                      <a:pt x="196" y="750"/>
                    </a:cubicBezTo>
                    <a:cubicBezTo>
                      <a:pt x="195" y="746"/>
                      <a:pt x="193" y="744"/>
                      <a:pt x="191" y="739"/>
                    </a:cubicBezTo>
                    <a:cubicBezTo>
                      <a:pt x="188" y="735"/>
                      <a:pt x="188" y="731"/>
                      <a:pt x="188" y="726"/>
                    </a:cubicBezTo>
                    <a:cubicBezTo>
                      <a:pt x="190" y="732"/>
                      <a:pt x="193" y="737"/>
                      <a:pt x="195" y="741"/>
                    </a:cubicBezTo>
                    <a:cubicBezTo>
                      <a:pt x="198" y="746"/>
                      <a:pt x="200" y="751"/>
                      <a:pt x="202" y="756"/>
                    </a:cubicBezTo>
                    <a:cubicBezTo>
                      <a:pt x="203" y="757"/>
                      <a:pt x="204" y="758"/>
                      <a:pt x="205" y="759"/>
                    </a:cubicBezTo>
                    <a:cubicBezTo>
                      <a:pt x="206" y="755"/>
                      <a:pt x="207" y="752"/>
                      <a:pt x="208" y="748"/>
                    </a:cubicBezTo>
                    <a:cubicBezTo>
                      <a:pt x="208" y="748"/>
                      <a:pt x="208" y="747"/>
                      <a:pt x="208" y="747"/>
                    </a:cubicBezTo>
                    <a:cubicBezTo>
                      <a:pt x="209" y="751"/>
                      <a:pt x="209" y="756"/>
                      <a:pt x="211" y="760"/>
                    </a:cubicBezTo>
                    <a:lnTo>
                      <a:pt x="211" y="760"/>
                    </a:lnTo>
                    <a:cubicBezTo>
                      <a:pt x="212" y="757"/>
                      <a:pt x="212" y="754"/>
                      <a:pt x="212" y="751"/>
                    </a:cubicBezTo>
                    <a:cubicBezTo>
                      <a:pt x="214" y="740"/>
                      <a:pt x="206" y="737"/>
                      <a:pt x="199" y="729"/>
                    </a:cubicBezTo>
                    <a:cubicBezTo>
                      <a:pt x="204" y="728"/>
                      <a:pt x="213" y="736"/>
                      <a:pt x="217" y="746"/>
                    </a:cubicBezTo>
                    <a:cubicBezTo>
                      <a:pt x="219" y="749"/>
                      <a:pt x="220" y="753"/>
                      <a:pt x="221" y="757"/>
                    </a:cubicBezTo>
                    <a:cubicBezTo>
                      <a:pt x="222" y="753"/>
                      <a:pt x="222" y="750"/>
                      <a:pt x="222" y="747"/>
                    </a:cubicBezTo>
                    <a:cubicBezTo>
                      <a:pt x="223" y="749"/>
                      <a:pt x="223" y="751"/>
                      <a:pt x="224" y="753"/>
                    </a:cubicBezTo>
                    <a:cubicBezTo>
                      <a:pt x="223" y="748"/>
                      <a:pt x="222" y="742"/>
                      <a:pt x="221" y="735"/>
                    </a:cubicBezTo>
                    <a:cubicBezTo>
                      <a:pt x="219" y="727"/>
                      <a:pt x="220" y="721"/>
                      <a:pt x="223" y="716"/>
                    </a:cubicBezTo>
                    <a:cubicBezTo>
                      <a:pt x="225" y="711"/>
                      <a:pt x="229" y="708"/>
                      <a:pt x="231" y="704"/>
                    </a:cubicBezTo>
                    <a:cubicBezTo>
                      <a:pt x="229" y="711"/>
                      <a:pt x="228" y="715"/>
                      <a:pt x="228" y="720"/>
                    </a:cubicBezTo>
                    <a:cubicBezTo>
                      <a:pt x="227" y="724"/>
                      <a:pt x="228" y="728"/>
                      <a:pt x="229" y="733"/>
                    </a:cubicBezTo>
                    <a:cubicBezTo>
                      <a:pt x="230" y="732"/>
                      <a:pt x="231" y="731"/>
                      <a:pt x="232" y="731"/>
                    </a:cubicBezTo>
                    <a:cubicBezTo>
                      <a:pt x="231" y="733"/>
                      <a:pt x="231" y="734"/>
                      <a:pt x="230" y="736"/>
                    </a:cubicBezTo>
                    <a:cubicBezTo>
                      <a:pt x="231" y="739"/>
                      <a:pt x="232" y="742"/>
                      <a:pt x="233" y="746"/>
                    </a:cubicBezTo>
                    <a:cubicBezTo>
                      <a:pt x="236" y="752"/>
                      <a:pt x="236" y="761"/>
                      <a:pt x="237" y="770"/>
                    </a:cubicBezTo>
                    <a:cubicBezTo>
                      <a:pt x="237" y="763"/>
                      <a:pt x="237" y="755"/>
                      <a:pt x="242" y="749"/>
                    </a:cubicBezTo>
                    <a:cubicBezTo>
                      <a:pt x="242" y="747"/>
                      <a:pt x="242" y="744"/>
                      <a:pt x="241" y="742"/>
                    </a:cubicBezTo>
                    <a:cubicBezTo>
                      <a:pt x="241" y="743"/>
                      <a:pt x="243" y="744"/>
                      <a:pt x="243" y="745"/>
                    </a:cubicBezTo>
                    <a:cubicBezTo>
                      <a:pt x="245" y="747"/>
                      <a:pt x="247" y="752"/>
                      <a:pt x="247" y="754"/>
                    </a:cubicBezTo>
                    <a:cubicBezTo>
                      <a:pt x="248" y="758"/>
                      <a:pt x="250" y="762"/>
                      <a:pt x="251" y="765"/>
                    </a:cubicBezTo>
                    <a:cubicBezTo>
                      <a:pt x="252" y="764"/>
                      <a:pt x="253" y="762"/>
                      <a:pt x="253" y="760"/>
                    </a:cubicBezTo>
                    <a:cubicBezTo>
                      <a:pt x="253" y="763"/>
                      <a:pt x="253" y="766"/>
                      <a:pt x="253" y="769"/>
                    </a:cubicBezTo>
                    <a:lnTo>
                      <a:pt x="253" y="769"/>
                    </a:lnTo>
                    <a:cubicBezTo>
                      <a:pt x="253" y="770"/>
                      <a:pt x="254" y="771"/>
                      <a:pt x="254" y="772"/>
                    </a:cubicBezTo>
                    <a:cubicBezTo>
                      <a:pt x="254" y="772"/>
                      <a:pt x="255" y="772"/>
                      <a:pt x="255" y="771"/>
                    </a:cubicBezTo>
                    <a:cubicBezTo>
                      <a:pt x="256" y="768"/>
                      <a:pt x="256" y="765"/>
                      <a:pt x="256" y="762"/>
                    </a:cubicBezTo>
                    <a:cubicBezTo>
                      <a:pt x="256" y="759"/>
                      <a:pt x="256" y="756"/>
                      <a:pt x="256" y="753"/>
                    </a:cubicBezTo>
                    <a:cubicBezTo>
                      <a:pt x="256" y="751"/>
                      <a:pt x="258" y="747"/>
                      <a:pt x="259" y="744"/>
                    </a:cubicBezTo>
                    <a:cubicBezTo>
                      <a:pt x="258" y="749"/>
                      <a:pt x="259" y="755"/>
                      <a:pt x="261" y="760"/>
                    </a:cubicBezTo>
                    <a:cubicBezTo>
                      <a:pt x="261" y="760"/>
                      <a:pt x="261" y="760"/>
                      <a:pt x="261" y="759"/>
                    </a:cubicBezTo>
                    <a:cubicBezTo>
                      <a:pt x="261" y="758"/>
                      <a:pt x="263" y="754"/>
                      <a:pt x="264" y="753"/>
                    </a:cubicBezTo>
                    <a:cubicBezTo>
                      <a:pt x="264" y="752"/>
                      <a:pt x="266" y="750"/>
                      <a:pt x="266" y="749"/>
                    </a:cubicBezTo>
                    <a:cubicBezTo>
                      <a:pt x="264" y="754"/>
                      <a:pt x="263" y="760"/>
                      <a:pt x="263" y="765"/>
                    </a:cubicBezTo>
                    <a:cubicBezTo>
                      <a:pt x="264" y="768"/>
                      <a:pt x="265" y="770"/>
                      <a:pt x="266" y="772"/>
                    </a:cubicBezTo>
                    <a:cubicBezTo>
                      <a:pt x="267" y="773"/>
                      <a:pt x="267" y="774"/>
                      <a:pt x="267" y="774"/>
                    </a:cubicBezTo>
                    <a:cubicBezTo>
                      <a:pt x="269" y="770"/>
                      <a:pt x="270" y="765"/>
                      <a:pt x="270" y="761"/>
                    </a:cubicBezTo>
                    <a:cubicBezTo>
                      <a:pt x="270" y="762"/>
                      <a:pt x="271" y="763"/>
                      <a:pt x="271" y="764"/>
                    </a:cubicBezTo>
                    <a:cubicBezTo>
                      <a:pt x="271" y="758"/>
                      <a:pt x="270" y="751"/>
                      <a:pt x="269" y="745"/>
                    </a:cubicBezTo>
                    <a:cubicBezTo>
                      <a:pt x="269" y="739"/>
                      <a:pt x="267" y="733"/>
                      <a:pt x="266" y="726"/>
                    </a:cubicBezTo>
                    <a:cubicBezTo>
                      <a:pt x="266" y="728"/>
                      <a:pt x="268" y="731"/>
                      <a:pt x="269" y="731"/>
                    </a:cubicBezTo>
                    <a:cubicBezTo>
                      <a:pt x="270" y="734"/>
                      <a:pt x="272" y="739"/>
                      <a:pt x="273" y="743"/>
                    </a:cubicBezTo>
                    <a:cubicBezTo>
                      <a:pt x="274" y="747"/>
                      <a:pt x="277" y="754"/>
                      <a:pt x="279" y="759"/>
                    </a:cubicBezTo>
                    <a:cubicBezTo>
                      <a:pt x="279" y="760"/>
                      <a:pt x="280" y="760"/>
                      <a:pt x="280" y="761"/>
                    </a:cubicBezTo>
                    <a:cubicBezTo>
                      <a:pt x="281" y="761"/>
                      <a:pt x="281" y="760"/>
                      <a:pt x="281" y="760"/>
                    </a:cubicBezTo>
                    <a:lnTo>
                      <a:pt x="281" y="761"/>
                    </a:lnTo>
                    <a:cubicBezTo>
                      <a:pt x="282" y="762"/>
                      <a:pt x="284" y="763"/>
                      <a:pt x="286" y="763"/>
                    </a:cubicBezTo>
                    <a:cubicBezTo>
                      <a:pt x="286" y="763"/>
                      <a:pt x="286" y="763"/>
                      <a:pt x="286" y="763"/>
                    </a:cubicBezTo>
                    <a:cubicBezTo>
                      <a:pt x="286" y="762"/>
                      <a:pt x="286" y="762"/>
                      <a:pt x="286" y="762"/>
                    </a:cubicBezTo>
                    <a:cubicBezTo>
                      <a:pt x="286" y="760"/>
                      <a:pt x="286" y="758"/>
                      <a:pt x="286" y="758"/>
                    </a:cubicBezTo>
                    <a:cubicBezTo>
                      <a:pt x="286" y="753"/>
                      <a:pt x="285" y="748"/>
                      <a:pt x="285" y="743"/>
                    </a:cubicBezTo>
                    <a:cubicBezTo>
                      <a:pt x="285" y="747"/>
                      <a:pt x="287" y="750"/>
                      <a:pt x="289" y="753"/>
                    </a:cubicBezTo>
                    <a:cubicBezTo>
                      <a:pt x="290" y="748"/>
                      <a:pt x="290" y="744"/>
                      <a:pt x="287" y="736"/>
                    </a:cubicBezTo>
                    <a:cubicBezTo>
                      <a:pt x="290" y="740"/>
                      <a:pt x="297" y="746"/>
                      <a:pt x="294" y="756"/>
                    </a:cubicBezTo>
                    <a:cubicBezTo>
                      <a:pt x="294" y="757"/>
                      <a:pt x="294" y="757"/>
                      <a:pt x="294" y="758"/>
                    </a:cubicBezTo>
                    <a:cubicBezTo>
                      <a:pt x="295" y="759"/>
                      <a:pt x="297" y="760"/>
                      <a:pt x="298" y="760"/>
                    </a:cubicBezTo>
                    <a:cubicBezTo>
                      <a:pt x="299" y="759"/>
                      <a:pt x="300" y="758"/>
                      <a:pt x="300" y="757"/>
                    </a:cubicBezTo>
                    <a:cubicBezTo>
                      <a:pt x="300" y="757"/>
                      <a:pt x="300" y="756"/>
                      <a:pt x="300" y="756"/>
                    </a:cubicBezTo>
                    <a:cubicBezTo>
                      <a:pt x="301" y="754"/>
                      <a:pt x="302" y="750"/>
                      <a:pt x="303" y="748"/>
                    </a:cubicBezTo>
                    <a:cubicBezTo>
                      <a:pt x="303" y="740"/>
                      <a:pt x="304" y="730"/>
                      <a:pt x="299" y="724"/>
                    </a:cubicBezTo>
                    <a:cubicBezTo>
                      <a:pt x="305" y="729"/>
                      <a:pt x="307" y="735"/>
                      <a:pt x="309" y="741"/>
                    </a:cubicBezTo>
                    <a:cubicBezTo>
                      <a:pt x="310" y="748"/>
                      <a:pt x="310" y="754"/>
                      <a:pt x="311" y="761"/>
                    </a:cubicBezTo>
                    <a:cubicBezTo>
                      <a:pt x="311" y="755"/>
                      <a:pt x="312" y="750"/>
                      <a:pt x="313" y="745"/>
                    </a:cubicBezTo>
                    <a:cubicBezTo>
                      <a:pt x="313" y="741"/>
                      <a:pt x="315" y="736"/>
                      <a:pt x="316" y="730"/>
                    </a:cubicBezTo>
                    <a:cubicBezTo>
                      <a:pt x="319" y="724"/>
                      <a:pt x="320" y="718"/>
                      <a:pt x="321" y="713"/>
                    </a:cubicBezTo>
                    <a:cubicBezTo>
                      <a:pt x="322" y="708"/>
                      <a:pt x="321" y="704"/>
                      <a:pt x="318" y="700"/>
                    </a:cubicBezTo>
                    <a:cubicBezTo>
                      <a:pt x="330" y="700"/>
                      <a:pt x="327" y="720"/>
                      <a:pt x="326" y="728"/>
                    </a:cubicBezTo>
                    <a:cubicBezTo>
                      <a:pt x="325" y="735"/>
                      <a:pt x="324" y="741"/>
                      <a:pt x="324" y="745"/>
                    </a:cubicBezTo>
                    <a:cubicBezTo>
                      <a:pt x="324" y="750"/>
                      <a:pt x="325" y="754"/>
                      <a:pt x="330" y="759"/>
                    </a:cubicBezTo>
                    <a:cubicBezTo>
                      <a:pt x="330" y="758"/>
                      <a:pt x="330" y="756"/>
                      <a:pt x="330" y="754"/>
                    </a:cubicBezTo>
                    <a:cubicBezTo>
                      <a:pt x="329" y="749"/>
                      <a:pt x="330" y="744"/>
                      <a:pt x="330" y="740"/>
                    </a:cubicBezTo>
                    <a:cubicBezTo>
                      <a:pt x="331" y="736"/>
                      <a:pt x="333" y="731"/>
                      <a:pt x="334" y="725"/>
                    </a:cubicBezTo>
                    <a:cubicBezTo>
                      <a:pt x="334" y="730"/>
                      <a:pt x="335" y="738"/>
                      <a:pt x="338" y="744"/>
                    </a:cubicBezTo>
                    <a:cubicBezTo>
                      <a:pt x="340" y="750"/>
                      <a:pt x="344" y="755"/>
                      <a:pt x="349" y="7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4" name="Freeform 71">
                <a:extLst>
                  <a:ext uri="{FF2B5EF4-FFF2-40B4-BE49-F238E27FC236}">
                    <a16:creationId xmlns:a16="http://schemas.microsoft.com/office/drawing/2014/main" id="{4AC9149E-97D6-07CE-70D4-EC5FD689F1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9851" y="3743980"/>
                <a:ext cx="1810" cy="1810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1 w 4"/>
                  <a:gd name="T5" fmla="*/ 2 h 2"/>
                  <a:gd name="T6" fmla="*/ 4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cubicBezTo>
                      <a:pt x="3" y="1"/>
                      <a:pt x="2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3" y="1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15" name="Line 72">
              <a:extLst>
                <a:ext uri="{FF2B5EF4-FFF2-40B4-BE49-F238E27FC236}">
                  <a16:creationId xmlns:a16="http://schemas.microsoft.com/office/drawing/2014/main" id="{234250B4-4ECD-3DC7-2DB7-C0ACCE30B05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228600" y="3438118"/>
              <a:ext cx="2880000" cy="0"/>
            </a:xfrm>
            <a:prstGeom prst="line">
              <a:avLst/>
            </a:prstGeom>
            <a:grp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868BD23-9AC6-2EA4-7E80-AE4071CB8F6A}"/>
                </a:ext>
              </a:extLst>
            </p:cNvPr>
            <p:cNvGrpSpPr/>
            <p:nvPr userDrawn="1"/>
          </p:nvGrpSpPr>
          <p:grpSpPr>
            <a:xfrm>
              <a:off x="230912" y="2150376"/>
              <a:ext cx="2904030" cy="1130935"/>
              <a:chOff x="230912" y="1828800"/>
              <a:chExt cx="2904030" cy="1130935"/>
            </a:xfrm>
            <a:grpFill/>
          </p:grpSpPr>
          <p:sp>
            <p:nvSpPr>
              <p:cNvPr id="117" name="Freeform 5">
                <a:extLst>
                  <a:ext uri="{FF2B5EF4-FFF2-40B4-BE49-F238E27FC236}">
                    <a16:creationId xmlns:a16="http://schemas.microsoft.com/office/drawing/2014/main" id="{710D7C26-FC26-F26E-2791-673B32C20D5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62437" y="2629387"/>
                <a:ext cx="333719" cy="330348"/>
              </a:xfrm>
              <a:custGeom>
                <a:avLst/>
                <a:gdLst>
                  <a:gd name="T0" fmla="*/ 864 w 870"/>
                  <a:gd name="T1" fmla="*/ 406 h 856"/>
                  <a:gd name="T2" fmla="*/ 435 w 870"/>
                  <a:gd name="T3" fmla="*/ 0 h 856"/>
                  <a:gd name="T4" fmla="*/ 0 w 870"/>
                  <a:gd name="T5" fmla="*/ 430 h 856"/>
                  <a:gd name="T6" fmla="*/ 432 w 870"/>
                  <a:gd name="T7" fmla="*/ 856 h 856"/>
                  <a:gd name="T8" fmla="*/ 735 w 870"/>
                  <a:gd name="T9" fmla="*/ 744 h 856"/>
                  <a:gd name="T10" fmla="*/ 864 w 870"/>
                  <a:gd name="T11" fmla="*/ 406 h 856"/>
                  <a:gd name="T12" fmla="*/ 665 w 870"/>
                  <a:gd name="T13" fmla="*/ 684 h 856"/>
                  <a:gd name="T14" fmla="*/ 434 w 870"/>
                  <a:gd name="T15" fmla="*/ 808 h 856"/>
                  <a:gd name="T16" fmla="*/ 148 w 870"/>
                  <a:gd name="T17" fmla="*/ 553 h 856"/>
                  <a:gd name="T18" fmla="*/ 136 w 870"/>
                  <a:gd name="T19" fmla="*/ 422 h 856"/>
                  <a:gd name="T20" fmla="*/ 304 w 870"/>
                  <a:gd name="T21" fmla="*/ 77 h 856"/>
                  <a:gd name="T22" fmla="*/ 431 w 870"/>
                  <a:gd name="T23" fmla="*/ 48 h 856"/>
                  <a:gd name="T24" fmla="*/ 655 w 870"/>
                  <a:gd name="T25" fmla="*/ 159 h 856"/>
                  <a:gd name="T26" fmla="*/ 727 w 870"/>
                  <a:gd name="T27" fmla="*/ 412 h 856"/>
                  <a:gd name="T28" fmla="*/ 665 w 870"/>
                  <a:gd name="T29" fmla="*/ 68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0" h="856">
                    <a:moveTo>
                      <a:pt x="864" y="406"/>
                    </a:moveTo>
                    <a:cubicBezTo>
                      <a:pt x="854" y="204"/>
                      <a:pt x="717" y="0"/>
                      <a:pt x="435" y="0"/>
                    </a:cubicBezTo>
                    <a:cubicBezTo>
                      <a:pt x="175" y="0"/>
                      <a:pt x="0" y="173"/>
                      <a:pt x="0" y="430"/>
                    </a:cubicBezTo>
                    <a:cubicBezTo>
                      <a:pt x="0" y="724"/>
                      <a:pt x="217" y="856"/>
                      <a:pt x="432" y="856"/>
                    </a:cubicBezTo>
                    <a:cubicBezTo>
                      <a:pt x="552" y="856"/>
                      <a:pt x="657" y="817"/>
                      <a:pt x="735" y="744"/>
                    </a:cubicBezTo>
                    <a:cubicBezTo>
                      <a:pt x="825" y="661"/>
                      <a:pt x="870" y="541"/>
                      <a:pt x="864" y="406"/>
                    </a:cubicBezTo>
                    <a:close/>
                    <a:moveTo>
                      <a:pt x="665" y="684"/>
                    </a:moveTo>
                    <a:cubicBezTo>
                      <a:pt x="590" y="796"/>
                      <a:pt x="478" y="808"/>
                      <a:pt x="434" y="808"/>
                    </a:cubicBezTo>
                    <a:cubicBezTo>
                      <a:pt x="395" y="808"/>
                      <a:pt x="199" y="796"/>
                      <a:pt x="148" y="553"/>
                    </a:cubicBezTo>
                    <a:cubicBezTo>
                      <a:pt x="140" y="514"/>
                      <a:pt x="136" y="471"/>
                      <a:pt x="136" y="422"/>
                    </a:cubicBezTo>
                    <a:cubicBezTo>
                      <a:pt x="136" y="249"/>
                      <a:pt x="193" y="133"/>
                      <a:pt x="304" y="77"/>
                    </a:cubicBezTo>
                    <a:cubicBezTo>
                      <a:pt x="341" y="58"/>
                      <a:pt x="386" y="48"/>
                      <a:pt x="431" y="48"/>
                    </a:cubicBezTo>
                    <a:cubicBezTo>
                      <a:pt x="546" y="48"/>
                      <a:pt x="617" y="109"/>
                      <a:pt x="655" y="159"/>
                    </a:cubicBezTo>
                    <a:cubicBezTo>
                      <a:pt x="717" y="243"/>
                      <a:pt x="726" y="344"/>
                      <a:pt x="727" y="412"/>
                    </a:cubicBezTo>
                    <a:cubicBezTo>
                      <a:pt x="729" y="526"/>
                      <a:pt x="708" y="617"/>
                      <a:pt x="665" y="6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6">
                <a:extLst>
                  <a:ext uri="{FF2B5EF4-FFF2-40B4-BE49-F238E27FC236}">
                    <a16:creationId xmlns:a16="http://schemas.microsoft.com/office/drawing/2014/main" id="{538F93D2-D74F-0A2D-003A-0A4A737A3E5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97293" y="2632758"/>
                <a:ext cx="237649" cy="321921"/>
              </a:xfrm>
              <a:custGeom>
                <a:avLst/>
                <a:gdLst>
                  <a:gd name="T0" fmla="*/ 0 w 619"/>
                  <a:gd name="T1" fmla="*/ 839 h 839"/>
                  <a:gd name="T2" fmla="*/ 0 w 619"/>
                  <a:gd name="T3" fmla="*/ 0 h 839"/>
                  <a:gd name="T4" fmla="*/ 239 w 619"/>
                  <a:gd name="T5" fmla="*/ 0 h 839"/>
                  <a:gd name="T6" fmla="*/ 619 w 619"/>
                  <a:gd name="T7" fmla="*/ 230 h 839"/>
                  <a:gd name="T8" fmla="*/ 243 w 619"/>
                  <a:gd name="T9" fmla="*/ 461 h 839"/>
                  <a:gd name="T10" fmla="*/ 122 w 619"/>
                  <a:gd name="T11" fmla="*/ 461 h 839"/>
                  <a:gd name="T12" fmla="*/ 122 w 619"/>
                  <a:gd name="T13" fmla="*/ 839 h 839"/>
                  <a:gd name="T14" fmla="*/ 0 w 619"/>
                  <a:gd name="T15" fmla="*/ 839 h 839"/>
                  <a:gd name="T16" fmla="*/ 227 w 619"/>
                  <a:gd name="T17" fmla="*/ 40 h 839"/>
                  <a:gd name="T18" fmla="*/ 122 w 619"/>
                  <a:gd name="T19" fmla="*/ 49 h 839"/>
                  <a:gd name="T20" fmla="*/ 122 w 619"/>
                  <a:gd name="T21" fmla="*/ 412 h 839"/>
                  <a:gd name="T22" fmla="*/ 218 w 619"/>
                  <a:gd name="T23" fmla="*/ 412 h 839"/>
                  <a:gd name="T24" fmla="*/ 487 w 619"/>
                  <a:gd name="T25" fmla="*/ 231 h 839"/>
                  <a:gd name="T26" fmla="*/ 227 w 619"/>
                  <a:gd name="T27" fmla="*/ 4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9" h="839">
                    <a:moveTo>
                      <a:pt x="0" y="839"/>
                    </a:moveTo>
                    <a:lnTo>
                      <a:pt x="0" y="0"/>
                    </a:lnTo>
                    <a:lnTo>
                      <a:pt x="239" y="0"/>
                    </a:lnTo>
                    <a:cubicBezTo>
                      <a:pt x="494" y="0"/>
                      <a:pt x="619" y="76"/>
                      <a:pt x="619" y="230"/>
                    </a:cubicBezTo>
                    <a:cubicBezTo>
                      <a:pt x="619" y="446"/>
                      <a:pt x="356" y="461"/>
                      <a:pt x="243" y="461"/>
                    </a:cubicBezTo>
                    <a:lnTo>
                      <a:pt x="122" y="461"/>
                    </a:lnTo>
                    <a:lnTo>
                      <a:pt x="122" y="839"/>
                    </a:lnTo>
                    <a:lnTo>
                      <a:pt x="0" y="839"/>
                    </a:lnTo>
                    <a:close/>
                    <a:moveTo>
                      <a:pt x="227" y="40"/>
                    </a:moveTo>
                    <a:cubicBezTo>
                      <a:pt x="165" y="40"/>
                      <a:pt x="122" y="49"/>
                      <a:pt x="122" y="49"/>
                    </a:cubicBezTo>
                    <a:lnTo>
                      <a:pt x="122" y="412"/>
                    </a:lnTo>
                    <a:lnTo>
                      <a:pt x="218" y="412"/>
                    </a:lnTo>
                    <a:cubicBezTo>
                      <a:pt x="397" y="412"/>
                      <a:pt x="487" y="368"/>
                      <a:pt x="487" y="231"/>
                    </a:cubicBezTo>
                    <a:cubicBezTo>
                      <a:pt x="487" y="140"/>
                      <a:pt x="442" y="40"/>
                      <a:pt x="227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7">
                <a:extLst>
                  <a:ext uri="{FF2B5EF4-FFF2-40B4-BE49-F238E27FC236}">
                    <a16:creationId xmlns:a16="http://schemas.microsoft.com/office/drawing/2014/main" id="{A01F8BB3-B00E-2B3B-89D7-262C85C8E1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70316" y="2632758"/>
                <a:ext cx="242705" cy="326977"/>
              </a:xfrm>
              <a:custGeom>
                <a:avLst/>
                <a:gdLst>
                  <a:gd name="T0" fmla="*/ 336 w 631"/>
                  <a:gd name="T1" fmla="*/ 848 h 848"/>
                  <a:gd name="T2" fmla="*/ 29 w 631"/>
                  <a:gd name="T3" fmla="*/ 729 h 848"/>
                  <a:gd name="T4" fmla="*/ 0 w 631"/>
                  <a:gd name="T5" fmla="*/ 593 h 848"/>
                  <a:gd name="T6" fmla="*/ 0 w 631"/>
                  <a:gd name="T7" fmla="*/ 0 h 848"/>
                  <a:gd name="T8" fmla="*/ 122 w 631"/>
                  <a:gd name="T9" fmla="*/ 0 h 848"/>
                  <a:gd name="T10" fmla="*/ 122 w 631"/>
                  <a:gd name="T11" fmla="*/ 588 h 848"/>
                  <a:gd name="T12" fmla="*/ 336 w 631"/>
                  <a:gd name="T13" fmla="*/ 800 h 848"/>
                  <a:gd name="T14" fmla="*/ 545 w 631"/>
                  <a:gd name="T15" fmla="*/ 601 h 848"/>
                  <a:gd name="T16" fmla="*/ 545 w 631"/>
                  <a:gd name="T17" fmla="*/ 0 h 848"/>
                  <a:gd name="T18" fmla="*/ 631 w 631"/>
                  <a:gd name="T19" fmla="*/ 0 h 848"/>
                  <a:gd name="T20" fmla="*/ 631 w 631"/>
                  <a:gd name="T21" fmla="*/ 609 h 848"/>
                  <a:gd name="T22" fmla="*/ 604 w 631"/>
                  <a:gd name="T23" fmla="*/ 726 h 848"/>
                  <a:gd name="T24" fmla="*/ 336 w 631"/>
                  <a:gd name="T25" fmla="*/ 848 h 8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1" h="848">
                    <a:moveTo>
                      <a:pt x="336" y="848"/>
                    </a:moveTo>
                    <a:cubicBezTo>
                      <a:pt x="236" y="848"/>
                      <a:pt x="88" y="835"/>
                      <a:pt x="29" y="729"/>
                    </a:cubicBezTo>
                    <a:cubicBezTo>
                      <a:pt x="11" y="697"/>
                      <a:pt x="0" y="651"/>
                      <a:pt x="0" y="593"/>
                    </a:cubicBezTo>
                    <a:lnTo>
                      <a:pt x="0" y="0"/>
                    </a:lnTo>
                    <a:lnTo>
                      <a:pt x="122" y="0"/>
                    </a:lnTo>
                    <a:lnTo>
                      <a:pt x="122" y="588"/>
                    </a:lnTo>
                    <a:cubicBezTo>
                      <a:pt x="123" y="641"/>
                      <a:pt x="128" y="800"/>
                      <a:pt x="336" y="800"/>
                    </a:cubicBezTo>
                    <a:cubicBezTo>
                      <a:pt x="399" y="800"/>
                      <a:pt x="545" y="780"/>
                      <a:pt x="545" y="601"/>
                    </a:cubicBezTo>
                    <a:lnTo>
                      <a:pt x="545" y="0"/>
                    </a:lnTo>
                    <a:lnTo>
                      <a:pt x="631" y="0"/>
                    </a:lnTo>
                    <a:lnTo>
                      <a:pt x="631" y="609"/>
                    </a:lnTo>
                    <a:cubicBezTo>
                      <a:pt x="629" y="645"/>
                      <a:pt x="628" y="686"/>
                      <a:pt x="604" y="726"/>
                    </a:cubicBezTo>
                    <a:cubicBezTo>
                      <a:pt x="579" y="771"/>
                      <a:pt x="529" y="848"/>
                      <a:pt x="336" y="8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8">
                <a:extLst>
                  <a:ext uri="{FF2B5EF4-FFF2-40B4-BE49-F238E27FC236}">
                    <a16:creationId xmlns:a16="http://schemas.microsoft.com/office/drawing/2014/main" id="{5F1544A6-66A1-10BB-0575-4A8183369B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83200" y="2629387"/>
                <a:ext cx="294954" cy="330348"/>
              </a:xfrm>
              <a:custGeom>
                <a:avLst/>
                <a:gdLst>
                  <a:gd name="T0" fmla="*/ 457 w 767"/>
                  <a:gd name="T1" fmla="*/ 856 h 856"/>
                  <a:gd name="T2" fmla="*/ 0 w 767"/>
                  <a:gd name="T3" fmla="*/ 428 h 856"/>
                  <a:gd name="T4" fmla="*/ 443 w 767"/>
                  <a:gd name="T5" fmla="*/ 0 h 856"/>
                  <a:gd name="T6" fmla="*/ 767 w 767"/>
                  <a:gd name="T7" fmla="*/ 156 h 856"/>
                  <a:gd name="T8" fmla="*/ 717 w 767"/>
                  <a:gd name="T9" fmla="*/ 208 h 856"/>
                  <a:gd name="T10" fmla="*/ 651 w 767"/>
                  <a:gd name="T11" fmla="*/ 163 h 856"/>
                  <a:gd name="T12" fmla="*/ 441 w 767"/>
                  <a:gd name="T13" fmla="*/ 48 h 856"/>
                  <a:gd name="T14" fmla="*/ 142 w 767"/>
                  <a:gd name="T15" fmla="*/ 407 h 856"/>
                  <a:gd name="T16" fmla="*/ 471 w 767"/>
                  <a:gd name="T17" fmla="*/ 808 h 856"/>
                  <a:gd name="T18" fmla="*/ 600 w 767"/>
                  <a:gd name="T19" fmla="*/ 779 h 856"/>
                  <a:gd name="T20" fmla="*/ 650 w 767"/>
                  <a:gd name="T21" fmla="*/ 668 h 856"/>
                  <a:gd name="T22" fmla="*/ 650 w 767"/>
                  <a:gd name="T23" fmla="*/ 469 h 856"/>
                  <a:gd name="T24" fmla="*/ 543 w 767"/>
                  <a:gd name="T25" fmla="*/ 469 h 856"/>
                  <a:gd name="T26" fmla="*/ 585 w 767"/>
                  <a:gd name="T27" fmla="*/ 420 h 856"/>
                  <a:gd name="T28" fmla="*/ 766 w 767"/>
                  <a:gd name="T29" fmla="*/ 420 h 856"/>
                  <a:gd name="T30" fmla="*/ 766 w 767"/>
                  <a:gd name="T31" fmla="*/ 746 h 856"/>
                  <a:gd name="T32" fmla="*/ 721 w 767"/>
                  <a:gd name="T33" fmla="*/ 788 h 856"/>
                  <a:gd name="T34" fmla="*/ 457 w 767"/>
                  <a:gd name="T35" fmla="*/ 856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67" h="856">
                    <a:moveTo>
                      <a:pt x="457" y="856"/>
                    </a:moveTo>
                    <a:cubicBezTo>
                      <a:pt x="33" y="856"/>
                      <a:pt x="0" y="529"/>
                      <a:pt x="0" y="428"/>
                    </a:cubicBezTo>
                    <a:cubicBezTo>
                      <a:pt x="0" y="172"/>
                      <a:pt x="178" y="0"/>
                      <a:pt x="443" y="0"/>
                    </a:cubicBezTo>
                    <a:cubicBezTo>
                      <a:pt x="671" y="0"/>
                      <a:pt x="767" y="112"/>
                      <a:pt x="767" y="156"/>
                    </a:cubicBezTo>
                    <a:cubicBezTo>
                      <a:pt x="767" y="182"/>
                      <a:pt x="741" y="208"/>
                      <a:pt x="717" y="208"/>
                    </a:cubicBezTo>
                    <a:cubicBezTo>
                      <a:pt x="686" y="208"/>
                      <a:pt x="673" y="193"/>
                      <a:pt x="651" y="163"/>
                    </a:cubicBezTo>
                    <a:cubicBezTo>
                      <a:pt x="619" y="120"/>
                      <a:pt x="565" y="48"/>
                      <a:pt x="441" y="48"/>
                    </a:cubicBezTo>
                    <a:cubicBezTo>
                      <a:pt x="259" y="48"/>
                      <a:pt x="142" y="182"/>
                      <a:pt x="142" y="407"/>
                    </a:cubicBezTo>
                    <a:cubicBezTo>
                      <a:pt x="142" y="654"/>
                      <a:pt x="268" y="808"/>
                      <a:pt x="471" y="808"/>
                    </a:cubicBezTo>
                    <a:cubicBezTo>
                      <a:pt x="521" y="808"/>
                      <a:pt x="569" y="797"/>
                      <a:pt x="600" y="779"/>
                    </a:cubicBezTo>
                    <a:cubicBezTo>
                      <a:pt x="650" y="748"/>
                      <a:pt x="650" y="706"/>
                      <a:pt x="650" y="668"/>
                    </a:cubicBezTo>
                    <a:lnTo>
                      <a:pt x="650" y="469"/>
                    </a:lnTo>
                    <a:lnTo>
                      <a:pt x="543" y="469"/>
                    </a:lnTo>
                    <a:lnTo>
                      <a:pt x="585" y="420"/>
                    </a:lnTo>
                    <a:lnTo>
                      <a:pt x="766" y="420"/>
                    </a:lnTo>
                    <a:lnTo>
                      <a:pt x="766" y="746"/>
                    </a:lnTo>
                    <a:cubicBezTo>
                      <a:pt x="756" y="759"/>
                      <a:pt x="741" y="773"/>
                      <a:pt x="721" y="788"/>
                    </a:cubicBezTo>
                    <a:cubicBezTo>
                      <a:pt x="682" y="817"/>
                      <a:pt x="613" y="856"/>
                      <a:pt x="457" y="8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9">
                <a:extLst>
                  <a:ext uri="{FF2B5EF4-FFF2-40B4-BE49-F238E27FC236}">
                    <a16:creationId xmlns:a16="http://schemas.microsoft.com/office/drawing/2014/main" id="{535441DB-04F2-E539-E4A6-E441D25468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70854" y="2632758"/>
                <a:ext cx="247762" cy="321921"/>
              </a:xfrm>
              <a:custGeom>
                <a:avLst/>
                <a:gdLst>
                  <a:gd name="T0" fmla="*/ 646 w 646"/>
                  <a:gd name="T1" fmla="*/ 839 h 839"/>
                  <a:gd name="T2" fmla="*/ 358 w 646"/>
                  <a:gd name="T3" fmla="*/ 451 h 839"/>
                  <a:gd name="T4" fmla="*/ 410 w 646"/>
                  <a:gd name="T5" fmla="*/ 440 h 839"/>
                  <a:gd name="T6" fmla="*/ 601 w 646"/>
                  <a:gd name="T7" fmla="*/ 230 h 839"/>
                  <a:gd name="T8" fmla="*/ 514 w 646"/>
                  <a:gd name="T9" fmla="*/ 58 h 839"/>
                  <a:gd name="T10" fmla="*/ 231 w 646"/>
                  <a:gd name="T11" fmla="*/ 0 h 839"/>
                  <a:gd name="T12" fmla="*/ 0 w 646"/>
                  <a:gd name="T13" fmla="*/ 0 h 839"/>
                  <a:gd name="T14" fmla="*/ 0 w 646"/>
                  <a:gd name="T15" fmla="*/ 839 h 839"/>
                  <a:gd name="T16" fmla="*/ 121 w 646"/>
                  <a:gd name="T17" fmla="*/ 839 h 839"/>
                  <a:gd name="T18" fmla="*/ 121 w 646"/>
                  <a:gd name="T19" fmla="*/ 527 h 839"/>
                  <a:gd name="T20" fmla="*/ 196 w 646"/>
                  <a:gd name="T21" fmla="*/ 461 h 839"/>
                  <a:gd name="T22" fmla="*/ 279 w 646"/>
                  <a:gd name="T23" fmla="*/ 508 h 839"/>
                  <a:gd name="T24" fmla="*/ 513 w 646"/>
                  <a:gd name="T25" fmla="*/ 839 h 839"/>
                  <a:gd name="T26" fmla="*/ 646 w 646"/>
                  <a:gd name="T27" fmla="*/ 839 h 839"/>
                  <a:gd name="T28" fmla="*/ 258 w 646"/>
                  <a:gd name="T29" fmla="*/ 410 h 839"/>
                  <a:gd name="T30" fmla="*/ 210 w 646"/>
                  <a:gd name="T31" fmla="*/ 412 h 839"/>
                  <a:gd name="T32" fmla="*/ 121 w 646"/>
                  <a:gd name="T33" fmla="*/ 412 h 839"/>
                  <a:gd name="T34" fmla="*/ 121 w 646"/>
                  <a:gd name="T35" fmla="*/ 49 h 839"/>
                  <a:gd name="T36" fmla="*/ 224 w 646"/>
                  <a:gd name="T37" fmla="*/ 40 h 839"/>
                  <a:gd name="T38" fmla="*/ 469 w 646"/>
                  <a:gd name="T39" fmla="*/ 234 h 839"/>
                  <a:gd name="T40" fmla="*/ 258 w 646"/>
                  <a:gd name="T41" fmla="*/ 41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6" h="839">
                    <a:moveTo>
                      <a:pt x="646" y="839"/>
                    </a:moveTo>
                    <a:lnTo>
                      <a:pt x="358" y="451"/>
                    </a:lnTo>
                    <a:cubicBezTo>
                      <a:pt x="358" y="451"/>
                      <a:pt x="398" y="443"/>
                      <a:pt x="410" y="440"/>
                    </a:cubicBezTo>
                    <a:cubicBezTo>
                      <a:pt x="458" y="427"/>
                      <a:pt x="601" y="390"/>
                      <a:pt x="601" y="230"/>
                    </a:cubicBezTo>
                    <a:cubicBezTo>
                      <a:pt x="601" y="153"/>
                      <a:pt x="566" y="94"/>
                      <a:pt x="514" y="58"/>
                    </a:cubicBezTo>
                    <a:cubicBezTo>
                      <a:pt x="440" y="8"/>
                      <a:pt x="330" y="0"/>
                      <a:pt x="231" y="0"/>
                    </a:cubicBezTo>
                    <a:lnTo>
                      <a:pt x="0" y="0"/>
                    </a:lnTo>
                    <a:lnTo>
                      <a:pt x="0" y="839"/>
                    </a:lnTo>
                    <a:lnTo>
                      <a:pt x="121" y="839"/>
                    </a:lnTo>
                    <a:lnTo>
                      <a:pt x="121" y="527"/>
                    </a:lnTo>
                    <a:cubicBezTo>
                      <a:pt x="121" y="474"/>
                      <a:pt x="153" y="461"/>
                      <a:pt x="196" y="461"/>
                    </a:cubicBezTo>
                    <a:cubicBezTo>
                      <a:pt x="220" y="461"/>
                      <a:pt x="254" y="469"/>
                      <a:pt x="279" y="508"/>
                    </a:cubicBezTo>
                    <a:lnTo>
                      <a:pt x="513" y="839"/>
                    </a:lnTo>
                    <a:lnTo>
                      <a:pt x="646" y="839"/>
                    </a:lnTo>
                    <a:close/>
                    <a:moveTo>
                      <a:pt x="258" y="410"/>
                    </a:moveTo>
                    <a:cubicBezTo>
                      <a:pt x="242" y="412"/>
                      <a:pt x="229" y="412"/>
                      <a:pt x="210" y="412"/>
                    </a:cubicBezTo>
                    <a:lnTo>
                      <a:pt x="121" y="412"/>
                    </a:lnTo>
                    <a:lnTo>
                      <a:pt x="121" y="49"/>
                    </a:lnTo>
                    <a:cubicBezTo>
                      <a:pt x="121" y="49"/>
                      <a:pt x="163" y="40"/>
                      <a:pt x="224" y="40"/>
                    </a:cubicBezTo>
                    <a:cubicBezTo>
                      <a:pt x="387" y="40"/>
                      <a:pt x="469" y="110"/>
                      <a:pt x="469" y="234"/>
                    </a:cubicBezTo>
                    <a:cubicBezTo>
                      <a:pt x="469" y="359"/>
                      <a:pt x="390" y="397"/>
                      <a:pt x="258" y="4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0">
                <a:extLst>
                  <a:ext uri="{FF2B5EF4-FFF2-40B4-BE49-F238E27FC236}">
                    <a16:creationId xmlns:a16="http://schemas.microsoft.com/office/drawing/2014/main" id="{2E365AA1-706B-61C6-8C29-4C980A28A1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8330" y="1828800"/>
                <a:ext cx="1324763" cy="571367"/>
              </a:xfrm>
              <a:custGeom>
                <a:avLst/>
                <a:gdLst>
                  <a:gd name="T0" fmla="*/ 3369 w 3451"/>
                  <a:gd name="T1" fmla="*/ 1140 h 1483"/>
                  <a:gd name="T2" fmla="*/ 3309 w 3451"/>
                  <a:gd name="T3" fmla="*/ 1133 h 1483"/>
                  <a:gd name="T4" fmla="*/ 3226 w 3451"/>
                  <a:gd name="T5" fmla="*/ 1142 h 1483"/>
                  <a:gd name="T6" fmla="*/ 3249 w 3451"/>
                  <a:gd name="T7" fmla="*/ 1310 h 1483"/>
                  <a:gd name="T8" fmla="*/ 2720 w 3451"/>
                  <a:gd name="T9" fmla="*/ 1296 h 1483"/>
                  <a:gd name="T10" fmla="*/ 1915 w 3451"/>
                  <a:gd name="T11" fmla="*/ 339 h 1483"/>
                  <a:gd name="T12" fmla="*/ 920 w 3451"/>
                  <a:gd name="T13" fmla="*/ 132 h 1483"/>
                  <a:gd name="T14" fmla="*/ 629 w 3451"/>
                  <a:gd name="T15" fmla="*/ 1140 h 1483"/>
                  <a:gd name="T16" fmla="*/ 477 w 3451"/>
                  <a:gd name="T17" fmla="*/ 602 h 1483"/>
                  <a:gd name="T18" fmla="*/ 432 w 3451"/>
                  <a:gd name="T19" fmla="*/ 614 h 1483"/>
                  <a:gd name="T20" fmla="*/ 1 w 3451"/>
                  <a:gd name="T21" fmla="*/ 502 h 1483"/>
                  <a:gd name="T22" fmla="*/ 1 w 3451"/>
                  <a:gd name="T23" fmla="*/ 508 h 1483"/>
                  <a:gd name="T24" fmla="*/ 318 w 3451"/>
                  <a:gd name="T25" fmla="*/ 709 h 1483"/>
                  <a:gd name="T26" fmla="*/ 783 w 3451"/>
                  <a:gd name="T27" fmla="*/ 1225 h 1483"/>
                  <a:gd name="T28" fmla="*/ 721 w 3451"/>
                  <a:gd name="T29" fmla="*/ 716 h 1483"/>
                  <a:gd name="T30" fmla="*/ 1302 w 3451"/>
                  <a:gd name="T31" fmla="*/ 155 h 1483"/>
                  <a:gd name="T32" fmla="*/ 2060 w 3451"/>
                  <a:gd name="T33" fmla="*/ 739 h 1483"/>
                  <a:gd name="T34" fmla="*/ 2831 w 3451"/>
                  <a:gd name="T35" fmla="*/ 1417 h 1483"/>
                  <a:gd name="T36" fmla="*/ 3332 w 3451"/>
                  <a:gd name="T37" fmla="*/ 1403 h 1483"/>
                  <a:gd name="T38" fmla="*/ 3369 w 3451"/>
                  <a:gd name="T39" fmla="*/ 1140 h 1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451" h="1483">
                    <a:moveTo>
                      <a:pt x="3369" y="1140"/>
                    </a:moveTo>
                    <a:cubicBezTo>
                      <a:pt x="3355" y="1137"/>
                      <a:pt x="3325" y="1134"/>
                      <a:pt x="3309" y="1133"/>
                    </a:cubicBezTo>
                    <a:cubicBezTo>
                      <a:pt x="3280" y="1132"/>
                      <a:pt x="3252" y="1136"/>
                      <a:pt x="3226" y="1142"/>
                    </a:cubicBezTo>
                    <a:cubicBezTo>
                      <a:pt x="3279" y="1188"/>
                      <a:pt x="3277" y="1256"/>
                      <a:pt x="3249" y="1310"/>
                    </a:cubicBezTo>
                    <a:cubicBezTo>
                      <a:pt x="3166" y="1476"/>
                      <a:pt x="2841" y="1377"/>
                      <a:pt x="2720" y="1296"/>
                    </a:cubicBezTo>
                    <a:cubicBezTo>
                      <a:pt x="2348" y="1048"/>
                      <a:pt x="2126" y="577"/>
                      <a:pt x="1915" y="339"/>
                    </a:cubicBezTo>
                    <a:cubicBezTo>
                      <a:pt x="1619" y="7"/>
                      <a:pt x="1185" y="0"/>
                      <a:pt x="920" y="132"/>
                    </a:cubicBezTo>
                    <a:cubicBezTo>
                      <a:pt x="590" y="296"/>
                      <a:pt x="509" y="754"/>
                      <a:pt x="629" y="1140"/>
                    </a:cubicBezTo>
                    <a:cubicBezTo>
                      <a:pt x="469" y="1092"/>
                      <a:pt x="401" y="783"/>
                      <a:pt x="477" y="602"/>
                    </a:cubicBezTo>
                    <a:cubicBezTo>
                      <a:pt x="463" y="606"/>
                      <a:pt x="448" y="610"/>
                      <a:pt x="432" y="614"/>
                    </a:cubicBezTo>
                    <a:cubicBezTo>
                      <a:pt x="262" y="653"/>
                      <a:pt x="95" y="605"/>
                      <a:pt x="1" y="502"/>
                    </a:cubicBezTo>
                    <a:cubicBezTo>
                      <a:pt x="0" y="504"/>
                      <a:pt x="0" y="506"/>
                      <a:pt x="1" y="508"/>
                    </a:cubicBezTo>
                    <a:cubicBezTo>
                      <a:pt x="54" y="629"/>
                      <a:pt x="163" y="706"/>
                      <a:pt x="318" y="709"/>
                    </a:cubicBezTo>
                    <a:cubicBezTo>
                      <a:pt x="308" y="1119"/>
                      <a:pt x="539" y="1245"/>
                      <a:pt x="783" y="1225"/>
                    </a:cubicBezTo>
                    <a:cubicBezTo>
                      <a:pt x="716" y="1100"/>
                      <a:pt x="698" y="880"/>
                      <a:pt x="721" y="716"/>
                    </a:cubicBezTo>
                    <a:cubicBezTo>
                      <a:pt x="743" y="563"/>
                      <a:pt x="878" y="167"/>
                      <a:pt x="1302" y="155"/>
                    </a:cubicBezTo>
                    <a:cubicBezTo>
                      <a:pt x="1710" y="143"/>
                      <a:pt x="1863" y="492"/>
                      <a:pt x="2060" y="739"/>
                    </a:cubicBezTo>
                    <a:cubicBezTo>
                      <a:pt x="2230" y="952"/>
                      <a:pt x="2501" y="1307"/>
                      <a:pt x="2831" y="1417"/>
                    </a:cubicBezTo>
                    <a:cubicBezTo>
                      <a:pt x="2984" y="1468"/>
                      <a:pt x="3195" y="1483"/>
                      <a:pt x="3332" y="1403"/>
                    </a:cubicBezTo>
                    <a:cubicBezTo>
                      <a:pt x="3417" y="1354"/>
                      <a:pt x="3451" y="1217"/>
                      <a:pt x="3369" y="11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1">
                <a:extLst>
                  <a:ext uri="{FF2B5EF4-FFF2-40B4-BE49-F238E27FC236}">
                    <a16:creationId xmlns:a16="http://schemas.microsoft.com/office/drawing/2014/main" id="{7AF94B6A-CDD1-EC11-3693-357572F6C6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8688" y="2273758"/>
                <a:ext cx="524175" cy="291583"/>
              </a:xfrm>
              <a:custGeom>
                <a:avLst/>
                <a:gdLst>
                  <a:gd name="T0" fmla="*/ 1257 w 1369"/>
                  <a:gd name="T1" fmla="*/ 706 h 756"/>
                  <a:gd name="T2" fmla="*/ 1001 w 1369"/>
                  <a:gd name="T3" fmla="*/ 535 h 756"/>
                  <a:gd name="T4" fmla="*/ 912 w 1369"/>
                  <a:gd name="T5" fmla="*/ 292 h 756"/>
                  <a:gd name="T6" fmla="*/ 915 w 1369"/>
                  <a:gd name="T7" fmla="*/ 255 h 756"/>
                  <a:gd name="T8" fmla="*/ 848 w 1369"/>
                  <a:gd name="T9" fmla="*/ 248 h 756"/>
                  <a:gd name="T10" fmla="*/ 764 w 1369"/>
                  <a:gd name="T11" fmla="*/ 257 h 756"/>
                  <a:gd name="T12" fmla="*/ 420 w 1369"/>
                  <a:gd name="T13" fmla="*/ 354 h 756"/>
                  <a:gd name="T14" fmla="*/ 134 w 1369"/>
                  <a:gd name="T15" fmla="*/ 21 h 756"/>
                  <a:gd name="T16" fmla="*/ 115 w 1369"/>
                  <a:gd name="T17" fmla="*/ 0 h 756"/>
                  <a:gd name="T18" fmla="*/ 0 w 1369"/>
                  <a:gd name="T19" fmla="*/ 38 h 756"/>
                  <a:gd name="T20" fmla="*/ 84 w 1369"/>
                  <a:gd name="T21" fmla="*/ 169 h 756"/>
                  <a:gd name="T22" fmla="*/ 380 w 1369"/>
                  <a:gd name="T23" fmla="*/ 391 h 756"/>
                  <a:gd name="T24" fmla="*/ 768 w 1369"/>
                  <a:gd name="T25" fmla="*/ 359 h 756"/>
                  <a:gd name="T26" fmla="*/ 876 w 1369"/>
                  <a:gd name="T27" fmla="*/ 567 h 756"/>
                  <a:gd name="T28" fmla="*/ 1158 w 1369"/>
                  <a:gd name="T29" fmla="*/ 732 h 756"/>
                  <a:gd name="T30" fmla="*/ 1369 w 1369"/>
                  <a:gd name="T31" fmla="*/ 735 h 756"/>
                  <a:gd name="T32" fmla="*/ 1257 w 1369"/>
                  <a:gd name="T33" fmla="*/ 706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69" h="756">
                    <a:moveTo>
                      <a:pt x="1257" y="706"/>
                    </a:moveTo>
                    <a:cubicBezTo>
                      <a:pt x="1149" y="670"/>
                      <a:pt x="1061" y="610"/>
                      <a:pt x="1001" y="535"/>
                    </a:cubicBezTo>
                    <a:cubicBezTo>
                      <a:pt x="944" y="465"/>
                      <a:pt x="911" y="375"/>
                      <a:pt x="912" y="292"/>
                    </a:cubicBezTo>
                    <a:cubicBezTo>
                      <a:pt x="912" y="279"/>
                      <a:pt x="915" y="255"/>
                      <a:pt x="915" y="255"/>
                    </a:cubicBezTo>
                    <a:cubicBezTo>
                      <a:pt x="915" y="255"/>
                      <a:pt x="883" y="248"/>
                      <a:pt x="848" y="248"/>
                    </a:cubicBezTo>
                    <a:cubicBezTo>
                      <a:pt x="791" y="248"/>
                      <a:pt x="764" y="257"/>
                      <a:pt x="764" y="257"/>
                    </a:cubicBezTo>
                    <a:cubicBezTo>
                      <a:pt x="764" y="257"/>
                      <a:pt x="631" y="406"/>
                      <a:pt x="420" y="354"/>
                    </a:cubicBezTo>
                    <a:cubicBezTo>
                      <a:pt x="219" y="304"/>
                      <a:pt x="225" y="126"/>
                      <a:pt x="134" y="21"/>
                    </a:cubicBezTo>
                    <a:cubicBezTo>
                      <a:pt x="128" y="13"/>
                      <a:pt x="122" y="7"/>
                      <a:pt x="115" y="0"/>
                    </a:cubicBezTo>
                    <a:lnTo>
                      <a:pt x="0" y="38"/>
                    </a:lnTo>
                    <a:cubicBezTo>
                      <a:pt x="28" y="69"/>
                      <a:pt x="57" y="111"/>
                      <a:pt x="84" y="169"/>
                    </a:cubicBezTo>
                    <a:cubicBezTo>
                      <a:pt x="123" y="256"/>
                      <a:pt x="214" y="355"/>
                      <a:pt x="380" y="391"/>
                    </a:cubicBezTo>
                    <a:cubicBezTo>
                      <a:pt x="503" y="418"/>
                      <a:pt x="639" y="411"/>
                      <a:pt x="768" y="359"/>
                    </a:cubicBezTo>
                    <a:cubicBezTo>
                      <a:pt x="782" y="433"/>
                      <a:pt x="820" y="506"/>
                      <a:pt x="876" y="567"/>
                    </a:cubicBezTo>
                    <a:cubicBezTo>
                      <a:pt x="942" y="639"/>
                      <a:pt x="1048" y="699"/>
                      <a:pt x="1158" y="732"/>
                    </a:cubicBezTo>
                    <a:cubicBezTo>
                      <a:pt x="1239" y="756"/>
                      <a:pt x="1330" y="754"/>
                      <a:pt x="1369" y="735"/>
                    </a:cubicBezTo>
                    <a:cubicBezTo>
                      <a:pt x="1331" y="728"/>
                      <a:pt x="1293" y="718"/>
                      <a:pt x="1257" y="7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2">
                <a:extLst>
                  <a:ext uri="{FF2B5EF4-FFF2-40B4-BE49-F238E27FC236}">
                    <a16:creationId xmlns:a16="http://schemas.microsoft.com/office/drawing/2014/main" id="{D1504049-4F71-2FB5-F9A5-E7CB3BB2AF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678" y="2074875"/>
                <a:ext cx="372485" cy="353944"/>
              </a:xfrm>
              <a:custGeom>
                <a:avLst/>
                <a:gdLst>
                  <a:gd name="T0" fmla="*/ 714 w 973"/>
                  <a:gd name="T1" fmla="*/ 43 h 919"/>
                  <a:gd name="T2" fmla="*/ 246 w 973"/>
                  <a:gd name="T3" fmla="*/ 151 h 919"/>
                  <a:gd name="T4" fmla="*/ 208 w 973"/>
                  <a:gd name="T5" fmla="*/ 877 h 919"/>
                  <a:gd name="T6" fmla="*/ 240 w 973"/>
                  <a:gd name="T7" fmla="*/ 912 h 919"/>
                  <a:gd name="T8" fmla="*/ 314 w 973"/>
                  <a:gd name="T9" fmla="*/ 912 h 919"/>
                  <a:gd name="T10" fmla="*/ 396 w 973"/>
                  <a:gd name="T11" fmla="*/ 879 h 919"/>
                  <a:gd name="T12" fmla="*/ 209 w 973"/>
                  <a:gd name="T13" fmla="*/ 575 h 919"/>
                  <a:gd name="T14" fmla="*/ 688 w 973"/>
                  <a:gd name="T15" fmla="*/ 98 h 919"/>
                  <a:gd name="T16" fmla="*/ 772 w 973"/>
                  <a:gd name="T17" fmla="*/ 320 h 919"/>
                  <a:gd name="T18" fmla="*/ 578 w 973"/>
                  <a:gd name="T19" fmla="*/ 371 h 919"/>
                  <a:gd name="T20" fmla="*/ 683 w 973"/>
                  <a:gd name="T21" fmla="*/ 473 h 919"/>
                  <a:gd name="T22" fmla="*/ 898 w 973"/>
                  <a:gd name="T23" fmla="*/ 348 h 919"/>
                  <a:gd name="T24" fmla="*/ 714 w 973"/>
                  <a:gd name="T25" fmla="*/ 43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73" h="919">
                    <a:moveTo>
                      <a:pt x="714" y="43"/>
                    </a:moveTo>
                    <a:cubicBezTo>
                      <a:pt x="514" y="0"/>
                      <a:pt x="346" y="70"/>
                      <a:pt x="246" y="151"/>
                    </a:cubicBezTo>
                    <a:cubicBezTo>
                      <a:pt x="0" y="348"/>
                      <a:pt x="25" y="659"/>
                      <a:pt x="208" y="877"/>
                    </a:cubicBezTo>
                    <a:cubicBezTo>
                      <a:pt x="218" y="889"/>
                      <a:pt x="240" y="912"/>
                      <a:pt x="240" y="912"/>
                    </a:cubicBezTo>
                    <a:cubicBezTo>
                      <a:pt x="240" y="912"/>
                      <a:pt x="266" y="919"/>
                      <a:pt x="314" y="912"/>
                    </a:cubicBezTo>
                    <a:cubicBezTo>
                      <a:pt x="348" y="907"/>
                      <a:pt x="396" y="879"/>
                      <a:pt x="396" y="879"/>
                    </a:cubicBezTo>
                    <a:cubicBezTo>
                      <a:pt x="396" y="879"/>
                      <a:pt x="245" y="761"/>
                      <a:pt x="209" y="575"/>
                    </a:cubicBezTo>
                    <a:cubicBezTo>
                      <a:pt x="145" y="243"/>
                      <a:pt x="437" y="52"/>
                      <a:pt x="688" y="98"/>
                    </a:cubicBezTo>
                    <a:cubicBezTo>
                      <a:pt x="831" y="124"/>
                      <a:pt x="842" y="257"/>
                      <a:pt x="772" y="320"/>
                    </a:cubicBezTo>
                    <a:cubicBezTo>
                      <a:pt x="708" y="377"/>
                      <a:pt x="622" y="376"/>
                      <a:pt x="578" y="371"/>
                    </a:cubicBezTo>
                    <a:cubicBezTo>
                      <a:pt x="616" y="392"/>
                      <a:pt x="653" y="427"/>
                      <a:pt x="683" y="473"/>
                    </a:cubicBezTo>
                    <a:cubicBezTo>
                      <a:pt x="683" y="473"/>
                      <a:pt x="819" y="458"/>
                      <a:pt x="898" y="348"/>
                    </a:cubicBezTo>
                    <a:cubicBezTo>
                      <a:pt x="973" y="245"/>
                      <a:pt x="913" y="86"/>
                      <a:pt x="71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0CAF858-3CA7-9454-1A14-9DC8C3C554F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89912" y="2632758"/>
                <a:ext cx="64047" cy="3219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4">
                <a:extLst>
                  <a:ext uri="{FF2B5EF4-FFF2-40B4-BE49-F238E27FC236}">
                    <a16:creationId xmlns:a16="http://schemas.microsoft.com/office/drawing/2014/main" id="{9633F193-F5B4-706B-C659-386F513E4D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4313" y="2632758"/>
                <a:ext cx="215738" cy="321921"/>
              </a:xfrm>
              <a:custGeom>
                <a:avLst/>
                <a:gdLst>
                  <a:gd name="T0" fmla="*/ 0 w 562"/>
                  <a:gd name="T1" fmla="*/ 839 h 839"/>
                  <a:gd name="T2" fmla="*/ 0 w 562"/>
                  <a:gd name="T3" fmla="*/ 0 h 839"/>
                  <a:gd name="T4" fmla="*/ 164 w 562"/>
                  <a:gd name="T5" fmla="*/ 0 h 839"/>
                  <a:gd name="T6" fmla="*/ 164 w 562"/>
                  <a:gd name="T7" fmla="*/ 756 h 839"/>
                  <a:gd name="T8" fmla="*/ 485 w 562"/>
                  <a:gd name="T9" fmla="*/ 756 h 839"/>
                  <a:gd name="T10" fmla="*/ 562 w 562"/>
                  <a:gd name="T11" fmla="*/ 839 h 839"/>
                  <a:gd name="T12" fmla="*/ 0 w 562"/>
                  <a:gd name="T13" fmla="*/ 839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2" h="839">
                    <a:moveTo>
                      <a:pt x="0" y="839"/>
                    </a:moveTo>
                    <a:lnTo>
                      <a:pt x="0" y="0"/>
                    </a:lnTo>
                    <a:lnTo>
                      <a:pt x="164" y="0"/>
                    </a:lnTo>
                    <a:lnTo>
                      <a:pt x="164" y="756"/>
                    </a:lnTo>
                    <a:lnTo>
                      <a:pt x="485" y="756"/>
                    </a:lnTo>
                    <a:lnTo>
                      <a:pt x="562" y="839"/>
                    </a:lnTo>
                    <a:lnTo>
                      <a:pt x="0" y="8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5">
                <a:extLst>
                  <a:ext uri="{FF2B5EF4-FFF2-40B4-BE49-F238E27FC236}">
                    <a16:creationId xmlns:a16="http://schemas.microsoft.com/office/drawing/2014/main" id="{FE808231-49D5-D802-D675-C6746713E4F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30912" y="2629387"/>
                <a:ext cx="267987" cy="330348"/>
              </a:xfrm>
              <a:custGeom>
                <a:avLst/>
                <a:gdLst>
                  <a:gd name="T0" fmla="*/ 0 w 698"/>
                  <a:gd name="T1" fmla="*/ 856 h 856"/>
                  <a:gd name="T2" fmla="*/ 0 w 698"/>
                  <a:gd name="T3" fmla="*/ 0 h 856"/>
                  <a:gd name="T4" fmla="*/ 250 w 698"/>
                  <a:gd name="T5" fmla="*/ 0 h 856"/>
                  <a:gd name="T6" fmla="*/ 537 w 698"/>
                  <a:gd name="T7" fmla="*/ 45 h 856"/>
                  <a:gd name="T8" fmla="*/ 641 w 698"/>
                  <a:gd name="T9" fmla="*/ 197 h 856"/>
                  <a:gd name="T10" fmla="*/ 488 w 698"/>
                  <a:gd name="T11" fmla="*/ 379 h 856"/>
                  <a:gd name="T12" fmla="*/ 443 w 698"/>
                  <a:gd name="T13" fmla="*/ 394 h 856"/>
                  <a:gd name="T14" fmla="*/ 501 w 698"/>
                  <a:gd name="T15" fmla="*/ 414 h 856"/>
                  <a:gd name="T16" fmla="*/ 698 w 698"/>
                  <a:gd name="T17" fmla="*/ 630 h 856"/>
                  <a:gd name="T18" fmla="*/ 541 w 698"/>
                  <a:gd name="T19" fmla="*/ 822 h 856"/>
                  <a:gd name="T20" fmla="*/ 250 w 698"/>
                  <a:gd name="T21" fmla="*/ 856 h 856"/>
                  <a:gd name="T22" fmla="*/ 0 w 698"/>
                  <a:gd name="T23" fmla="*/ 856 h 856"/>
                  <a:gd name="T24" fmla="*/ 161 w 698"/>
                  <a:gd name="T25" fmla="*/ 712 h 856"/>
                  <a:gd name="T26" fmla="*/ 177 w 698"/>
                  <a:gd name="T27" fmla="*/ 763 h 856"/>
                  <a:gd name="T28" fmla="*/ 277 w 698"/>
                  <a:gd name="T29" fmla="*/ 785 h 856"/>
                  <a:gd name="T30" fmla="*/ 528 w 698"/>
                  <a:gd name="T31" fmla="*/ 619 h 856"/>
                  <a:gd name="T32" fmla="*/ 267 w 698"/>
                  <a:gd name="T33" fmla="*/ 435 h 856"/>
                  <a:gd name="T34" fmla="*/ 251 w 698"/>
                  <a:gd name="T35" fmla="*/ 435 h 856"/>
                  <a:gd name="T36" fmla="*/ 161 w 698"/>
                  <a:gd name="T37" fmla="*/ 435 h 856"/>
                  <a:gd name="T38" fmla="*/ 161 w 698"/>
                  <a:gd name="T39" fmla="*/ 712 h 856"/>
                  <a:gd name="T40" fmla="*/ 296 w 698"/>
                  <a:gd name="T41" fmla="*/ 374 h 856"/>
                  <a:gd name="T42" fmla="*/ 479 w 698"/>
                  <a:gd name="T43" fmla="*/ 222 h 856"/>
                  <a:gd name="T44" fmla="*/ 260 w 698"/>
                  <a:gd name="T45" fmla="*/ 65 h 856"/>
                  <a:gd name="T46" fmla="*/ 177 w 698"/>
                  <a:gd name="T47" fmla="*/ 70 h 856"/>
                  <a:gd name="T48" fmla="*/ 161 w 698"/>
                  <a:gd name="T49" fmla="*/ 72 h 856"/>
                  <a:gd name="T50" fmla="*/ 161 w 698"/>
                  <a:gd name="T51" fmla="*/ 374 h 856"/>
                  <a:gd name="T52" fmla="*/ 296 w 698"/>
                  <a:gd name="T53" fmla="*/ 37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8" h="856">
                    <a:moveTo>
                      <a:pt x="0" y="856"/>
                    </a:moveTo>
                    <a:lnTo>
                      <a:pt x="0" y="0"/>
                    </a:lnTo>
                    <a:lnTo>
                      <a:pt x="250" y="0"/>
                    </a:lnTo>
                    <a:cubicBezTo>
                      <a:pt x="342" y="0"/>
                      <a:pt x="457" y="5"/>
                      <a:pt x="537" y="45"/>
                    </a:cubicBezTo>
                    <a:cubicBezTo>
                      <a:pt x="605" y="80"/>
                      <a:pt x="641" y="132"/>
                      <a:pt x="641" y="197"/>
                    </a:cubicBezTo>
                    <a:cubicBezTo>
                      <a:pt x="641" y="289"/>
                      <a:pt x="562" y="352"/>
                      <a:pt x="488" y="379"/>
                    </a:cubicBezTo>
                    <a:cubicBezTo>
                      <a:pt x="468" y="386"/>
                      <a:pt x="454" y="391"/>
                      <a:pt x="443" y="394"/>
                    </a:cubicBezTo>
                    <a:cubicBezTo>
                      <a:pt x="459" y="399"/>
                      <a:pt x="481" y="406"/>
                      <a:pt x="501" y="414"/>
                    </a:cubicBezTo>
                    <a:cubicBezTo>
                      <a:pt x="673" y="480"/>
                      <a:pt x="698" y="578"/>
                      <a:pt x="698" y="630"/>
                    </a:cubicBezTo>
                    <a:cubicBezTo>
                      <a:pt x="698" y="740"/>
                      <a:pt x="612" y="795"/>
                      <a:pt x="541" y="822"/>
                    </a:cubicBezTo>
                    <a:cubicBezTo>
                      <a:pt x="471" y="845"/>
                      <a:pt x="381" y="856"/>
                      <a:pt x="250" y="856"/>
                    </a:cubicBezTo>
                    <a:lnTo>
                      <a:pt x="0" y="856"/>
                    </a:lnTo>
                    <a:close/>
                    <a:moveTo>
                      <a:pt x="161" y="712"/>
                    </a:moveTo>
                    <a:cubicBezTo>
                      <a:pt x="161" y="728"/>
                      <a:pt x="160" y="748"/>
                      <a:pt x="177" y="763"/>
                    </a:cubicBezTo>
                    <a:cubicBezTo>
                      <a:pt x="194" y="779"/>
                      <a:pt x="225" y="785"/>
                      <a:pt x="277" y="785"/>
                    </a:cubicBezTo>
                    <a:cubicBezTo>
                      <a:pt x="439" y="785"/>
                      <a:pt x="528" y="726"/>
                      <a:pt x="528" y="619"/>
                    </a:cubicBezTo>
                    <a:cubicBezTo>
                      <a:pt x="528" y="505"/>
                      <a:pt x="440" y="443"/>
                      <a:pt x="267" y="435"/>
                    </a:cubicBezTo>
                    <a:cubicBezTo>
                      <a:pt x="266" y="435"/>
                      <a:pt x="252" y="435"/>
                      <a:pt x="251" y="435"/>
                    </a:cubicBezTo>
                    <a:lnTo>
                      <a:pt x="161" y="435"/>
                    </a:lnTo>
                    <a:lnTo>
                      <a:pt x="161" y="712"/>
                    </a:lnTo>
                    <a:close/>
                    <a:moveTo>
                      <a:pt x="296" y="374"/>
                    </a:moveTo>
                    <a:cubicBezTo>
                      <a:pt x="425" y="374"/>
                      <a:pt x="479" y="265"/>
                      <a:pt x="479" y="222"/>
                    </a:cubicBezTo>
                    <a:cubicBezTo>
                      <a:pt x="479" y="122"/>
                      <a:pt x="399" y="65"/>
                      <a:pt x="260" y="65"/>
                    </a:cubicBezTo>
                    <a:cubicBezTo>
                      <a:pt x="228" y="65"/>
                      <a:pt x="209" y="67"/>
                      <a:pt x="177" y="70"/>
                    </a:cubicBezTo>
                    <a:lnTo>
                      <a:pt x="161" y="72"/>
                    </a:lnTo>
                    <a:lnTo>
                      <a:pt x="161" y="374"/>
                    </a:lnTo>
                    <a:lnTo>
                      <a:pt x="296" y="3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6">
                <a:extLst>
                  <a:ext uri="{FF2B5EF4-FFF2-40B4-BE49-F238E27FC236}">
                    <a16:creationId xmlns:a16="http://schemas.microsoft.com/office/drawing/2014/main" id="{122A07AC-2CFD-E538-2F27-207CBAAC35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5086" y="2632758"/>
                <a:ext cx="276414" cy="321921"/>
              </a:xfrm>
              <a:custGeom>
                <a:avLst/>
                <a:gdLst>
                  <a:gd name="T0" fmla="*/ 558 w 723"/>
                  <a:gd name="T1" fmla="*/ 0 h 839"/>
                  <a:gd name="T2" fmla="*/ 558 w 723"/>
                  <a:gd name="T3" fmla="*/ 364 h 839"/>
                  <a:gd name="T4" fmla="*/ 165 w 723"/>
                  <a:gd name="T5" fmla="*/ 364 h 839"/>
                  <a:gd name="T6" fmla="*/ 165 w 723"/>
                  <a:gd name="T7" fmla="*/ 0 h 839"/>
                  <a:gd name="T8" fmla="*/ 0 w 723"/>
                  <a:gd name="T9" fmla="*/ 0 h 839"/>
                  <a:gd name="T10" fmla="*/ 0 w 723"/>
                  <a:gd name="T11" fmla="*/ 839 h 839"/>
                  <a:gd name="T12" fmla="*/ 165 w 723"/>
                  <a:gd name="T13" fmla="*/ 839 h 839"/>
                  <a:gd name="T14" fmla="*/ 165 w 723"/>
                  <a:gd name="T15" fmla="*/ 480 h 839"/>
                  <a:gd name="T16" fmla="*/ 212 w 723"/>
                  <a:gd name="T17" fmla="*/ 442 h 839"/>
                  <a:gd name="T18" fmla="*/ 512 w 723"/>
                  <a:gd name="T19" fmla="*/ 442 h 839"/>
                  <a:gd name="T20" fmla="*/ 558 w 723"/>
                  <a:gd name="T21" fmla="*/ 480 h 839"/>
                  <a:gd name="T22" fmla="*/ 558 w 723"/>
                  <a:gd name="T23" fmla="*/ 839 h 839"/>
                  <a:gd name="T24" fmla="*/ 723 w 723"/>
                  <a:gd name="T25" fmla="*/ 839 h 839"/>
                  <a:gd name="T26" fmla="*/ 723 w 723"/>
                  <a:gd name="T27" fmla="*/ 0 h 839"/>
                  <a:gd name="T28" fmla="*/ 558 w 723"/>
                  <a:gd name="T29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23" h="839">
                    <a:moveTo>
                      <a:pt x="558" y="0"/>
                    </a:moveTo>
                    <a:lnTo>
                      <a:pt x="558" y="364"/>
                    </a:lnTo>
                    <a:lnTo>
                      <a:pt x="165" y="364"/>
                    </a:lnTo>
                    <a:lnTo>
                      <a:pt x="165" y="0"/>
                    </a:lnTo>
                    <a:lnTo>
                      <a:pt x="0" y="0"/>
                    </a:lnTo>
                    <a:lnTo>
                      <a:pt x="0" y="839"/>
                    </a:lnTo>
                    <a:lnTo>
                      <a:pt x="165" y="839"/>
                    </a:lnTo>
                    <a:lnTo>
                      <a:pt x="165" y="480"/>
                    </a:lnTo>
                    <a:cubicBezTo>
                      <a:pt x="165" y="454"/>
                      <a:pt x="189" y="442"/>
                      <a:pt x="212" y="442"/>
                    </a:cubicBezTo>
                    <a:lnTo>
                      <a:pt x="512" y="442"/>
                    </a:lnTo>
                    <a:cubicBezTo>
                      <a:pt x="535" y="442"/>
                      <a:pt x="558" y="454"/>
                      <a:pt x="558" y="480"/>
                    </a:cubicBezTo>
                    <a:lnTo>
                      <a:pt x="558" y="839"/>
                    </a:lnTo>
                    <a:lnTo>
                      <a:pt x="723" y="839"/>
                    </a:lnTo>
                    <a:lnTo>
                      <a:pt x="723" y="0"/>
                    </a:lnTo>
                    <a:lnTo>
                      <a:pt x="55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" name="Freeform 5">
            <a:extLst>
              <a:ext uri="{FF2B5EF4-FFF2-40B4-BE49-F238E27FC236}">
                <a16:creationId xmlns:a16="http://schemas.microsoft.com/office/drawing/2014/main" id="{9B424AE5-20D1-C23C-FA06-0B4F9AB7BF55}"/>
              </a:ext>
            </a:extLst>
          </p:cNvPr>
          <p:cNvSpPr>
            <a:spLocks/>
          </p:cNvSpPr>
          <p:nvPr userDrawn="1"/>
        </p:nvSpPr>
        <p:spPr bwMode="auto">
          <a:xfrm>
            <a:off x="8465424" y="3761118"/>
            <a:ext cx="3426887" cy="3118424"/>
          </a:xfrm>
          <a:custGeom>
            <a:avLst/>
            <a:gdLst>
              <a:gd name="T0" fmla="*/ 4908 w 6691"/>
              <a:gd name="T1" fmla="*/ 302 h 6084"/>
              <a:gd name="T2" fmla="*/ 1681 w 6691"/>
              <a:gd name="T3" fmla="*/ 1052 h 6084"/>
              <a:gd name="T4" fmla="*/ 1408 w 6691"/>
              <a:gd name="T5" fmla="*/ 6084 h 6084"/>
              <a:gd name="T6" fmla="*/ 2679 w 6691"/>
              <a:gd name="T7" fmla="*/ 6084 h 6084"/>
              <a:gd name="T8" fmla="*/ 1431 w 6691"/>
              <a:gd name="T9" fmla="*/ 3999 h 6084"/>
              <a:gd name="T10" fmla="*/ 4730 w 6691"/>
              <a:gd name="T11" fmla="*/ 681 h 6084"/>
              <a:gd name="T12" fmla="*/ 5305 w 6691"/>
              <a:gd name="T13" fmla="*/ 2229 h 6084"/>
              <a:gd name="T14" fmla="*/ 3973 w 6691"/>
              <a:gd name="T15" fmla="*/ 2582 h 6084"/>
              <a:gd name="T16" fmla="*/ 4696 w 6691"/>
              <a:gd name="T17" fmla="*/ 3292 h 6084"/>
              <a:gd name="T18" fmla="*/ 6178 w 6691"/>
              <a:gd name="T19" fmla="*/ 2423 h 6084"/>
              <a:gd name="T20" fmla="*/ 4908 w 6691"/>
              <a:gd name="T21" fmla="*/ 302 h 60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691" h="6084">
                <a:moveTo>
                  <a:pt x="4908" y="302"/>
                </a:moveTo>
                <a:cubicBezTo>
                  <a:pt x="3533" y="0"/>
                  <a:pt x="2373" y="491"/>
                  <a:pt x="1681" y="1052"/>
                </a:cubicBezTo>
                <a:cubicBezTo>
                  <a:pt x="0" y="2417"/>
                  <a:pt x="160" y="4568"/>
                  <a:pt x="1408" y="6084"/>
                </a:cubicBezTo>
                <a:lnTo>
                  <a:pt x="2679" y="6084"/>
                </a:lnTo>
                <a:cubicBezTo>
                  <a:pt x="2492" y="5924"/>
                  <a:pt x="1650" y="5149"/>
                  <a:pt x="1431" y="3999"/>
                </a:cubicBezTo>
                <a:cubicBezTo>
                  <a:pt x="992" y="1696"/>
                  <a:pt x="3000" y="364"/>
                  <a:pt x="4730" y="681"/>
                </a:cubicBezTo>
                <a:cubicBezTo>
                  <a:pt x="5717" y="863"/>
                  <a:pt x="5792" y="1792"/>
                  <a:pt x="5305" y="2229"/>
                </a:cubicBezTo>
                <a:cubicBezTo>
                  <a:pt x="4864" y="2622"/>
                  <a:pt x="4274" y="2617"/>
                  <a:pt x="3973" y="2582"/>
                </a:cubicBezTo>
                <a:cubicBezTo>
                  <a:pt x="4233" y="2731"/>
                  <a:pt x="4490" y="2975"/>
                  <a:pt x="4696" y="3292"/>
                </a:cubicBezTo>
                <a:cubicBezTo>
                  <a:pt x="4696" y="3292"/>
                  <a:pt x="5631" y="3187"/>
                  <a:pt x="6178" y="2423"/>
                </a:cubicBezTo>
                <a:cubicBezTo>
                  <a:pt x="6691" y="1709"/>
                  <a:pt x="6281" y="603"/>
                  <a:pt x="4908" y="302"/>
                </a:cubicBezTo>
                <a:close/>
              </a:path>
            </a:pathLst>
          </a:custGeom>
          <a:solidFill>
            <a:srgbClr val="FFFFFF">
              <a:alpha val="2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1D97F90-D731-04CB-1364-29ED7CF06AC5}"/>
              </a:ext>
            </a:extLst>
          </p:cNvPr>
          <p:cNvSpPr/>
          <p:nvPr userDrawn="1"/>
        </p:nvSpPr>
        <p:spPr>
          <a:xfrm>
            <a:off x="5438046" y="1667036"/>
            <a:ext cx="6758424" cy="4188081"/>
          </a:xfrm>
          <a:custGeom>
            <a:avLst/>
            <a:gdLst>
              <a:gd name="connsiteX0" fmla="*/ 4490995 w 6758424"/>
              <a:gd name="connsiteY0" fmla="*/ 28 h 4188081"/>
              <a:gd name="connsiteX1" fmla="*/ 6752477 w 6758424"/>
              <a:gd name="connsiteY1" fmla="*/ 1022678 h 4188081"/>
              <a:gd name="connsiteX2" fmla="*/ 6758424 w 6758424"/>
              <a:gd name="connsiteY2" fmla="*/ 1029798 h 4188081"/>
              <a:gd name="connsiteX3" fmla="*/ 6758424 w 6758424"/>
              <a:gd name="connsiteY3" fmla="*/ 1746844 h 4188081"/>
              <a:gd name="connsiteX4" fmla="*/ 6757245 w 6758424"/>
              <a:gd name="connsiteY4" fmla="*/ 1745177 h 4188081"/>
              <a:gd name="connsiteX5" fmla="*/ 4592127 w 6758424"/>
              <a:gd name="connsiteY5" fmla="*/ 367058 h 4188081"/>
              <a:gd name="connsiteX6" fmla="*/ 2543406 w 6758424"/>
              <a:gd name="connsiteY6" fmla="*/ 2367751 h 4188081"/>
              <a:gd name="connsiteX7" fmla="*/ 2761028 w 6758424"/>
              <a:gd name="connsiteY7" fmla="*/ 4180831 h 4188081"/>
              <a:gd name="connsiteX8" fmla="*/ 1119900 w 6758424"/>
              <a:gd name="connsiteY8" fmla="*/ 2341095 h 4188081"/>
              <a:gd name="connsiteX9" fmla="*/ 3114 w 6758424"/>
              <a:gd name="connsiteY9" fmla="*/ 1623963 h 4188081"/>
              <a:gd name="connsiteX10" fmla="*/ 1065 w 6758424"/>
              <a:gd name="connsiteY10" fmla="*/ 1603458 h 4188081"/>
              <a:gd name="connsiteX11" fmla="*/ 1523909 w 6758424"/>
              <a:gd name="connsiteY11" fmla="*/ 2003289 h 4188081"/>
              <a:gd name="connsiteX12" fmla="*/ 1682134 w 6758424"/>
              <a:gd name="connsiteY12" fmla="*/ 1959205 h 4188081"/>
              <a:gd name="connsiteX13" fmla="*/ 2217740 w 6758424"/>
              <a:gd name="connsiteY13" fmla="*/ 3877882 h 4188081"/>
              <a:gd name="connsiteX14" fmla="*/ 3245430 w 6758424"/>
              <a:gd name="connsiteY14" fmla="*/ 284016 h 4188081"/>
              <a:gd name="connsiteX15" fmla="*/ 4490995 w 6758424"/>
              <a:gd name="connsiteY15" fmla="*/ 28 h 4188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758424" h="4188081">
                <a:moveTo>
                  <a:pt x="4490995" y="28"/>
                </a:moveTo>
                <a:cubicBezTo>
                  <a:pt x="5259124" y="-3210"/>
                  <a:pt x="6101210" y="283567"/>
                  <a:pt x="6752477" y="1022678"/>
                </a:cubicBezTo>
                <a:lnTo>
                  <a:pt x="6758424" y="1029798"/>
                </a:lnTo>
                <a:lnTo>
                  <a:pt x="6758424" y="1746844"/>
                </a:lnTo>
                <a:lnTo>
                  <a:pt x="6757245" y="1745177"/>
                </a:lnTo>
                <a:cubicBezTo>
                  <a:pt x="6244361" y="1026587"/>
                  <a:pt x="5671278" y="335533"/>
                  <a:pt x="4592127" y="367058"/>
                </a:cubicBezTo>
                <a:cubicBezTo>
                  <a:pt x="3096935" y="410117"/>
                  <a:pt x="2618678" y="1820802"/>
                  <a:pt x="2543406" y="2367751"/>
                </a:cubicBezTo>
                <a:cubicBezTo>
                  <a:pt x="2462502" y="2953144"/>
                  <a:pt x="2524972" y="3734352"/>
                  <a:pt x="2761028" y="4180831"/>
                </a:cubicBezTo>
                <a:cubicBezTo>
                  <a:pt x="1899756" y="4252595"/>
                  <a:pt x="1085080" y="3802529"/>
                  <a:pt x="1119900" y="2341095"/>
                </a:cubicBezTo>
                <a:cubicBezTo>
                  <a:pt x="573540" y="2329818"/>
                  <a:pt x="190525" y="2056600"/>
                  <a:pt x="3114" y="1623963"/>
                </a:cubicBezTo>
                <a:cubicBezTo>
                  <a:pt x="41" y="1616786"/>
                  <a:pt x="-983" y="1610122"/>
                  <a:pt x="1065" y="1603458"/>
                </a:cubicBezTo>
                <a:cubicBezTo>
                  <a:pt x="335436" y="1969970"/>
                  <a:pt x="923784" y="2142718"/>
                  <a:pt x="1523909" y="2003289"/>
                </a:cubicBezTo>
                <a:cubicBezTo>
                  <a:pt x="1578187" y="1990474"/>
                  <a:pt x="1630928" y="1975609"/>
                  <a:pt x="1682134" y="1959205"/>
                </a:cubicBezTo>
                <a:cubicBezTo>
                  <a:pt x="1412282" y="2605599"/>
                  <a:pt x="1653971" y="3708722"/>
                  <a:pt x="2217740" y="3877882"/>
                </a:cubicBezTo>
                <a:cubicBezTo>
                  <a:pt x="1794273" y="2504103"/>
                  <a:pt x="2078974" y="869410"/>
                  <a:pt x="3245430" y="284016"/>
                </a:cubicBezTo>
                <a:cubicBezTo>
                  <a:pt x="3595866" y="108321"/>
                  <a:pt x="4030118" y="1972"/>
                  <a:pt x="4490995" y="28"/>
                </a:cubicBezTo>
                <a:close/>
              </a:path>
            </a:pathLst>
          </a:custGeom>
          <a:solidFill>
            <a:srgbClr val="FFFFFF">
              <a:alpha val="2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389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6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31426AC-A3DC-D9BA-F844-DAD83447DDC5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9010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136" userDrawn="1">
          <p15:clr>
            <a:srgbClr val="FBAE40"/>
          </p15:clr>
        </p15:guide>
        <p15:guide id="4" pos="1276" userDrawn="1">
          <p15:clr>
            <a:srgbClr val="FBAE40"/>
          </p15:clr>
        </p15:guide>
        <p15:guide id="5" pos="1389" userDrawn="1">
          <p15:clr>
            <a:srgbClr val="FBAE40"/>
          </p15:clr>
        </p15:guide>
        <p15:guide id="6" pos="2529" userDrawn="1">
          <p15:clr>
            <a:srgbClr val="FBAE40"/>
          </p15:clr>
        </p15:guide>
        <p15:guide id="7" pos="2643" userDrawn="1">
          <p15:clr>
            <a:srgbClr val="FBAE40"/>
          </p15:clr>
        </p15:guide>
        <p15:guide id="8" pos="3783" userDrawn="1">
          <p15:clr>
            <a:srgbClr val="FBAE40"/>
          </p15:clr>
        </p15:guide>
        <p15:guide id="9" pos="3896" userDrawn="1">
          <p15:clr>
            <a:srgbClr val="FBAE40"/>
          </p15:clr>
        </p15:guide>
        <p15:guide id="10" pos="5036" userDrawn="1">
          <p15:clr>
            <a:srgbClr val="FBAE40"/>
          </p15:clr>
        </p15:guide>
        <p15:guide id="11" pos="5150" userDrawn="1">
          <p15:clr>
            <a:srgbClr val="FBAE40"/>
          </p15:clr>
        </p15:guide>
        <p15:guide id="12" pos="6290" userDrawn="1">
          <p15:clr>
            <a:srgbClr val="FBAE40"/>
          </p15:clr>
        </p15:guide>
        <p15:guide id="13" pos="6403" userDrawn="1">
          <p15:clr>
            <a:srgbClr val="FBAE40"/>
          </p15:clr>
        </p15:guide>
        <p15:guide id="14" pos="7543" userDrawn="1">
          <p15:clr>
            <a:srgbClr val="FBAE40"/>
          </p15:clr>
        </p15:guide>
        <p15:guide id="15" orient="horz" userDrawn="1">
          <p15:clr>
            <a:srgbClr val="FBAE40"/>
          </p15:clr>
        </p15:guide>
        <p15:guide id="16" orient="horz" pos="4320" userDrawn="1">
          <p15:clr>
            <a:srgbClr val="FBAE40"/>
          </p15:clr>
        </p15:guide>
        <p15:guide id="17" orient="horz" pos="861" userDrawn="1">
          <p15:clr>
            <a:srgbClr val="FBAE40"/>
          </p15:clr>
        </p15:guide>
        <p15:guide id="18" orient="horz" pos="1394" userDrawn="1">
          <p15:clr>
            <a:srgbClr val="FBAE40"/>
          </p15:clr>
        </p15:guide>
        <p15:guide id="19" orient="horz" pos="1508" userDrawn="1">
          <p15:clr>
            <a:srgbClr val="FBAE40"/>
          </p15:clr>
        </p15:guide>
        <p15:guide id="20" orient="horz" pos="2040" userDrawn="1">
          <p15:clr>
            <a:srgbClr val="FBAE40"/>
          </p15:clr>
        </p15:guide>
        <p15:guide id="21" orient="horz" pos="2154" userDrawn="1">
          <p15:clr>
            <a:srgbClr val="FBAE40"/>
          </p15:clr>
        </p15:guide>
        <p15:guide id="22" orient="horz" pos="2687" userDrawn="1">
          <p15:clr>
            <a:srgbClr val="FBAE40"/>
          </p15:clr>
        </p15:guide>
        <p15:guide id="23" orient="horz" pos="2800" userDrawn="1">
          <p15:clr>
            <a:srgbClr val="FBAE40"/>
          </p15:clr>
        </p15:guide>
        <p15:guide id="24" orient="horz" pos="3333" userDrawn="1">
          <p15:clr>
            <a:srgbClr val="FBAE40"/>
          </p15:clr>
        </p15:guide>
        <p15:guide id="25" orient="horz" pos="3446" userDrawn="1">
          <p15:clr>
            <a:srgbClr val="FBAE40"/>
          </p15:clr>
        </p15:guide>
        <p15:guide id="26" orient="horz" pos="3979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lang="en-GB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E2848E-4773-BA91-A33F-AC4208D722DD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8146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9ABD27-F935-6AAB-39FC-3A2F1EE42676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0521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786396-EF1B-2B69-84D2-87FFC0689903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E24983-65DE-686E-5FE2-3F6D66705A72}"/>
              </a:ext>
            </a:extLst>
          </p:cNvPr>
          <p:cNvSpPr/>
          <p:nvPr userDrawn="1"/>
        </p:nvSpPr>
        <p:spPr>
          <a:xfrm>
            <a:off x="6096000" y="1313468"/>
            <a:ext cx="6096000" cy="50873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5667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786396-EF1B-2B69-84D2-87FFC0689903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E24983-65DE-686E-5FE2-3F6D66705A72}"/>
              </a:ext>
            </a:extLst>
          </p:cNvPr>
          <p:cNvSpPr/>
          <p:nvPr userDrawn="1"/>
        </p:nvSpPr>
        <p:spPr>
          <a:xfrm>
            <a:off x="6096000" y="1313468"/>
            <a:ext cx="6096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7575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786396-EF1B-2B69-84D2-87FFC0689903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E24983-65DE-686E-5FE2-3F6D66705A72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56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786396-EF1B-2B69-84D2-87FFC0689903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E24983-65DE-686E-5FE2-3F6D66705A72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2318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5E3C6E-BE1E-0136-4664-1C1BA03C8F31}"/>
              </a:ext>
            </a:extLst>
          </p:cNvPr>
          <p:cNvSpPr/>
          <p:nvPr userDrawn="1"/>
        </p:nvSpPr>
        <p:spPr>
          <a:xfrm>
            <a:off x="0" y="3076574"/>
            <a:ext cx="12192000" cy="33064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5517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5E3C6E-BE1E-0136-4664-1C1BA03C8F31}"/>
              </a:ext>
            </a:extLst>
          </p:cNvPr>
          <p:cNvSpPr/>
          <p:nvPr userDrawn="1"/>
        </p:nvSpPr>
        <p:spPr>
          <a:xfrm>
            <a:off x="0" y="3076574"/>
            <a:ext cx="12192000" cy="33064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7515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4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1F6894D-DF7A-3CD2-6D2E-334CB85E2F7A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DD7F181F-F915-E7D3-CD14-575FB15523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9821" y="1376192"/>
            <a:ext cx="2813050" cy="1530203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180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20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07408689-AFBC-9B26-675B-520D22332D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198158" y="1376192"/>
            <a:ext cx="2813050" cy="1530203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180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20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0AC42064-35AB-E1AE-9933-602C21F9AD0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76495" y="1376192"/>
            <a:ext cx="2813050" cy="1530203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180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20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538ABE00-6209-E553-41FD-8AA2071EC8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54832" y="1376192"/>
            <a:ext cx="2813050" cy="1530203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180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20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6BDED2A3-8E37-CB54-9DD9-FA45A0F0BBF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19821" y="3076722"/>
            <a:ext cx="2813050" cy="1530203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180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20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808C4EEE-3E0F-393B-2B46-F9854FEE14D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98158" y="3076722"/>
            <a:ext cx="2813050" cy="1530203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180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20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69B64BA6-23D1-A67F-9A5A-FD38E7F224A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76495" y="3076722"/>
            <a:ext cx="2813050" cy="1530203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180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20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D2C8D672-4996-72D0-5E70-B02C1CB1045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154832" y="3076722"/>
            <a:ext cx="2813050" cy="1530203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180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20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3A8003CD-9635-4F18-5FD5-BC6FB8E8D0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19821" y="4777252"/>
            <a:ext cx="2813050" cy="1530203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180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20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387C4FB1-07B0-3F1B-2CAE-31484535A40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198158" y="4777252"/>
            <a:ext cx="2813050" cy="1530203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180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20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F1B34B35-FE4C-7A44-12FC-F548ECCE444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176495" y="4777252"/>
            <a:ext cx="2813050" cy="1530203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180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20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801E201D-EC9F-0508-1B28-9BD5C97EB5C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54832" y="4777252"/>
            <a:ext cx="2813050" cy="1530203"/>
          </a:xfrm>
          <a:custGeom>
            <a:avLst/>
            <a:gdLst>
              <a:gd name="connsiteX0" fmla="*/ 255039 w 2813050"/>
              <a:gd name="connsiteY0" fmla="*/ 0 h 1530203"/>
              <a:gd name="connsiteX1" fmla="*/ 1429497 w 2813050"/>
              <a:gd name="connsiteY1" fmla="*/ 0 h 1530203"/>
              <a:gd name="connsiteX2" fmla="*/ 2813050 w 2813050"/>
              <a:gd name="connsiteY2" fmla="*/ 0 h 1530203"/>
              <a:gd name="connsiteX3" fmla="*/ 2813050 w 2813050"/>
              <a:gd name="connsiteY3" fmla="*/ 255039 h 1530203"/>
              <a:gd name="connsiteX4" fmla="*/ 2813050 w 2813050"/>
              <a:gd name="connsiteY4" fmla="*/ 1275164 h 1530203"/>
              <a:gd name="connsiteX5" fmla="*/ 2813050 w 2813050"/>
              <a:gd name="connsiteY5" fmla="*/ 1530203 h 1530203"/>
              <a:gd name="connsiteX6" fmla="*/ 2558011 w 2813050"/>
              <a:gd name="connsiteY6" fmla="*/ 1530203 h 1530203"/>
              <a:gd name="connsiteX7" fmla="*/ 1429497 w 2813050"/>
              <a:gd name="connsiteY7" fmla="*/ 1530203 h 1530203"/>
              <a:gd name="connsiteX8" fmla="*/ 1383553 w 2813050"/>
              <a:gd name="connsiteY8" fmla="*/ 1530203 h 1530203"/>
              <a:gd name="connsiteX9" fmla="*/ 255039 w 2813050"/>
              <a:gd name="connsiteY9" fmla="*/ 1530203 h 1530203"/>
              <a:gd name="connsiteX10" fmla="*/ 0 w 2813050"/>
              <a:gd name="connsiteY10" fmla="*/ 1530203 h 1530203"/>
              <a:gd name="connsiteX11" fmla="*/ 0 w 2813050"/>
              <a:gd name="connsiteY11" fmla="*/ 1275164 h 1530203"/>
              <a:gd name="connsiteX12" fmla="*/ 0 w 2813050"/>
              <a:gd name="connsiteY12" fmla="*/ 866604 h 1530203"/>
              <a:gd name="connsiteX13" fmla="*/ 0 w 2813050"/>
              <a:gd name="connsiteY13" fmla="*/ 255039 h 1530203"/>
              <a:gd name="connsiteX14" fmla="*/ 255039 w 2813050"/>
              <a:gd name="connsiteY14" fmla="*/ 0 h 153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13050" h="1530203">
                <a:moveTo>
                  <a:pt x="255039" y="0"/>
                </a:moveTo>
                <a:lnTo>
                  <a:pt x="1429497" y="0"/>
                </a:lnTo>
                <a:lnTo>
                  <a:pt x="2813050" y="0"/>
                </a:lnTo>
                <a:lnTo>
                  <a:pt x="2813050" y="255039"/>
                </a:lnTo>
                <a:lnTo>
                  <a:pt x="2813050" y="1275164"/>
                </a:lnTo>
                <a:lnTo>
                  <a:pt x="2813050" y="1530203"/>
                </a:lnTo>
                <a:lnTo>
                  <a:pt x="2558011" y="1530203"/>
                </a:lnTo>
                <a:lnTo>
                  <a:pt x="1429497" y="1530203"/>
                </a:lnTo>
                <a:lnTo>
                  <a:pt x="1383553" y="1530203"/>
                </a:lnTo>
                <a:lnTo>
                  <a:pt x="255039" y="1530203"/>
                </a:lnTo>
                <a:lnTo>
                  <a:pt x="0" y="1530203"/>
                </a:lnTo>
                <a:lnTo>
                  <a:pt x="0" y="1275164"/>
                </a:lnTo>
                <a:lnTo>
                  <a:pt x="0" y="866604"/>
                </a:lnTo>
                <a:lnTo>
                  <a:pt x="0" y="255039"/>
                </a:lnTo>
                <a:cubicBezTo>
                  <a:pt x="0" y="114185"/>
                  <a:pt x="114185" y="0"/>
                  <a:pt x="255039" y="0"/>
                </a:cubicBezTo>
                <a:close/>
              </a:path>
            </a:pathLst>
          </a:custGeom>
          <a:solidFill>
            <a:srgbClr val="F0ECE7"/>
          </a:solidFill>
          <a:ln w="6350">
            <a:noFill/>
          </a:ln>
        </p:spPr>
        <p:txBody>
          <a:bodyPr wrap="square" tIns="180000">
            <a:noAutofit/>
          </a:bodyPr>
          <a:lstStyle>
            <a:lvl1pPr algn="ctr"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2000" b="1">
                <a:solidFill>
                  <a:schemeClr val="accent5">
                    <a:lumMod val="75000"/>
                  </a:schemeClr>
                </a:solidFill>
              </a:defRPr>
            </a:lvl2pPr>
            <a:lvl3pPr marL="0" indent="0" algn="ctr">
              <a:spcBef>
                <a:spcPts val="600"/>
              </a:spcBef>
              <a:spcAft>
                <a:spcPts val="6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DA0C345-610C-0191-3D5D-11A3AFF145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vert="horz" lIns="0" tIns="0" rIns="0" bIns="0" rtlCol="0" anchor="ctr">
            <a:noAutofit/>
          </a:bodyPr>
          <a:lstStyle>
            <a:lvl1pPr>
              <a:defRPr lang="en-GB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8259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96" userDrawn="1">
          <p15:clr>
            <a:srgbClr val="FBAE40"/>
          </p15:clr>
        </p15:guide>
        <p15:guide id="14" orient="horz" pos="1286">
          <p15:clr>
            <a:srgbClr val="FBAE40"/>
          </p15:clr>
        </p15:guide>
        <p15:guide id="15" orient="horz" pos="1400">
          <p15:clr>
            <a:srgbClr val="FBAE40"/>
          </p15:clr>
        </p15:guide>
        <p15:guide id="16" orient="horz" pos="1825">
          <p15:clr>
            <a:srgbClr val="FBAE40"/>
          </p15:clr>
        </p15:guide>
        <p15:guide id="17" orient="horz" pos="1938">
          <p15:clr>
            <a:srgbClr val="FBAE40"/>
          </p15:clr>
        </p15:guide>
        <p15:guide id="18" orient="horz" pos="2364">
          <p15:clr>
            <a:srgbClr val="FBAE40"/>
          </p15:clr>
        </p15:guide>
        <p15:guide id="19" orient="horz" pos="2477">
          <p15:clr>
            <a:srgbClr val="FBAE40"/>
          </p15:clr>
        </p15:guide>
        <p15:guide id="20" orient="horz" pos="2902">
          <p15:clr>
            <a:srgbClr val="FBAE40"/>
          </p15:clr>
        </p15:guide>
        <p15:guide id="21" orient="horz" pos="3016">
          <p15:clr>
            <a:srgbClr val="FBAE40"/>
          </p15:clr>
        </p15:guide>
        <p15:guide id="22" orient="horz" pos="3441">
          <p15:clr>
            <a:srgbClr val="FBAE40"/>
          </p15:clr>
        </p15:guide>
        <p15:guide id="23" orient="horz" pos="3554">
          <p15:clr>
            <a:srgbClr val="FBAE40"/>
          </p15:clr>
        </p15:guide>
        <p15:guide id="24" orient="horz" pos="39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>
            <a:extLst>
              <a:ext uri="{FF2B5EF4-FFF2-40B4-BE49-F238E27FC236}">
                <a16:creationId xmlns:a16="http://schemas.microsoft.com/office/drawing/2014/main" id="{4DE338AA-2CF0-71A1-E224-4E059CAE8F8D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8001000" y="0"/>
            <a:ext cx="4191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C06BAA58-04E3-4F58-86C4-DEB4C7D1D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043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C06BAA58-04E3-4F58-86C4-DEB4C7D1DF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Group 70" hidden="1">
            <a:extLst>
              <a:ext uri="{FF2B5EF4-FFF2-40B4-BE49-F238E27FC236}">
                <a16:creationId xmlns:a16="http://schemas.microsoft.com/office/drawing/2014/main" id="{E4688A3A-498A-48BD-ABA5-7195E98C670F}"/>
              </a:ext>
            </a:extLst>
          </p:cNvPr>
          <p:cNvGrpSpPr/>
          <p:nvPr userDrawn="1"/>
        </p:nvGrpSpPr>
        <p:grpSpPr>
          <a:xfrm>
            <a:off x="9467620" y="3429000"/>
            <a:ext cx="2724380" cy="2236765"/>
            <a:chOff x="9467620" y="3429000"/>
            <a:chExt cx="2724380" cy="2236765"/>
          </a:xfrm>
        </p:grpSpPr>
        <p:sp>
          <p:nvSpPr>
            <p:cNvPr id="72" name="Freeform 491">
              <a:extLst>
                <a:ext uri="{FF2B5EF4-FFF2-40B4-BE49-F238E27FC236}">
                  <a16:creationId xmlns:a16="http://schemas.microsoft.com/office/drawing/2014/main" id="{E71360B6-DC8F-403F-A732-5D9FF3776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7620" y="3475348"/>
              <a:ext cx="514988" cy="817115"/>
            </a:xfrm>
            <a:custGeom>
              <a:avLst/>
              <a:gdLst>
                <a:gd name="T0" fmla="*/ 661 w 1323"/>
                <a:gd name="T1" fmla="*/ 2091 h 2091"/>
                <a:gd name="T2" fmla="*/ 0 w 1323"/>
                <a:gd name="T3" fmla="*/ 1382 h 2091"/>
                <a:gd name="T4" fmla="*/ 867 w 1323"/>
                <a:gd name="T5" fmla="*/ 0 h 2091"/>
                <a:gd name="T6" fmla="*/ 366 w 1323"/>
                <a:gd name="T7" fmla="*/ 702 h 2091"/>
                <a:gd name="T8" fmla="*/ 661 w 1323"/>
                <a:gd name="T9" fmla="*/ 624 h 2091"/>
                <a:gd name="T10" fmla="*/ 1323 w 1323"/>
                <a:gd name="T11" fmla="*/ 1354 h 2091"/>
                <a:gd name="T12" fmla="*/ 661 w 1323"/>
                <a:gd name="T13" fmla="*/ 2091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3" h="2091">
                  <a:moveTo>
                    <a:pt x="661" y="2091"/>
                  </a:moveTo>
                  <a:cubicBezTo>
                    <a:pt x="276" y="2091"/>
                    <a:pt x="0" y="1730"/>
                    <a:pt x="0" y="1382"/>
                  </a:cubicBezTo>
                  <a:cubicBezTo>
                    <a:pt x="0" y="361"/>
                    <a:pt x="867" y="0"/>
                    <a:pt x="867" y="0"/>
                  </a:cubicBezTo>
                  <a:cubicBezTo>
                    <a:pt x="867" y="0"/>
                    <a:pt x="443" y="290"/>
                    <a:pt x="366" y="702"/>
                  </a:cubicBezTo>
                  <a:cubicBezTo>
                    <a:pt x="456" y="652"/>
                    <a:pt x="559" y="624"/>
                    <a:pt x="661" y="624"/>
                  </a:cubicBezTo>
                  <a:cubicBezTo>
                    <a:pt x="1028" y="624"/>
                    <a:pt x="1323" y="957"/>
                    <a:pt x="1323" y="1354"/>
                  </a:cubicBezTo>
                  <a:cubicBezTo>
                    <a:pt x="1323" y="1779"/>
                    <a:pt x="1002" y="2091"/>
                    <a:pt x="661" y="209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2">
              <a:extLst>
                <a:ext uri="{FF2B5EF4-FFF2-40B4-BE49-F238E27FC236}">
                  <a16:creationId xmlns:a16="http://schemas.microsoft.com/office/drawing/2014/main" id="{8F7CC2B7-3C11-49CC-9AA3-B778B0F2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5114" y="3429000"/>
              <a:ext cx="1055726" cy="1560415"/>
            </a:xfrm>
            <a:custGeom>
              <a:avLst/>
              <a:gdLst>
                <a:gd name="T0" fmla="*/ 2467 w 2705"/>
                <a:gd name="T1" fmla="*/ 823 h 3992"/>
                <a:gd name="T2" fmla="*/ 701 w 2705"/>
                <a:gd name="T3" fmla="*/ 0 h 3992"/>
                <a:gd name="T4" fmla="*/ 1324 w 2705"/>
                <a:gd name="T5" fmla="*/ 1709 h 3992"/>
                <a:gd name="T6" fmla="*/ 0 w 2705"/>
                <a:gd name="T7" fmla="*/ 3992 h 3992"/>
                <a:gd name="T8" fmla="*/ 2326 w 2705"/>
                <a:gd name="T9" fmla="*/ 2298 h 3992"/>
                <a:gd name="T10" fmla="*/ 2467 w 2705"/>
                <a:gd name="T11" fmla="*/ 823 h 3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05" h="3992">
                  <a:moveTo>
                    <a:pt x="2467" y="823"/>
                  </a:moveTo>
                  <a:cubicBezTo>
                    <a:pt x="2268" y="426"/>
                    <a:pt x="1729" y="0"/>
                    <a:pt x="701" y="0"/>
                  </a:cubicBezTo>
                  <a:cubicBezTo>
                    <a:pt x="1337" y="177"/>
                    <a:pt x="1472" y="1120"/>
                    <a:pt x="1324" y="1709"/>
                  </a:cubicBezTo>
                  <a:cubicBezTo>
                    <a:pt x="1137" y="2446"/>
                    <a:pt x="84" y="3638"/>
                    <a:pt x="0" y="3992"/>
                  </a:cubicBezTo>
                  <a:cubicBezTo>
                    <a:pt x="424" y="3418"/>
                    <a:pt x="1934" y="2766"/>
                    <a:pt x="2326" y="2298"/>
                  </a:cubicBezTo>
                  <a:cubicBezTo>
                    <a:pt x="2686" y="1858"/>
                    <a:pt x="2705" y="1291"/>
                    <a:pt x="2467" y="82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93">
              <a:extLst>
                <a:ext uri="{FF2B5EF4-FFF2-40B4-BE49-F238E27FC236}">
                  <a16:creationId xmlns:a16="http://schemas.microsoft.com/office/drawing/2014/main" id="{50EB8D1F-8C10-470C-A1E0-842F0CBBD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4786" y="5003147"/>
              <a:ext cx="1282321" cy="662618"/>
            </a:xfrm>
            <a:custGeom>
              <a:avLst/>
              <a:gdLst>
                <a:gd name="T0" fmla="*/ 3257 w 3289"/>
                <a:gd name="T1" fmla="*/ 0 h 1694"/>
                <a:gd name="T2" fmla="*/ 2608 w 3289"/>
                <a:gd name="T3" fmla="*/ 411 h 1694"/>
                <a:gd name="T4" fmla="*/ 1464 w 3289"/>
                <a:gd name="T5" fmla="*/ 347 h 1694"/>
                <a:gd name="T6" fmla="*/ 559 w 3289"/>
                <a:gd name="T7" fmla="*/ 468 h 1694"/>
                <a:gd name="T8" fmla="*/ 0 w 3289"/>
                <a:gd name="T9" fmla="*/ 1014 h 1694"/>
                <a:gd name="T10" fmla="*/ 38 w 3289"/>
                <a:gd name="T11" fmla="*/ 971 h 1694"/>
                <a:gd name="T12" fmla="*/ 430 w 3289"/>
                <a:gd name="T13" fmla="*/ 787 h 1694"/>
                <a:gd name="T14" fmla="*/ 1201 w 3289"/>
                <a:gd name="T15" fmla="*/ 1141 h 1694"/>
                <a:gd name="T16" fmla="*/ 2235 w 3289"/>
                <a:gd name="T17" fmla="*/ 1631 h 1694"/>
                <a:gd name="T18" fmla="*/ 3180 w 3289"/>
                <a:gd name="T19" fmla="*/ 780 h 1694"/>
                <a:gd name="T20" fmla="*/ 3257 w 3289"/>
                <a:gd name="T21" fmla="*/ 0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89" h="1694">
                  <a:moveTo>
                    <a:pt x="3257" y="0"/>
                  </a:moveTo>
                  <a:cubicBezTo>
                    <a:pt x="3173" y="241"/>
                    <a:pt x="2993" y="411"/>
                    <a:pt x="2608" y="411"/>
                  </a:cubicBezTo>
                  <a:cubicBezTo>
                    <a:pt x="2222" y="411"/>
                    <a:pt x="1843" y="368"/>
                    <a:pt x="1464" y="347"/>
                  </a:cubicBezTo>
                  <a:cubicBezTo>
                    <a:pt x="1156" y="326"/>
                    <a:pt x="841" y="333"/>
                    <a:pt x="559" y="468"/>
                  </a:cubicBezTo>
                  <a:cubicBezTo>
                    <a:pt x="308" y="588"/>
                    <a:pt x="122" y="773"/>
                    <a:pt x="0" y="1014"/>
                  </a:cubicBezTo>
                  <a:cubicBezTo>
                    <a:pt x="12" y="1000"/>
                    <a:pt x="19" y="985"/>
                    <a:pt x="38" y="971"/>
                  </a:cubicBezTo>
                  <a:cubicBezTo>
                    <a:pt x="141" y="858"/>
                    <a:pt x="282" y="787"/>
                    <a:pt x="430" y="787"/>
                  </a:cubicBezTo>
                  <a:cubicBezTo>
                    <a:pt x="726" y="787"/>
                    <a:pt x="957" y="922"/>
                    <a:pt x="1201" y="1141"/>
                  </a:cubicBezTo>
                  <a:cubicBezTo>
                    <a:pt x="1497" y="1411"/>
                    <a:pt x="1818" y="1694"/>
                    <a:pt x="2235" y="1631"/>
                  </a:cubicBezTo>
                  <a:cubicBezTo>
                    <a:pt x="2679" y="1560"/>
                    <a:pt x="3032" y="1219"/>
                    <a:pt x="3180" y="780"/>
                  </a:cubicBezTo>
                  <a:cubicBezTo>
                    <a:pt x="3289" y="489"/>
                    <a:pt x="3250" y="283"/>
                    <a:pt x="325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95">
              <a:extLst>
                <a:ext uri="{FF2B5EF4-FFF2-40B4-BE49-F238E27FC236}">
                  <a16:creationId xmlns:a16="http://schemas.microsoft.com/office/drawing/2014/main" id="{A1A272E9-3F1D-4409-B858-A311BC59A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1686" y="3429000"/>
              <a:ext cx="715834" cy="2212733"/>
            </a:xfrm>
            <a:custGeom>
              <a:avLst/>
              <a:gdLst>
                <a:gd name="T0" fmla="*/ 1838 w 1838"/>
                <a:gd name="T1" fmla="*/ 0 h 5659"/>
                <a:gd name="T2" fmla="*/ 1221 w 1838"/>
                <a:gd name="T3" fmla="*/ 1645 h 5659"/>
                <a:gd name="T4" fmla="*/ 1201 w 1838"/>
                <a:gd name="T5" fmla="*/ 2829 h 5659"/>
                <a:gd name="T6" fmla="*/ 1221 w 1838"/>
                <a:gd name="T7" fmla="*/ 3985 h 5659"/>
                <a:gd name="T8" fmla="*/ 1831 w 1838"/>
                <a:gd name="T9" fmla="*/ 5659 h 5659"/>
                <a:gd name="T10" fmla="*/ 0 w 1838"/>
                <a:gd name="T11" fmla="*/ 2829 h 5659"/>
                <a:gd name="T12" fmla="*/ 1838 w 1838"/>
                <a:gd name="T13" fmla="*/ 0 h 5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8" h="5659">
                  <a:moveTo>
                    <a:pt x="1838" y="0"/>
                  </a:moveTo>
                  <a:cubicBezTo>
                    <a:pt x="1703" y="121"/>
                    <a:pt x="1253" y="326"/>
                    <a:pt x="1221" y="1645"/>
                  </a:cubicBezTo>
                  <a:cubicBezTo>
                    <a:pt x="1221" y="1645"/>
                    <a:pt x="1201" y="2283"/>
                    <a:pt x="1201" y="2829"/>
                  </a:cubicBezTo>
                  <a:cubicBezTo>
                    <a:pt x="1201" y="3390"/>
                    <a:pt x="1221" y="3985"/>
                    <a:pt x="1221" y="3985"/>
                  </a:cubicBezTo>
                  <a:cubicBezTo>
                    <a:pt x="1259" y="5339"/>
                    <a:pt x="1658" y="5510"/>
                    <a:pt x="1831" y="5659"/>
                  </a:cubicBezTo>
                  <a:cubicBezTo>
                    <a:pt x="1433" y="5659"/>
                    <a:pt x="0" y="5269"/>
                    <a:pt x="0" y="2829"/>
                  </a:cubicBezTo>
                  <a:cubicBezTo>
                    <a:pt x="0" y="348"/>
                    <a:pt x="1433" y="0"/>
                    <a:pt x="183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8CBC56C-39D9-4CCD-927C-1C413FCA287F}"/>
                </a:ext>
              </a:extLst>
            </p:cNvPr>
            <p:cNvSpPr/>
            <p:nvPr userDrawn="1"/>
          </p:nvSpPr>
          <p:spPr>
            <a:xfrm>
              <a:off x="11855450" y="3429001"/>
              <a:ext cx="336550" cy="2212733"/>
            </a:xfrm>
            <a:custGeom>
              <a:avLst/>
              <a:gdLst>
                <a:gd name="connsiteX0" fmla="*/ 0 w 336550"/>
                <a:gd name="connsiteY0" fmla="*/ 0 h 2212733"/>
                <a:gd name="connsiteX1" fmla="*/ 296520 w 336550"/>
                <a:gd name="connsiteY1" fmla="*/ 94212 h 2212733"/>
                <a:gd name="connsiteX2" fmla="*/ 336550 w 336550"/>
                <a:gd name="connsiteY2" fmla="*/ 122018 h 2212733"/>
                <a:gd name="connsiteX3" fmla="*/ 336550 w 336550"/>
                <a:gd name="connsiteY3" fmla="*/ 2086108 h 2212733"/>
                <a:gd name="connsiteX4" fmla="*/ 297187 w 336550"/>
                <a:gd name="connsiteY4" fmla="*/ 2114171 h 2212733"/>
                <a:gd name="connsiteX5" fmla="*/ 2733 w 336550"/>
                <a:gd name="connsiteY5" fmla="*/ 2212733 h 2212733"/>
                <a:gd name="connsiteX6" fmla="*/ 238533 w 336550"/>
                <a:gd name="connsiteY6" fmla="*/ 1558180 h 2212733"/>
                <a:gd name="connsiteX7" fmla="*/ 248293 w 336550"/>
                <a:gd name="connsiteY7" fmla="*/ 1106171 h 2212733"/>
                <a:gd name="connsiteX8" fmla="*/ 238533 w 336550"/>
                <a:gd name="connsiteY8" fmla="*/ 643214 h 2212733"/>
                <a:gd name="connsiteX9" fmla="*/ 0 w 336550"/>
                <a:gd name="connsiteY9" fmla="*/ 0 h 2212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6550" h="2212733">
                  <a:moveTo>
                    <a:pt x="0" y="0"/>
                  </a:moveTo>
                  <a:cubicBezTo>
                    <a:pt x="59292" y="0"/>
                    <a:pt x="175020" y="19135"/>
                    <a:pt x="296520" y="94212"/>
                  </a:cubicBezTo>
                  <a:lnTo>
                    <a:pt x="336550" y="122018"/>
                  </a:lnTo>
                  <a:lnTo>
                    <a:pt x="336550" y="2086108"/>
                  </a:lnTo>
                  <a:lnTo>
                    <a:pt x="297187" y="2114171"/>
                  </a:lnTo>
                  <a:cubicBezTo>
                    <a:pt x="176088" y="2191289"/>
                    <a:pt x="61000" y="2212733"/>
                    <a:pt x="2733" y="2212733"/>
                  </a:cubicBezTo>
                  <a:cubicBezTo>
                    <a:pt x="70271" y="2154472"/>
                    <a:pt x="225650" y="2087610"/>
                    <a:pt x="238533" y="1558180"/>
                  </a:cubicBezTo>
                  <a:cubicBezTo>
                    <a:pt x="238533" y="1558180"/>
                    <a:pt x="248293" y="1325529"/>
                    <a:pt x="248293" y="1106171"/>
                  </a:cubicBezTo>
                  <a:cubicBezTo>
                    <a:pt x="248293" y="892679"/>
                    <a:pt x="238533" y="643214"/>
                    <a:pt x="238533" y="643214"/>
                  </a:cubicBezTo>
                  <a:cubicBezTo>
                    <a:pt x="228382" y="127470"/>
                    <a:pt x="52704" y="47312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F147B0D-7BBC-9016-06C1-A62741B5FA0D}"/>
              </a:ext>
            </a:extLst>
          </p:cNvPr>
          <p:cNvGrpSpPr/>
          <p:nvPr userDrawn="1"/>
        </p:nvGrpSpPr>
        <p:grpSpPr>
          <a:xfrm>
            <a:off x="10515600" y="259716"/>
            <a:ext cx="1436183" cy="985137"/>
            <a:chOff x="228600" y="2150376"/>
            <a:chExt cx="2906342" cy="1993578"/>
          </a:xfrm>
          <a:solidFill>
            <a:schemeClr val="bg1"/>
          </a:solidFill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327F18DE-FE9A-E987-1155-D7BFE1647152}"/>
                </a:ext>
              </a:extLst>
            </p:cNvPr>
            <p:cNvGrpSpPr/>
            <p:nvPr userDrawn="1"/>
          </p:nvGrpSpPr>
          <p:grpSpPr>
            <a:xfrm>
              <a:off x="228600" y="3626341"/>
              <a:ext cx="2799815" cy="517613"/>
              <a:chOff x="228600" y="3626341"/>
              <a:chExt cx="2799815" cy="517613"/>
            </a:xfrm>
            <a:grpFill/>
          </p:grpSpPr>
          <p:sp>
            <p:nvSpPr>
              <p:cNvPr id="129" name="Freeform 6">
                <a:extLst>
                  <a:ext uri="{FF2B5EF4-FFF2-40B4-BE49-F238E27FC236}">
                    <a16:creationId xmlns:a16="http://schemas.microsoft.com/office/drawing/2014/main" id="{5FE9E19B-12B2-D7B6-D125-51ABB9EEEA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534" y="3955731"/>
                <a:ext cx="95922" cy="164696"/>
              </a:xfrm>
              <a:custGeom>
                <a:avLst/>
                <a:gdLst>
                  <a:gd name="T0" fmla="*/ 235 w 235"/>
                  <a:gd name="T1" fmla="*/ 1 h 398"/>
                  <a:gd name="T2" fmla="*/ 218 w 235"/>
                  <a:gd name="T3" fmla="*/ 72 h 398"/>
                  <a:gd name="T4" fmla="*/ 152 w 235"/>
                  <a:gd name="T5" fmla="*/ 80 h 398"/>
                  <a:gd name="T6" fmla="*/ 131 w 235"/>
                  <a:gd name="T7" fmla="*/ 113 h 398"/>
                  <a:gd name="T8" fmla="*/ 176 w 235"/>
                  <a:gd name="T9" fmla="*/ 114 h 398"/>
                  <a:gd name="T10" fmla="*/ 164 w 235"/>
                  <a:gd name="T11" fmla="*/ 178 h 398"/>
                  <a:gd name="T12" fmla="*/ 116 w 235"/>
                  <a:gd name="T13" fmla="*/ 178 h 398"/>
                  <a:gd name="T14" fmla="*/ 70 w 235"/>
                  <a:gd name="T15" fmla="*/ 398 h 398"/>
                  <a:gd name="T16" fmla="*/ 0 w 235"/>
                  <a:gd name="T17" fmla="*/ 398 h 398"/>
                  <a:gd name="T18" fmla="*/ 43 w 235"/>
                  <a:gd name="T19" fmla="*/ 176 h 398"/>
                  <a:gd name="T20" fmla="*/ 6 w 235"/>
                  <a:gd name="T21" fmla="*/ 176 h 398"/>
                  <a:gd name="T22" fmla="*/ 17 w 235"/>
                  <a:gd name="T23" fmla="*/ 112 h 398"/>
                  <a:gd name="T24" fmla="*/ 56 w 235"/>
                  <a:gd name="T25" fmla="*/ 112 h 398"/>
                  <a:gd name="T26" fmla="*/ 95 w 235"/>
                  <a:gd name="T27" fmla="*/ 44 h 398"/>
                  <a:gd name="T28" fmla="*/ 235 w 235"/>
                  <a:gd name="T29" fmla="*/ 1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5" h="398">
                    <a:moveTo>
                      <a:pt x="235" y="1"/>
                    </a:moveTo>
                    <a:lnTo>
                      <a:pt x="218" y="72"/>
                    </a:lnTo>
                    <a:cubicBezTo>
                      <a:pt x="218" y="72"/>
                      <a:pt x="175" y="63"/>
                      <a:pt x="152" y="80"/>
                    </a:cubicBezTo>
                    <a:cubicBezTo>
                      <a:pt x="129" y="96"/>
                      <a:pt x="131" y="113"/>
                      <a:pt x="131" y="113"/>
                    </a:cubicBezTo>
                    <a:lnTo>
                      <a:pt x="176" y="114"/>
                    </a:lnTo>
                    <a:lnTo>
                      <a:pt x="164" y="178"/>
                    </a:lnTo>
                    <a:lnTo>
                      <a:pt x="116" y="178"/>
                    </a:lnTo>
                    <a:lnTo>
                      <a:pt x="70" y="398"/>
                    </a:lnTo>
                    <a:lnTo>
                      <a:pt x="0" y="398"/>
                    </a:lnTo>
                    <a:lnTo>
                      <a:pt x="43" y="176"/>
                    </a:lnTo>
                    <a:lnTo>
                      <a:pt x="6" y="176"/>
                    </a:lnTo>
                    <a:lnTo>
                      <a:pt x="17" y="112"/>
                    </a:lnTo>
                    <a:lnTo>
                      <a:pt x="56" y="112"/>
                    </a:lnTo>
                    <a:cubicBezTo>
                      <a:pt x="56" y="112"/>
                      <a:pt x="68" y="67"/>
                      <a:pt x="95" y="44"/>
                    </a:cubicBezTo>
                    <a:cubicBezTo>
                      <a:pt x="121" y="23"/>
                      <a:pt x="169" y="0"/>
                      <a:pt x="2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0" name="Freeform 7">
                <a:extLst>
                  <a:ext uri="{FF2B5EF4-FFF2-40B4-BE49-F238E27FC236}">
                    <a16:creationId xmlns:a16="http://schemas.microsoft.com/office/drawing/2014/main" id="{B47F941A-DB0C-377F-C7AB-E48A982A01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44429" y="4002787"/>
                <a:ext cx="54295" cy="115829"/>
              </a:xfrm>
              <a:custGeom>
                <a:avLst/>
                <a:gdLst>
                  <a:gd name="T0" fmla="*/ 56 w 133"/>
                  <a:gd name="T1" fmla="*/ 0 h 281"/>
                  <a:gd name="T2" fmla="*/ 133 w 133"/>
                  <a:gd name="T3" fmla="*/ 0 h 281"/>
                  <a:gd name="T4" fmla="*/ 75 w 133"/>
                  <a:gd name="T5" fmla="*/ 281 h 281"/>
                  <a:gd name="T6" fmla="*/ 0 w 133"/>
                  <a:gd name="T7" fmla="*/ 281 h 281"/>
                  <a:gd name="T8" fmla="*/ 56 w 133"/>
                  <a:gd name="T9" fmla="*/ 0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281">
                    <a:moveTo>
                      <a:pt x="56" y="0"/>
                    </a:moveTo>
                    <a:lnTo>
                      <a:pt x="133" y="0"/>
                    </a:lnTo>
                    <a:lnTo>
                      <a:pt x="75" y="281"/>
                    </a:lnTo>
                    <a:lnTo>
                      <a:pt x="0" y="281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1" name="Freeform 8">
                <a:extLst>
                  <a:ext uri="{FF2B5EF4-FFF2-40B4-BE49-F238E27FC236}">
                    <a16:creationId xmlns:a16="http://schemas.microsoft.com/office/drawing/2014/main" id="{3048DCE3-49F2-AAB1-4D5C-99CA4AF32B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9767" y="3955731"/>
                <a:ext cx="38007" cy="30768"/>
              </a:xfrm>
              <a:custGeom>
                <a:avLst/>
                <a:gdLst>
                  <a:gd name="T0" fmla="*/ 16 w 92"/>
                  <a:gd name="T1" fmla="*/ 0 h 76"/>
                  <a:gd name="T2" fmla="*/ 92 w 92"/>
                  <a:gd name="T3" fmla="*/ 0 h 76"/>
                  <a:gd name="T4" fmla="*/ 75 w 92"/>
                  <a:gd name="T5" fmla="*/ 76 h 76"/>
                  <a:gd name="T6" fmla="*/ 0 w 92"/>
                  <a:gd name="T7" fmla="*/ 76 h 76"/>
                  <a:gd name="T8" fmla="*/ 16 w 9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76">
                    <a:moveTo>
                      <a:pt x="16" y="0"/>
                    </a:moveTo>
                    <a:lnTo>
                      <a:pt x="92" y="0"/>
                    </a:lnTo>
                    <a:lnTo>
                      <a:pt x="75" y="76"/>
                    </a:lnTo>
                    <a:lnTo>
                      <a:pt x="0" y="7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2" name="Freeform 9">
                <a:extLst>
                  <a:ext uri="{FF2B5EF4-FFF2-40B4-BE49-F238E27FC236}">
                    <a16:creationId xmlns:a16="http://schemas.microsoft.com/office/drawing/2014/main" id="{5F2730A5-C5D4-1F17-283B-27BF22C1913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8600" y="3966590"/>
                <a:ext cx="123069" cy="152026"/>
              </a:xfrm>
              <a:custGeom>
                <a:avLst/>
                <a:gdLst>
                  <a:gd name="T0" fmla="*/ 286 w 299"/>
                  <a:gd name="T1" fmla="*/ 89 h 371"/>
                  <a:gd name="T2" fmla="*/ 220 w 299"/>
                  <a:gd name="T3" fmla="*/ 3 h 371"/>
                  <a:gd name="T4" fmla="*/ 72 w 299"/>
                  <a:gd name="T5" fmla="*/ 1 h 371"/>
                  <a:gd name="T6" fmla="*/ 0 w 299"/>
                  <a:gd name="T7" fmla="*/ 368 h 371"/>
                  <a:gd name="T8" fmla="*/ 104 w 299"/>
                  <a:gd name="T9" fmla="*/ 371 h 371"/>
                  <a:gd name="T10" fmla="*/ 274 w 299"/>
                  <a:gd name="T11" fmla="*/ 271 h 371"/>
                  <a:gd name="T12" fmla="*/ 245 w 299"/>
                  <a:gd name="T13" fmla="*/ 169 h 371"/>
                  <a:gd name="T14" fmla="*/ 286 w 299"/>
                  <a:gd name="T15" fmla="*/ 89 h 371"/>
                  <a:gd name="T16" fmla="*/ 206 w 299"/>
                  <a:gd name="T17" fmla="*/ 114 h 371"/>
                  <a:gd name="T18" fmla="*/ 132 w 299"/>
                  <a:gd name="T19" fmla="*/ 157 h 371"/>
                  <a:gd name="T20" fmla="*/ 131 w 299"/>
                  <a:gd name="T21" fmla="*/ 171 h 371"/>
                  <a:gd name="T22" fmla="*/ 200 w 299"/>
                  <a:gd name="T23" fmla="*/ 252 h 371"/>
                  <a:gd name="T24" fmla="*/ 131 w 299"/>
                  <a:gd name="T25" fmla="*/ 298 h 371"/>
                  <a:gd name="T26" fmla="*/ 83 w 299"/>
                  <a:gd name="T27" fmla="*/ 301 h 371"/>
                  <a:gd name="T28" fmla="*/ 130 w 299"/>
                  <a:gd name="T29" fmla="*/ 70 h 371"/>
                  <a:gd name="T30" fmla="*/ 206 w 299"/>
                  <a:gd name="T31" fmla="*/ 114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9" h="371">
                    <a:moveTo>
                      <a:pt x="286" y="89"/>
                    </a:moveTo>
                    <a:cubicBezTo>
                      <a:pt x="292" y="36"/>
                      <a:pt x="243" y="7"/>
                      <a:pt x="220" y="3"/>
                    </a:cubicBezTo>
                    <a:cubicBezTo>
                      <a:pt x="197" y="0"/>
                      <a:pt x="72" y="1"/>
                      <a:pt x="72" y="1"/>
                    </a:cubicBezTo>
                    <a:lnTo>
                      <a:pt x="0" y="368"/>
                    </a:lnTo>
                    <a:lnTo>
                      <a:pt x="104" y="371"/>
                    </a:lnTo>
                    <a:cubicBezTo>
                      <a:pt x="104" y="371"/>
                      <a:pt x="237" y="367"/>
                      <a:pt x="274" y="271"/>
                    </a:cubicBezTo>
                    <a:cubicBezTo>
                      <a:pt x="299" y="208"/>
                      <a:pt x="245" y="169"/>
                      <a:pt x="245" y="169"/>
                    </a:cubicBezTo>
                    <a:cubicBezTo>
                      <a:pt x="245" y="169"/>
                      <a:pt x="280" y="142"/>
                      <a:pt x="286" y="89"/>
                    </a:cubicBezTo>
                    <a:close/>
                    <a:moveTo>
                      <a:pt x="206" y="114"/>
                    </a:moveTo>
                    <a:cubicBezTo>
                      <a:pt x="198" y="160"/>
                      <a:pt x="132" y="157"/>
                      <a:pt x="132" y="157"/>
                    </a:cubicBezTo>
                    <a:cubicBezTo>
                      <a:pt x="132" y="157"/>
                      <a:pt x="132" y="171"/>
                      <a:pt x="131" y="171"/>
                    </a:cubicBezTo>
                    <a:cubicBezTo>
                      <a:pt x="153" y="173"/>
                      <a:pt x="214" y="209"/>
                      <a:pt x="200" y="252"/>
                    </a:cubicBezTo>
                    <a:cubicBezTo>
                      <a:pt x="184" y="301"/>
                      <a:pt x="131" y="298"/>
                      <a:pt x="131" y="298"/>
                    </a:cubicBezTo>
                    <a:lnTo>
                      <a:pt x="83" y="301"/>
                    </a:lnTo>
                    <a:lnTo>
                      <a:pt x="130" y="70"/>
                    </a:lnTo>
                    <a:cubicBezTo>
                      <a:pt x="130" y="70"/>
                      <a:pt x="214" y="68"/>
                      <a:pt x="20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3" name="Freeform 10">
                <a:extLst>
                  <a:ext uri="{FF2B5EF4-FFF2-40B4-BE49-F238E27FC236}">
                    <a16:creationId xmlns:a16="http://schemas.microsoft.com/office/drawing/2014/main" id="{9DCEEAC5-C283-FB87-9DFE-0C021BFEC0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06" y="3695115"/>
                <a:ext cx="369206" cy="238898"/>
              </a:xfrm>
              <a:custGeom>
                <a:avLst/>
                <a:gdLst>
                  <a:gd name="T0" fmla="*/ 826 w 897"/>
                  <a:gd name="T1" fmla="*/ 0 h 583"/>
                  <a:gd name="T2" fmla="*/ 896 w 897"/>
                  <a:gd name="T3" fmla="*/ 150 h 583"/>
                  <a:gd name="T4" fmla="*/ 480 w 897"/>
                  <a:gd name="T5" fmla="*/ 352 h 583"/>
                  <a:gd name="T6" fmla="*/ 256 w 897"/>
                  <a:gd name="T7" fmla="*/ 519 h 583"/>
                  <a:gd name="T8" fmla="*/ 0 w 897"/>
                  <a:gd name="T9" fmla="*/ 564 h 583"/>
                  <a:gd name="T10" fmla="*/ 113 w 897"/>
                  <a:gd name="T11" fmla="*/ 542 h 583"/>
                  <a:gd name="T12" fmla="*/ 490 w 897"/>
                  <a:gd name="T13" fmla="*/ 279 h 583"/>
                  <a:gd name="T14" fmla="*/ 819 w 897"/>
                  <a:gd name="T15" fmla="*/ 125 h 583"/>
                  <a:gd name="T16" fmla="*/ 826 w 897"/>
                  <a:gd name="T17" fmla="*/ 0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7" h="583">
                    <a:moveTo>
                      <a:pt x="826" y="0"/>
                    </a:moveTo>
                    <a:cubicBezTo>
                      <a:pt x="829" y="16"/>
                      <a:pt x="842" y="96"/>
                      <a:pt x="896" y="150"/>
                    </a:cubicBezTo>
                    <a:cubicBezTo>
                      <a:pt x="897" y="151"/>
                      <a:pt x="639" y="237"/>
                      <a:pt x="480" y="352"/>
                    </a:cubicBezTo>
                    <a:cubicBezTo>
                      <a:pt x="396" y="412"/>
                      <a:pt x="313" y="486"/>
                      <a:pt x="256" y="519"/>
                    </a:cubicBezTo>
                    <a:cubicBezTo>
                      <a:pt x="145" y="583"/>
                      <a:pt x="0" y="576"/>
                      <a:pt x="0" y="564"/>
                    </a:cubicBezTo>
                    <a:cubicBezTo>
                      <a:pt x="0" y="551"/>
                      <a:pt x="36" y="566"/>
                      <a:pt x="113" y="542"/>
                    </a:cubicBezTo>
                    <a:cubicBezTo>
                      <a:pt x="223" y="507"/>
                      <a:pt x="387" y="351"/>
                      <a:pt x="490" y="279"/>
                    </a:cubicBezTo>
                    <a:cubicBezTo>
                      <a:pt x="613" y="197"/>
                      <a:pt x="782" y="137"/>
                      <a:pt x="819" y="125"/>
                    </a:cubicBezTo>
                    <a:cubicBezTo>
                      <a:pt x="819" y="114"/>
                      <a:pt x="804" y="30"/>
                      <a:pt x="8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4" name="Freeform 11">
                <a:extLst>
                  <a:ext uri="{FF2B5EF4-FFF2-40B4-BE49-F238E27FC236}">
                    <a16:creationId xmlns:a16="http://schemas.microsoft.com/office/drawing/2014/main" id="{5912668A-27D2-7BB4-D7FC-26EA5A7619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7773" y="3852570"/>
                <a:ext cx="342059" cy="191843"/>
              </a:xfrm>
              <a:custGeom>
                <a:avLst/>
                <a:gdLst>
                  <a:gd name="T0" fmla="*/ 0 w 834"/>
                  <a:gd name="T1" fmla="*/ 120 h 464"/>
                  <a:gd name="T2" fmla="*/ 156 w 834"/>
                  <a:gd name="T3" fmla="*/ 65 h 464"/>
                  <a:gd name="T4" fmla="*/ 508 w 834"/>
                  <a:gd name="T5" fmla="*/ 183 h 464"/>
                  <a:gd name="T6" fmla="*/ 448 w 834"/>
                  <a:gd name="T7" fmla="*/ 58 h 464"/>
                  <a:gd name="T8" fmla="*/ 452 w 834"/>
                  <a:gd name="T9" fmla="*/ 0 h 464"/>
                  <a:gd name="T10" fmla="*/ 600 w 834"/>
                  <a:gd name="T11" fmla="*/ 231 h 464"/>
                  <a:gd name="T12" fmla="*/ 834 w 834"/>
                  <a:gd name="T13" fmla="*/ 464 h 464"/>
                  <a:gd name="T14" fmla="*/ 649 w 834"/>
                  <a:gd name="T15" fmla="*/ 353 h 464"/>
                  <a:gd name="T16" fmla="*/ 543 w 834"/>
                  <a:gd name="T17" fmla="*/ 252 h 464"/>
                  <a:gd name="T18" fmla="*/ 462 w 834"/>
                  <a:gd name="T19" fmla="*/ 224 h 464"/>
                  <a:gd name="T20" fmla="*/ 193 w 834"/>
                  <a:gd name="T21" fmla="*/ 101 h 464"/>
                  <a:gd name="T22" fmla="*/ 0 w 834"/>
                  <a:gd name="T23" fmla="*/ 120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4" h="464">
                    <a:moveTo>
                      <a:pt x="0" y="120"/>
                    </a:moveTo>
                    <a:cubicBezTo>
                      <a:pt x="0" y="120"/>
                      <a:pt x="38" y="60"/>
                      <a:pt x="156" y="65"/>
                    </a:cubicBezTo>
                    <a:cubicBezTo>
                      <a:pt x="274" y="69"/>
                      <a:pt x="508" y="183"/>
                      <a:pt x="508" y="183"/>
                    </a:cubicBezTo>
                    <a:cubicBezTo>
                      <a:pt x="508" y="183"/>
                      <a:pt x="457" y="103"/>
                      <a:pt x="448" y="58"/>
                    </a:cubicBezTo>
                    <a:cubicBezTo>
                      <a:pt x="439" y="14"/>
                      <a:pt x="452" y="0"/>
                      <a:pt x="452" y="0"/>
                    </a:cubicBezTo>
                    <a:cubicBezTo>
                      <a:pt x="477" y="55"/>
                      <a:pt x="566" y="179"/>
                      <a:pt x="600" y="231"/>
                    </a:cubicBezTo>
                    <a:cubicBezTo>
                      <a:pt x="672" y="340"/>
                      <a:pt x="834" y="464"/>
                      <a:pt x="834" y="464"/>
                    </a:cubicBezTo>
                    <a:cubicBezTo>
                      <a:pt x="797" y="460"/>
                      <a:pt x="707" y="403"/>
                      <a:pt x="649" y="353"/>
                    </a:cubicBezTo>
                    <a:cubicBezTo>
                      <a:pt x="592" y="303"/>
                      <a:pt x="561" y="260"/>
                      <a:pt x="543" y="252"/>
                    </a:cubicBezTo>
                    <a:cubicBezTo>
                      <a:pt x="525" y="244"/>
                      <a:pt x="483" y="233"/>
                      <a:pt x="462" y="224"/>
                    </a:cubicBezTo>
                    <a:cubicBezTo>
                      <a:pt x="424" y="206"/>
                      <a:pt x="271" y="110"/>
                      <a:pt x="193" y="101"/>
                    </a:cubicBezTo>
                    <a:cubicBezTo>
                      <a:pt x="71" y="88"/>
                      <a:pt x="0" y="120"/>
                      <a:pt x="0" y="1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5" name="Freeform 12">
                <a:extLst>
                  <a:ext uri="{FF2B5EF4-FFF2-40B4-BE49-F238E27FC236}">
                    <a16:creationId xmlns:a16="http://schemas.microsoft.com/office/drawing/2014/main" id="{27BBD90F-8EEB-6CAD-A419-7E63EBCAB1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4003" y="3727692"/>
                <a:ext cx="229850" cy="106781"/>
              </a:xfrm>
              <a:custGeom>
                <a:avLst/>
                <a:gdLst>
                  <a:gd name="T0" fmla="*/ 0 w 559"/>
                  <a:gd name="T1" fmla="*/ 24 h 259"/>
                  <a:gd name="T2" fmla="*/ 68 w 559"/>
                  <a:gd name="T3" fmla="*/ 90 h 259"/>
                  <a:gd name="T4" fmla="*/ 185 w 559"/>
                  <a:gd name="T5" fmla="*/ 118 h 259"/>
                  <a:gd name="T6" fmla="*/ 87 w 559"/>
                  <a:gd name="T7" fmla="*/ 60 h 259"/>
                  <a:gd name="T8" fmla="*/ 212 w 559"/>
                  <a:gd name="T9" fmla="*/ 71 h 259"/>
                  <a:gd name="T10" fmla="*/ 320 w 559"/>
                  <a:gd name="T11" fmla="*/ 166 h 259"/>
                  <a:gd name="T12" fmla="*/ 289 w 559"/>
                  <a:gd name="T13" fmla="*/ 215 h 259"/>
                  <a:gd name="T14" fmla="*/ 434 w 559"/>
                  <a:gd name="T15" fmla="*/ 252 h 259"/>
                  <a:gd name="T16" fmla="*/ 559 w 559"/>
                  <a:gd name="T17" fmla="*/ 185 h 259"/>
                  <a:gd name="T18" fmla="*/ 433 w 559"/>
                  <a:gd name="T19" fmla="*/ 218 h 259"/>
                  <a:gd name="T20" fmla="*/ 353 w 559"/>
                  <a:gd name="T21" fmla="*/ 192 h 259"/>
                  <a:gd name="T22" fmla="*/ 361 w 559"/>
                  <a:gd name="T23" fmla="*/ 156 h 259"/>
                  <a:gd name="T24" fmla="*/ 219 w 559"/>
                  <a:gd name="T25" fmla="*/ 38 h 259"/>
                  <a:gd name="T26" fmla="*/ 0 w 559"/>
                  <a:gd name="T27" fmla="*/ 24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59" h="259">
                    <a:moveTo>
                      <a:pt x="0" y="24"/>
                    </a:moveTo>
                    <a:cubicBezTo>
                      <a:pt x="0" y="24"/>
                      <a:pt x="6" y="53"/>
                      <a:pt x="68" y="90"/>
                    </a:cubicBezTo>
                    <a:cubicBezTo>
                      <a:pt x="131" y="127"/>
                      <a:pt x="185" y="118"/>
                      <a:pt x="185" y="118"/>
                    </a:cubicBezTo>
                    <a:cubicBezTo>
                      <a:pt x="185" y="118"/>
                      <a:pt x="100" y="88"/>
                      <a:pt x="87" y="60"/>
                    </a:cubicBezTo>
                    <a:cubicBezTo>
                      <a:pt x="97" y="59"/>
                      <a:pt x="121" y="45"/>
                      <a:pt x="212" y="71"/>
                    </a:cubicBezTo>
                    <a:cubicBezTo>
                      <a:pt x="285" y="92"/>
                      <a:pt x="320" y="152"/>
                      <a:pt x="320" y="166"/>
                    </a:cubicBezTo>
                    <a:cubicBezTo>
                      <a:pt x="320" y="187"/>
                      <a:pt x="289" y="215"/>
                      <a:pt x="289" y="215"/>
                    </a:cubicBezTo>
                    <a:cubicBezTo>
                      <a:pt x="289" y="215"/>
                      <a:pt x="354" y="259"/>
                      <a:pt x="434" y="252"/>
                    </a:cubicBezTo>
                    <a:cubicBezTo>
                      <a:pt x="514" y="244"/>
                      <a:pt x="559" y="185"/>
                      <a:pt x="559" y="185"/>
                    </a:cubicBezTo>
                    <a:cubicBezTo>
                      <a:pt x="559" y="185"/>
                      <a:pt x="495" y="217"/>
                      <a:pt x="433" y="218"/>
                    </a:cubicBezTo>
                    <a:cubicBezTo>
                      <a:pt x="370" y="219"/>
                      <a:pt x="353" y="192"/>
                      <a:pt x="353" y="192"/>
                    </a:cubicBezTo>
                    <a:cubicBezTo>
                      <a:pt x="353" y="192"/>
                      <a:pt x="366" y="182"/>
                      <a:pt x="361" y="156"/>
                    </a:cubicBezTo>
                    <a:cubicBezTo>
                      <a:pt x="356" y="130"/>
                      <a:pt x="314" y="76"/>
                      <a:pt x="219" y="38"/>
                    </a:cubicBezTo>
                    <a:cubicBezTo>
                      <a:pt x="125" y="0"/>
                      <a:pt x="0" y="24"/>
                      <a:pt x="0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6" name="Freeform 13">
                <a:extLst>
                  <a:ext uri="{FF2B5EF4-FFF2-40B4-BE49-F238E27FC236}">
                    <a16:creationId xmlns:a16="http://schemas.microsoft.com/office/drawing/2014/main" id="{05C04CBD-2D13-44DC-D9A6-2DB749FFF0D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17714" y="3791036"/>
                <a:ext cx="193653" cy="110401"/>
              </a:xfrm>
              <a:custGeom>
                <a:avLst/>
                <a:gdLst>
                  <a:gd name="T0" fmla="*/ 374 w 471"/>
                  <a:gd name="T1" fmla="*/ 105 h 265"/>
                  <a:gd name="T2" fmla="*/ 301 w 471"/>
                  <a:gd name="T3" fmla="*/ 72 h 265"/>
                  <a:gd name="T4" fmla="*/ 211 w 471"/>
                  <a:gd name="T5" fmla="*/ 114 h 265"/>
                  <a:gd name="T6" fmla="*/ 125 w 471"/>
                  <a:gd name="T7" fmla="*/ 165 h 265"/>
                  <a:gd name="T8" fmla="*/ 83 w 471"/>
                  <a:gd name="T9" fmla="*/ 137 h 265"/>
                  <a:gd name="T10" fmla="*/ 73 w 471"/>
                  <a:gd name="T11" fmla="*/ 166 h 265"/>
                  <a:gd name="T12" fmla="*/ 72 w 471"/>
                  <a:gd name="T13" fmla="*/ 189 h 265"/>
                  <a:gd name="T14" fmla="*/ 35 w 471"/>
                  <a:gd name="T15" fmla="*/ 148 h 265"/>
                  <a:gd name="T16" fmla="*/ 53 w 471"/>
                  <a:gd name="T17" fmla="*/ 100 h 265"/>
                  <a:gd name="T18" fmla="*/ 33 w 471"/>
                  <a:gd name="T19" fmla="*/ 61 h 265"/>
                  <a:gd name="T20" fmla="*/ 80 w 471"/>
                  <a:gd name="T21" fmla="*/ 0 h 265"/>
                  <a:gd name="T22" fmla="*/ 27 w 471"/>
                  <a:gd name="T23" fmla="*/ 24 h 265"/>
                  <a:gd name="T24" fmla="*/ 3 w 471"/>
                  <a:gd name="T25" fmla="*/ 69 h 265"/>
                  <a:gd name="T26" fmla="*/ 21 w 471"/>
                  <a:gd name="T27" fmla="*/ 111 h 265"/>
                  <a:gd name="T28" fmla="*/ 5 w 471"/>
                  <a:gd name="T29" fmla="*/ 144 h 265"/>
                  <a:gd name="T30" fmla="*/ 16 w 471"/>
                  <a:gd name="T31" fmla="*/ 183 h 265"/>
                  <a:gd name="T32" fmla="*/ 49 w 471"/>
                  <a:gd name="T33" fmla="*/ 217 h 265"/>
                  <a:gd name="T34" fmla="*/ 62 w 471"/>
                  <a:gd name="T35" fmla="*/ 225 h 265"/>
                  <a:gd name="T36" fmla="*/ 62 w 471"/>
                  <a:gd name="T37" fmla="*/ 242 h 265"/>
                  <a:gd name="T38" fmla="*/ 86 w 471"/>
                  <a:gd name="T39" fmla="*/ 264 h 265"/>
                  <a:gd name="T40" fmla="*/ 118 w 471"/>
                  <a:gd name="T41" fmla="*/ 244 h 265"/>
                  <a:gd name="T42" fmla="*/ 132 w 471"/>
                  <a:gd name="T43" fmla="*/ 196 h 265"/>
                  <a:gd name="T44" fmla="*/ 235 w 471"/>
                  <a:gd name="T45" fmla="*/ 144 h 265"/>
                  <a:gd name="T46" fmla="*/ 282 w 471"/>
                  <a:gd name="T47" fmla="*/ 116 h 265"/>
                  <a:gd name="T48" fmla="*/ 373 w 471"/>
                  <a:gd name="T49" fmla="*/ 136 h 265"/>
                  <a:gd name="T50" fmla="*/ 471 w 471"/>
                  <a:gd name="T51" fmla="*/ 112 h 265"/>
                  <a:gd name="T52" fmla="*/ 374 w 471"/>
                  <a:gd name="T53" fmla="*/ 105 h 265"/>
                  <a:gd name="T54" fmla="*/ 79 w 471"/>
                  <a:gd name="T55" fmla="*/ 240 h 265"/>
                  <a:gd name="T56" fmla="*/ 109 w 471"/>
                  <a:gd name="T57" fmla="*/ 213 h 265"/>
                  <a:gd name="T58" fmla="*/ 79 w 471"/>
                  <a:gd name="T59" fmla="*/ 24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71" h="265">
                    <a:moveTo>
                      <a:pt x="374" y="105"/>
                    </a:moveTo>
                    <a:cubicBezTo>
                      <a:pt x="351" y="100"/>
                      <a:pt x="301" y="72"/>
                      <a:pt x="301" y="72"/>
                    </a:cubicBezTo>
                    <a:cubicBezTo>
                      <a:pt x="301" y="72"/>
                      <a:pt x="227" y="105"/>
                      <a:pt x="211" y="114"/>
                    </a:cubicBezTo>
                    <a:cubicBezTo>
                      <a:pt x="195" y="123"/>
                      <a:pt x="136" y="164"/>
                      <a:pt x="125" y="165"/>
                    </a:cubicBezTo>
                    <a:cubicBezTo>
                      <a:pt x="114" y="166"/>
                      <a:pt x="83" y="137"/>
                      <a:pt x="83" y="137"/>
                    </a:cubicBezTo>
                    <a:cubicBezTo>
                      <a:pt x="83" y="137"/>
                      <a:pt x="71" y="160"/>
                      <a:pt x="73" y="166"/>
                    </a:cubicBezTo>
                    <a:cubicBezTo>
                      <a:pt x="74" y="172"/>
                      <a:pt x="85" y="182"/>
                      <a:pt x="72" y="189"/>
                    </a:cubicBezTo>
                    <a:cubicBezTo>
                      <a:pt x="57" y="198"/>
                      <a:pt x="35" y="163"/>
                      <a:pt x="35" y="148"/>
                    </a:cubicBezTo>
                    <a:cubicBezTo>
                      <a:pt x="35" y="133"/>
                      <a:pt x="55" y="115"/>
                      <a:pt x="53" y="100"/>
                    </a:cubicBezTo>
                    <a:cubicBezTo>
                      <a:pt x="51" y="85"/>
                      <a:pt x="35" y="80"/>
                      <a:pt x="33" y="61"/>
                    </a:cubicBezTo>
                    <a:cubicBezTo>
                      <a:pt x="31" y="43"/>
                      <a:pt x="80" y="0"/>
                      <a:pt x="80" y="0"/>
                    </a:cubicBezTo>
                    <a:cubicBezTo>
                      <a:pt x="80" y="0"/>
                      <a:pt x="45" y="7"/>
                      <a:pt x="27" y="24"/>
                    </a:cubicBezTo>
                    <a:cubicBezTo>
                      <a:pt x="10" y="40"/>
                      <a:pt x="4" y="55"/>
                      <a:pt x="3" y="69"/>
                    </a:cubicBezTo>
                    <a:cubicBezTo>
                      <a:pt x="2" y="84"/>
                      <a:pt x="21" y="98"/>
                      <a:pt x="21" y="111"/>
                    </a:cubicBezTo>
                    <a:cubicBezTo>
                      <a:pt x="21" y="121"/>
                      <a:pt x="10" y="127"/>
                      <a:pt x="5" y="144"/>
                    </a:cubicBezTo>
                    <a:cubicBezTo>
                      <a:pt x="0" y="160"/>
                      <a:pt x="11" y="176"/>
                      <a:pt x="16" y="183"/>
                    </a:cubicBezTo>
                    <a:cubicBezTo>
                      <a:pt x="22" y="191"/>
                      <a:pt x="40" y="209"/>
                      <a:pt x="49" y="217"/>
                    </a:cubicBezTo>
                    <a:cubicBezTo>
                      <a:pt x="58" y="224"/>
                      <a:pt x="62" y="225"/>
                      <a:pt x="62" y="225"/>
                    </a:cubicBezTo>
                    <a:cubicBezTo>
                      <a:pt x="62" y="225"/>
                      <a:pt x="61" y="234"/>
                      <a:pt x="62" y="242"/>
                    </a:cubicBezTo>
                    <a:cubicBezTo>
                      <a:pt x="63" y="251"/>
                      <a:pt x="70" y="265"/>
                      <a:pt x="86" y="264"/>
                    </a:cubicBezTo>
                    <a:cubicBezTo>
                      <a:pt x="100" y="263"/>
                      <a:pt x="109" y="256"/>
                      <a:pt x="118" y="244"/>
                    </a:cubicBezTo>
                    <a:cubicBezTo>
                      <a:pt x="129" y="231"/>
                      <a:pt x="132" y="196"/>
                      <a:pt x="132" y="196"/>
                    </a:cubicBezTo>
                    <a:cubicBezTo>
                      <a:pt x="132" y="196"/>
                      <a:pt x="205" y="158"/>
                      <a:pt x="235" y="144"/>
                    </a:cubicBezTo>
                    <a:cubicBezTo>
                      <a:pt x="264" y="129"/>
                      <a:pt x="282" y="116"/>
                      <a:pt x="282" y="116"/>
                    </a:cubicBezTo>
                    <a:cubicBezTo>
                      <a:pt x="282" y="116"/>
                      <a:pt x="321" y="134"/>
                      <a:pt x="373" y="136"/>
                    </a:cubicBezTo>
                    <a:cubicBezTo>
                      <a:pt x="425" y="138"/>
                      <a:pt x="471" y="112"/>
                      <a:pt x="471" y="112"/>
                    </a:cubicBezTo>
                    <a:cubicBezTo>
                      <a:pt x="471" y="112"/>
                      <a:pt x="398" y="110"/>
                      <a:pt x="374" y="105"/>
                    </a:cubicBezTo>
                    <a:close/>
                    <a:moveTo>
                      <a:pt x="79" y="240"/>
                    </a:moveTo>
                    <a:cubicBezTo>
                      <a:pt x="68" y="225"/>
                      <a:pt x="100" y="199"/>
                      <a:pt x="109" y="213"/>
                    </a:cubicBezTo>
                    <a:cubicBezTo>
                      <a:pt x="116" y="227"/>
                      <a:pt x="89" y="252"/>
                      <a:pt x="79" y="2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7" name="Freeform 14">
                <a:extLst>
                  <a:ext uri="{FF2B5EF4-FFF2-40B4-BE49-F238E27FC236}">
                    <a16:creationId xmlns:a16="http://schemas.microsoft.com/office/drawing/2014/main" id="{BEF45F41-C2D3-A392-ED49-889C3D39E5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918" y="3810944"/>
                <a:ext cx="10859" cy="19909"/>
              </a:xfrm>
              <a:custGeom>
                <a:avLst/>
                <a:gdLst>
                  <a:gd name="T0" fmla="*/ 0 w 29"/>
                  <a:gd name="T1" fmla="*/ 0 h 50"/>
                  <a:gd name="T2" fmla="*/ 29 w 29"/>
                  <a:gd name="T3" fmla="*/ 36 h 50"/>
                  <a:gd name="T4" fmla="*/ 9 w 29"/>
                  <a:gd name="T5" fmla="*/ 44 h 50"/>
                  <a:gd name="T6" fmla="*/ 9 w 29"/>
                  <a:gd name="T7" fmla="*/ 27 h 50"/>
                  <a:gd name="T8" fmla="*/ 6 w 29"/>
                  <a:gd name="T9" fmla="*/ 15 h 50"/>
                  <a:gd name="T10" fmla="*/ 0 w 29"/>
                  <a:gd name="T1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50">
                    <a:moveTo>
                      <a:pt x="0" y="0"/>
                    </a:moveTo>
                    <a:cubicBezTo>
                      <a:pt x="13" y="20"/>
                      <a:pt x="29" y="23"/>
                      <a:pt x="29" y="36"/>
                    </a:cubicBezTo>
                    <a:cubicBezTo>
                      <a:pt x="28" y="43"/>
                      <a:pt x="17" y="50"/>
                      <a:pt x="9" y="44"/>
                    </a:cubicBezTo>
                    <a:cubicBezTo>
                      <a:pt x="0" y="38"/>
                      <a:pt x="9" y="27"/>
                      <a:pt x="9" y="27"/>
                    </a:cubicBezTo>
                    <a:cubicBezTo>
                      <a:pt x="9" y="27"/>
                      <a:pt x="9" y="23"/>
                      <a:pt x="6" y="15"/>
                    </a:cubicBezTo>
                    <a:cubicBezTo>
                      <a:pt x="3" y="6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" name="Freeform 15">
                <a:extLst>
                  <a:ext uri="{FF2B5EF4-FFF2-40B4-BE49-F238E27FC236}">
                    <a16:creationId xmlns:a16="http://schemas.microsoft.com/office/drawing/2014/main" id="{A02BFDA0-1B15-0431-DB87-BA83D106D0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8449" y="3991928"/>
                <a:ext cx="175555" cy="128499"/>
              </a:xfrm>
              <a:custGeom>
                <a:avLst/>
                <a:gdLst>
                  <a:gd name="T0" fmla="*/ 131 w 427"/>
                  <a:gd name="T1" fmla="*/ 32 h 315"/>
                  <a:gd name="T2" fmla="*/ 58 w 427"/>
                  <a:gd name="T3" fmla="*/ 32 h 315"/>
                  <a:gd name="T4" fmla="*/ 0 w 427"/>
                  <a:gd name="T5" fmla="*/ 315 h 315"/>
                  <a:gd name="T6" fmla="*/ 74 w 427"/>
                  <a:gd name="T7" fmla="*/ 315 h 315"/>
                  <a:gd name="T8" fmla="*/ 113 w 427"/>
                  <a:gd name="T9" fmla="*/ 122 h 315"/>
                  <a:gd name="T10" fmla="*/ 173 w 427"/>
                  <a:gd name="T11" fmla="*/ 101 h 315"/>
                  <a:gd name="T12" fmla="*/ 191 w 427"/>
                  <a:gd name="T13" fmla="*/ 121 h 315"/>
                  <a:gd name="T14" fmla="*/ 149 w 427"/>
                  <a:gd name="T15" fmla="*/ 313 h 315"/>
                  <a:gd name="T16" fmla="*/ 224 w 427"/>
                  <a:gd name="T17" fmla="*/ 313 h 315"/>
                  <a:gd name="T18" fmla="*/ 265 w 427"/>
                  <a:gd name="T19" fmla="*/ 127 h 315"/>
                  <a:gd name="T20" fmla="*/ 329 w 427"/>
                  <a:gd name="T21" fmla="*/ 103 h 315"/>
                  <a:gd name="T22" fmla="*/ 340 w 427"/>
                  <a:gd name="T23" fmla="*/ 127 h 315"/>
                  <a:gd name="T24" fmla="*/ 300 w 427"/>
                  <a:gd name="T25" fmla="*/ 313 h 315"/>
                  <a:gd name="T26" fmla="*/ 375 w 427"/>
                  <a:gd name="T27" fmla="*/ 313 h 315"/>
                  <a:gd name="T28" fmla="*/ 417 w 427"/>
                  <a:gd name="T29" fmla="*/ 106 h 315"/>
                  <a:gd name="T30" fmla="*/ 401 w 427"/>
                  <a:gd name="T31" fmla="*/ 45 h 315"/>
                  <a:gd name="T32" fmla="*/ 254 w 427"/>
                  <a:gd name="T33" fmla="*/ 58 h 315"/>
                  <a:gd name="T34" fmla="*/ 195 w 427"/>
                  <a:gd name="T35" fmla="*/ 28 h 315"/>
                  <a:gd name="T36" fmla="*/ 129 w 427"/>
                  <a:gd name="T37" fmla="*/ 49 h 315"/>
                  <a:gd name="T38" fmla="*/ 131 w 427"/>
                  <a:gd name="T39" fmla="*/ 3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7" h="315">
                    <a:moveTo>
                      <a:pt x="131" y="32"/>
                    </a:moveTo>
                    <a:lnTo>
                      <a:pt x="58" y="32"/>
                    </a:lnTo>
                    <a:lnTo>
                      <a:pt x="0" y="315"/>
                    </a:lnTo>
                    <a:lnTo>
                      <a:pt x="74" y="315"/>
                    </a:lnTo>
                    <a:lnTo>
                      <a:pt x="113" y="122"/>
                    </a:lnTo>
                    <a:cubicBezTo>
                      <a:pt x="139" y="110"/>
                      <a:pt x="142" y="101"/>
                      <a:pt x="173" y="101"/>
                    </a:cubicBezTo>
                    <a:cubicBezTo>
                      <a:pt x="197" y="101"/>
                      <a:pt x="191" y="121"/>
                      <a:pt x="191" y="121"/>
                    </a:cubicBezTo>
                    <a:lnTo>
                      <a:pt x="149" y="313"/>
                    </a:lnTo>
                    <a:lnTo>
                      <a:pt x="224" y="313"/>
                    </a:lnTo>
                    <a:lnTo>
                      <a:pt x="265" y="127"/>
                    </a:lnTo>
                    <a:cubicBezTo>
                      <a:pt x="270" y="121"/>
                      <a:pt x="310" y="101"/>
                      <a:pt x="329" y="103"/>
                    </a:cubicBezTo>
                    <a:cubicBezTo>
                      <a:pt x="347" y="105"/>
                      <a:pt x="340" y="127"/>
                      <a:pt x="340" y="127"/>
                    </a:cubicBezTo>
                    <a:lnTo>
                      <a:pt x="300" y="313"/>
                    </a:lnTo>
                    <a:lnTo>
                      <a:pt x="375" y="313"/>
                    </a:lnTo>
                    <a:lnTo>
                      <a:pt x="417" y="106"/>
                    </a:lnTo>
                    <a:cubicBezTo>
                      <a:pt x="417" y="106"/>
                      <a:pt x="427" y="65"/>
                      <a:pt x="401" y="45"/>
                    </a:cubicBezTo>
                    <a:cubicBezTo>
                      <a:pt x="344" y="0"/>
                      <a:pt x="265" y="57"/>
                      <a:pt x="254" y="58"/>
                    </a:cubicBezTo>
                    <a:cubicBezTo>
                      <a:pt x="252" y="55"/>
                      <a:pt x="237" y="31"/>
                      <a:pt x="195" y="28"/>
                    </a:cubicBezTo>
                    <a:cubicBezTo>
                      <a:pt x="165" y="25"/>
                      <a:pt x="129" y="49"/>
                      <a:pt x="129" y="49"/>
                    </a:cubicBezTo>
                    <a:lnTo>
                      <a:pt x="131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" name="Freeform 16">
                <a:extLst>
                  <a:ext uri="{FF2B5EF4-FFF2-40B4-BE49-F238E27FC236}">
                    <a16:creationId xmlns:a16="http://schemas.microsoft.com/office/drawing/2014/main" id="{014581AC-34E0-A0EA-9A7D-836F65F01A7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04993" y="4055271"/>
                <a:ext cx="57915" cy="76013"/>
              </a:xfrm>
              <a:custGeom>
                <a:avLst/>
                <a:gdLst>
                  <a:gd name="T0" fmla="*/ 32 w 142"/>
                  <a:gd name="T1" fmla="*/ 103 h 184"/>
                  <a:gd name="T2" fmla="*/ 32 w 142"/>
                  <a:gd name="T3" fmla="*/ 159 h 184"/>
                  <a:gd name="T4" fmla="*/ 82 w 142"/>
                  <a:gd name="T5" fmla="*/ 159 h 184"/>
                  <a:gd name="T6" fmla="*/ 110 w 142"/>
                  <a:gd name="T7" fmla="*/ 135 h 184"/>
                  <a:gd name="T8" fmla="*/ 101 w 142"/>
                  <a:gd name="T9" fmla="*/ 115 h 184"/>
                  <a:gd name="T10" fmla="*/ 90 w 142"/>
                  <a:gd name="T11" fmla="*/ 103 h 184"/>
                  <a:gd name="T12" fmla="*/ 32 w 142"/>
                  <a:gd name="T13" fmla="*/ 103 h 184"/>
                  <a:gd name="T14" fmla="*/ 79 w 142"/>
                  <a:gd name="T15" fmla="*/ 24 h 184"/>
                  <a:gd name="T16" fmla="*/ 32 w 142"/>
                  <a:gd name="T17" fmla="*/ 24 h 184"/>
                  <a:gd name="T18" fmla="*/ 32 w 142"/>
                  <a:gd name="T19" fmla="*/ 80 h 184"/>
                  <a:gd name="T20" fmla="*/ 89 w 142"/>
                  <a:gd name="T21" fmla="*/ 80 h 184"/>
                  <a:gd name="T22" fmla="*/ 97 w 142"/>
                  <a:gd name="T23" fmla="*/ 68 h 184"/>
                  <a:gd name="T24" fmla="*/ 104 w 142"/>
                  <a:gd name="T25" fmla="*/ 47 h 184"/>
                  <a:gd name="T26" fmla="*/ 79 w 142"/>
                  <a:gd name="T27" fmla="*/ 24 h 184"/>
                  <a:gd name="T28" fmla="*/ 21 w 142"/>
                  <a:gd name="T29" fmla="*/ 184 h 184"/>
                  <a:gd name="T30" fmla="*/ 0 w 142"/>
                  <a:gd name="T31" fmla="*/ 164 h 184"/>
                  <a:gd name="T32" fmla="*/ 0 w 142"/>
                  <a:gd name="T33" fmla="*/ 20 h 184"/>
                  <a:gd name="T34" fmla="*/ 21 w 142"/>
                  <a:gd name="T35" fmla="*/ 0 h 184"/>
                  <a:gd name="T36" fmla="*/ 83 w 142"/>
                  <a:gd name="T37" fmla="*/ 0 h 184"/>
                  <a:gd name="T38" fmla="*/ 135 w 142"/>
                  <a:gd name="T39" fmla="*/ 46 h 184"/>
                  <a:gd name="T40" fmla="*/ 124 w 142"/>
                  <a:gd name="T41" fmla="*/ 78 h 184"/>
                  <a:gd name="T42" fmla="*/ 115 w 142"/>
                  <a:gd name="T43" fmla="*/ 90 h 184"/>
                  <a:gd name="T44" fmla="*/ 127 w 142"/>
                  <a:gd name="T45" fmla="*/ 102 h 184"/>
                  <a:gd name="T46" fmla="*/ 142 w 142"/>
                  <a:gd name="T47" fmla="*/ 136 h 184"/>
                  <a:gd name="T48" fmla="*/ 84 w 142"/>
                  <a:gd name="T49" fmla="*/ 184 h 184"/>
                  <a:gd name="T50" fmla="*/ 21 w 142"/>
                  <a:gd name="T51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2" h="184">
                    <a:moveTo>
                      <a:pt x="32" y="103"/>
                    </a:moveTo>
                    <a:lnTo>
                      <a:pt x="32" y="159"/>
                    </a:lnTo>
                    <a:lnTo>
                      <a:pt x="82" y="159"/>
                    </a:lnTo>
                    <a:cubicBezTo>
                      <a:pt x="100" y="159"/>
                      <a:pt x="110" y="150"/>
                      <a:pt x="110" y="135"/>
                    </a:cubicBezTo>
                    <a:cubicBezTo>
                      <a:pt x="110" y="128"/>
                      <a:pt x="107" y="121"/>
                      <a:pt x="101" y="115"/>
                    </a:cubicBezTo>
                    <a:lnTo>
                      <a:pt x="90" y="103"/>
                    </a:lnTo>
                    <a:lnTo>
                      <a:pt x="32" y="103"/>
                    </a:lnTo>
                    <a:close/>
                    <a:moveTo>
                      <a:pt x="79" y="24"/>
                    </a:moveTo>
                    <a:lnTo>
                      <a:pt x="32" y="24"/>
                    </a:lnTo>
                    <a:lnTo>
                      <a:pt x="32" y="80"/>
                    </a:lnTo>
                    <a:lnTo>
                      <a:pt x="89" y="80"/>
                    </a:lnTo>
                    <a:lnTo>
                      <a:pt x="97" y="68"/>
                    </a:lnTo>
                    <a:cubicBezTo>
                      <a:pt x="102" y="62"/>
                      <a:pt x="104" y="55"/>
                      <a:pt x="104" y="47"/>
                    </a:cubicBezTo>
                    <a:cubicBezTo>
                      <a:pt x="104" y="34"/>
                      <a:pt x="97" y="24"/>
                      <a:pt x="79" y="24"/>
                    </a:cubicBezTo>
                    <a:close/>
                    <a:moveTo>
                      <a:pt x="21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20"/>
                    </a:lnTo>
                    <a:cubicBezTo>
                      <a:pt x="0" y="8"/>
                      <a:pt x="8" y="0"/>
                      <a:pt x="21" y="0"/>
                    </a:cubicBezTo>
                    <a:lnTo>
                      <a:pt x="83" y="0"/>
                    </a:lnTo>
                    <a:cubicBezTo>
                      <a:pt x="116" y="0"/>
                      <a:pt x="135" y="15"/>
                      <a:pt x="135" y="46"/>
                    </a:cubicBezTo>
                    <a:cubicBezTo>
                      <a:pt x="135" y="58"/>
                      <a:pt x="131" y="69"/>
                      <a:pt x="124" y="78"/>
                    </a:cubicBezTo>
                    <a:lnTo>
                      <a:pt x="115" y="90"/>
                    </a:lnTo>
                    <a:lnTo>
                      <a:pt x="127" y="102"/>
                    </a:lnTo>
                    <a:cubicBezTo>
                      <a:pt x="136" y="111"/>
                      <a:pt x="142" y="123"/>
                      <a:pt x="142" y="136"/>
                    </a:cubicBezTo>
                    <a:cubicBezTo>
                      <a:pt x="142" y="166"/>
                      <a:pt x="121" y="184"/>
                      <a:pt x="84" y="184"/>
                    </a:cubicBezTo>
                    <a:lnTo>
                      <a:pt x="21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17">
                <a:extLst>
                  <a:ext uri="{FF2B5EF4-FFF2-40B4-BE49-F238E27FC236}">
                    <a16:creationId xmlns:a16="http://schemas.microsoft.com/office/drawing/2014/main" id="{69624B74-B9F6-1417-B0E5-39C5B840D9C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71956" y="4075180"/>
                <a:ext cx="52486" cy="56105"/>
              </a:xfrm>
              <a:custGeom>
                <a:avLst/>
                <a:gdLst>
                  <a:gd name="T0" fmla="*/ 65 w 130"/>
                  <a:gd name="T1" fmla="*/ 22 h 138"/>
                  <a:gd name="T2" fmla="*/ 30 w 130"/>
                  <a:gd name="T3" fmla="*/ 69 h 138"/>
                  <a:gd name="T4" fmla="*/ 66 w 130"/>
                  <a:gd name="T5" fmla="*/ 116 h 138"/>
                  <a:gd name="T6" fmla="*/ 102 w 130"/>
                  <a:gd name="T7" fmla="*/ 69 h 138"/>
                  <a:gd name="T8" fmla="*/ 65 w 130"/>
                  <a:gd name="T9" fmla="*/ 22 h 138"/>
                  <a:gd name="T10" fmla="*/ 65 w 130"/>
                  <a:gd name="T11" fmla="*/ 138 h 138"/>
                  <a:gd name="T12" fmla="*/ 0 w 130"/>
                  <a:gd name="T13" fmla="*/ 69 h 138"/>
                  <a:gd name="T14" fmla="*/ 66 w 130"/>
                  <a:gd name="T15" fmla="*/ 0 h 138"/>
                  <a:gd name="T16" fmla="*/ 130 w 130"/>
                  <a:gd name="T17" fmla="*/ 69 h 138"/>
                  <a:gd name="T18" fmla="*/ 65 w 130"/>
                  <a:gd name="T1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8">
                    <a:moveTo>
                      <a:pt x="65" y="22"/>
                    </a:moveTo>
                    <a:cubicBezTo>
                      <a:pt x="41" y="22"/>
                      <a:pt x="30" y="39"/>
                      <a:pt x="30" y="69"/>
                    </a:cubicBezTo>
                    <a:cubicBezTo>
                      <a:pt x="30" y="100"/>
                      <a:pt x="42" y="116"/>
                      <a:pt x="66" y="116"/>
                    </a:cubicBezTo>
                    <a:cubicBezTo>
                      <a:pt x="89" y="116"/>
                      <a:pt x="102" y="100"/>
                      <a:pt x="102" y="69"/>
                    </a:cubicBezTo>
                    <a:cubicBezTo>
                      <a:pt x="102" y="39"/>
                      <a:pt x="88" y="22"/>
                      <a:pt x="65" y="22"/>
                    </a:cubicBezTo>
                    <a:close/>
                    <a:moveTo>
                      <a:pt x="65" y="138"/>
                    </a:moveTo>
                    <a:cubicBezTo>
                      <a:pt x="25" y="138"/>
                      <a:pt x="0" y="113"/>
                      <a:pt x="0" y="69"/>
                    </a:cubicBezTo>
                    <a:cubicBezTo>
                      <a:pt x="0" y="25"/>
                      <a:pt x="26" y="0"/>
                      <a:pt x="66" y="0"/>
                    </a:cubicBezTo>
                    <a:cubicBezTo>
                      <a:pt x="106" y="0"/>
                      <a:pt x="130" y="25"/>
                      <a:pt x="130" y="69"/>
                    </a:cubicBezTo>
                    <a:cubicBezTo>
                      <a:pt x="130" y="113"/>
                      <a:pt x="105" y="138"/>
                      <a:pt x="65" y="1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" name="Freeform 18">
                <a:extLst>
                  <a:ext uri="{FF2B5EF4-FFF2-40B4-BE49-F238E27FC236}">
                    <a16:creationId xmlns:a16="http://schemas.microsoft.com/office/drawing/2014/main" id="{0F401AF3-903D-528B-0D96-E49DFA1508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29871" y="4062511"/>
                <a:ext cx="39816" cy="68774"/>
              </a:xfrm>
              <a:custGeom>
                <a:avLst/>
                <a:gdLst>
                  <a:gd name="T0" fmla="*/ 95 w 95"/>
                  <a:gd name="T1" fmla="*/ 165 h 170"/>
                  <a:gd name="T2" fmla="*/ 63 w 95"/>
                  <a:gd name="T3" fmla="*/ 170 h 170"/>
                  <a:gd name="T4" fmla="*/ 20 w 95"/>
                  <a:gd name="T5" fmla="*/ 123 h 170"/>
                  <a:gd name="T6" fmla="*/ 20 w 95"/>
                  <a:gd name="T7" fmla="*/ 58 h 170"/>
                  <a:gd name="T8" fmla="*/ 0 w 95"/>
                  <a:gd name="T9" fmla="*/ 58 h 170"/>
                  <a:gd name="T10" fmla="*/ 0 w 95"/>
                  <a:gd name="T11" fmla="*/ 35 h 170"/>
                  <a:gd name="T12" fmla="*/ 20 w 95"/>
                  <a:gd name="T13" fmla="*/ 35 h 170"/>
                  <a:gd name="T14" fmla="*/ 20 w 95"/>
                  <a:gd name="T15" fmla="*/ 5 h 170"/>
                  <a:gd name="T16" fmla="*/ 48 w 95"/>
                  <a:gd name="T17" fmla="*/ 0 h 170"/>
                  <a:gd name="T18" fmla="*/ 48 w 95"/>
                  <a:gd name="T19" fmla="*/ 35 h 170"/>
                  <a:gd name="T20" fmla="*/ 91 w 95"/>
                  <a:gd name="T21" fmla="*/ 35 h 170"/>
                  <a:gd name="T22" fmla="*/ 91 w 95"/>
                  <a:gd name="T23" fmla="*/ 58 h 170"/>
                  <a:gd name="T24" fmla="*/ 48 w 95"/>
                  <a:gd name="T25" fmla="*/ 58 h 170"/>
                  <a:gd name="T26" fmla="*/ 48 w 95"/>
                  <a:gd name="T27" fmla="*/ 124 h 170"/>
                  <a:gd name="T28" fmla="*/ 67 w 95"/>
                  <a:gd name="T29" fmla="*/ 147 h 170"/>
                  <a:gd name="T30" fmla="*/ 91 w 95"/>
                  <a:gd name="T31" fmla="*/ 143 h 170"/>
                  <a:gd name="T32" fmla="*/ 95 w 95"/>
                  <a:gd name="T33" fmla="*/ 16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70">
                    <a:moveTo>
                      <a:pt x="95" y="165"/>
                    </a:moveTo>
                    <a:cubicBezTo>
                      <a:pt x="81" y="169"/>
                      <a:pt x="72" y="170"/>
                      <a:pt x="63" y="170"/>
                    </a:cubicBezTo>
                    <a:cubicBezTo>
                      <a:pt x="34" y="170"/>
                      <a:pt x="20" y="154"/>
                      <a:pt x="20" y="123"/>
                    </a:cubicBezTo>
                    <a:lnTo>
                      <a:pt x="20" y="58"/>
                    </a:lnTo>
                    <a:lnTo>
                      <a:pt x="0" y="58"/>
                    </a:lnTo>
                    <a:lnTo>
                      <a:pt x="0" y="35"/>
                    </a:lnTo>
                    <a:lnTo>
                      <a:pt x="20" y="35"/>
                    </a:lnTo>
                    <a:lnTo>
                      <a:pt x="20" y="5"/>
                    </a:lnTo>
                    <a:lnTo>
                      <a:pt x="48" y="0"/>
                    </a:lnTo>
                    <a:lnTo>
                      <a:pt x="48" y="35"/>
                    </a:lnTo>
                    <a:lnTo>
                      <a:pt x="91" y="35"/>
                    </a:lnTo>
                    <a:lnTo>
                      <a:pt x="91" y="58"/>
                    </a:lnTo>
                    <a:lnTo>
                      <a:pt x="48" y="58"/>
                    </a:lnTo>
                    <a:lnTo>
                      <a:pt x="48" y="124"/>
                    </a:lnTo>
                    <a:cubicBezTo>
                      <a:pt x="48" y="138"/>
                      <a:pt x="53" y="147"/>
                      <a:pt x="67" y="147"/>
                    </a:cubicBezTo>
                    <a:cubicBezTo>
                      <a:pt x="73" y="147"/>
                      <a:pt x="81" y="145"/>
                      <a:pt x="91" y="143"/>
                    </a:cubicBezTo>
                    <a:lnTo>
                      <a:pt x="95" y="1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2" name="Freeform 19">
                <a:extLst>
                  <a:ext uri="{FF2B5EF4-FFF2-40B4-BE49-F238E27FC236}">
                    <a16:creationId xmlns:a16="http://schemas.microsoft.com/office/drawing/2014/main" id="{FB920B78-C48E-5437-4452-9042EB0CCB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76927" y="4075180"/>
                <a:ext cx="45246" cy="56105"/>
              </a:xfrm>
              <a:custGeom>
                <a:avLst/>
                <a:gdLst>
                  <a:gd name="T0" fmla="*/ 72 w 110"/>
                  <a:gd name="T1" fmla="*/ 60 h 138"/>
                  <a:gd name="T2" fmla="*/ 110 w 110"/>
                  <a:gd name="T3" fmla="*/ 97 h 138"/>
                  <a:gd name="T4" fmla="*/ 60 w 110"/>
                  <a:gd name="T5" fmla="*/ 138 h 138"/>
                  <a:gd name="T6" fmla="*/ 11 w 110"/>
                  <a:gd name="T7" fmla="*/ 130 h 138"/>
                  <a:gd name="T8" fmla="*/ 0 w 110"/>
                  <a:gd name="T9" fmla="*/ 127 h 138"/>
                  <a:gd name="T10" fmla="*/ 4 w 110"/>
                  <a:gd name="T11" fmla="*/ 104 h 138"/>
                  <a:gd name="T12" fmla="*/ 16 w 110"/>
                  <a:gd name="T13" fmla="*/ 107 h 138"/>
                  <a:gd name="T14" fmla="*/ 59 w 110"/>
                  <a:gd name="T15" fmla="*/ 115 h 138"/>
                  <a:gd name="T16" fmla="*/ 82 w 110"/>
                  <a:gd name="T17" fmla="*/ 98 h 138"/>
                  <a:gd name="T18" fmla="*/ 63 w 110"/>
                  <a:gd name="T19" fmla="*/ 83 h 138"/>
                  <a:gd name="T20" fmla="*/ 38 w 110"/>
                  <a:gd name="T21" fmla="*/ 78 h 138"/>
                  <a:gd name="T22" fmla="*/ 0 w 110"/>
                  <a:gd name="T23" fmla="*/ 41 h 138"/>
                  <a:gd name="T24" fmla="*/ 50 w 110"/>
                  <a:gd name="T25" fmla="*/ 0 h 138"/>
                  <a:gd name="T26" fmla="*/ 99 w 110"/>
                  <a:gd name="T27" fmla="*/ 8 h 138"/>
                  <a:gd name="T28" fmla="*/ 110 w 110"/>
                  <a:gd name="T29" fmla="*/ 12 h 138"/>
                  <a:gd name="T30" fmla="*/ 106 w 110"/>
                  <a:gd name="T31" fmla="*/ 35 h 138"/>
                  <a:gd name="T32" fmla="*/ 94 w 110"/>
                  <a:gd name="T33" fmla="*/ 31 h 138"/>
                  <a:gd name="T34" fmla="*/ 51 w 110"/>
                  <a:gd name="T35" fmla="*/ 23 h 138"/>
                  <a:gd name="T36" fmla="*/ 28 w 110"/>
                  <a:gd name="T37" fmla="*/ 40 h 138"/>
                  <a:gd name="T38" fmla="*/ 47 w 110"/>
                  <a:gd name="T39" fmla="*/ 56 h 138"/>
                  <a:gd name="T40" fmla="*/ 72 w 110"/>
                  <a:gd name="T41" fmla="*/ 6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0" h="138">
                    <a:moveTo>
                      <a:pt x="72" y="60"/>
                    </a:moveTo>
                    <a:cubicBezTo>
                      <a:pt x="96" y="64"/>
                      <a:pt x="110" y="76"/>
                      <a:pt x="110" y="97"/>
                    </a:cubicBezTo>
                    <a:cubicBezTo>
                      <a:pt x="110" y="125"/>
                      <a:pt x="87" y="138"/>
                      <a:pt x="60" y="138"/>
                    </a:cubicBezTo>
                    <a:cubicBezTo>
                      <a:pt x="42" y="138"/>
                      <a:pt x="28" y="136"/>
                      <a:pt x="11" y="130"/>
                    </a:cubicBezTo>
                    <a:lnTo>
                      <a:pt x="0" y="127"/>
                    </a:lnTo>
                    <a:lnTo>
                      <a:pt x="4" y="104"/>
                    </a:lnTo>
                    <a:lnTo>
                      <a:pt x="16" y="107"/>
                    </a:lnTo>
                    <a:cubicBezTo>
                      <a:pt x="30" y="112"/>
                      <a:pt x="45" y="115"/>
                      <a:pt x="59" y="115"/>
                    </a:cubicBezTo>
                    <a:cubicBezTo>
                      <a:pt x="72" y="115"/>
                      <a:pt x="82" y="111"/>
                      <a:pt x="82" y="98"/>
                    </a:cubicBezTo>
                    <a:cubicBezTo>
                      <a:pt x="82" y="90"/>
                      <a:pt x="77" y="85"/>
                      <a:pt x="63" y="83"/>
                    </a:cubicBezTo>
                    <a:lnTo>
                      <a:pt x="38" y="78"/>
                    </a:lnTo>
                    <a:cubicBezTo>
                      <a:pt x="13" y="74"/>
                      <a:pt x="0" y="62"/>
                      <a:pt x="0" y="41"/>
                    </a:cubicBezTo>
                    <a:cubicBezTo>
                      <a:pt x="0" y="14"/>
                      <a:pt x="23" y="0"/>
                      <a:pt x="50" y="0"/>
                    </a:cubicBezTo>
                    <a:cubicBezTo>
                      <a:pt x="68" y="0"/>
                      <a:pt x="82" y="3"/>
                      <a:pt x="99" y="8"/>
                    </a:cubicBezTo>
                    <a:lnTo>
                      <a:pt x="110" y="12"/>
                    </a:lnTo>
                    <a:lnTo>
                      <a:pt x="106" y="35"/>
                    </a:lnTo>
                    <a:lnTo>
                      <a:pt x="94" y="31"/>
                    </a:lnTo>
                    <a:cubicBezTo>
                      <a:pt x="79" y="27"/>
                      <a:pt x="65" y="23"/>
                      <a:pt x="51" y="23"/>
                    </a:cubicBezTo>
                    <a:cubicBezTo>
                      <a:pt x="38" y="23"/>
                      <a:pt x="28" y="28"/>
                      <a:pt x="28" y="40"/>
                    </a:cubicBezTo>
                    <a:cubicBezTo>
                      <a:pt x="28" y="49"/>
                      <a:pt x="33" y="54"/>
                      <a:pt x="47" y="56"/>
                    </a:cubicBezTo>
                    <a:lnTo>
                      <a:pt x="72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" name="Freeform 20">
                <a:extLst>
                  <a:ext uri="{FF2B5EF4-FFF2-40B4-BE49-F238E27FC236}">
                    <a16:creationId xmlns:a16="http://schemas.microsoft.com/office/drawing/2014/main" id="{E39DB31C-E74E-E1A4-0DF5-16427C411D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29413" y="4075180"/>
                <a:ext cx="76013" cy="57915"/>
              </a:xfrm>
              <a:custGeom>
                <a:avLst/>
                <a:gdLst>
                  <a:gd name="T0" fmla="*/ 160 w 186"/>
                  <a:gd name="T1" fmla="*/ 123 h 138"/>
                  <a:gd name="T2" fmla="*/ 140 w 186"/>
                  <a:gd name="T3" fmla="*/ 138 h 138"/>
                  <a:gd name="T4" fmla="*/ 119 w 186"/>
                  <a:gd name="T5" fmla="*/ 124 h 138"/>
                  <a:gd name="T6" fmla="*/ 93 w 186"/>
                  <a:gd name="T7" fmla="*/ 42 h 138"/>
                  <a:gd name="T8" fmla="*/ 66 w 186"/>
                  <a:gd name="T9" fmla="*/ 124 h 138"/>
                  <a:gd name="T10" fmla="*/ 45 w 186"/>
                  <a:gd name="T11" fmla="*/ 138 h 138"/>
                  <a:gd name="T12" fmla="*/ 25 w 186"/>
                  <a:gd name="T13" fmla="*/ 123 h 138"/>
                  <a:gd name="T14" fmla="*/ 0 w 186"/>
                  <a:gd name="T15" fmla="*/ 1 h 138"/>
                  <a:gd name="T16" fmla="*/ 30 w 186"/>
                  <a:gd name="T17" fmla="*/ 1 h 138"/>
                  <a:gd name="T18" fmla="*/ 48 w 186"/>
                  <a:gd name="T19" fmla="*/ 105 h 138"/>
                  <a:gd name="T20" fmla="*/ 77 w 186"/>
                  <a:gd name="T21" fmla="*/ 11 h 138"/>
                  <a:gd name="T22" fmla="*/ 93 w 186"/>
                  <a:gd name="T23" fmla="*/ 0 h 138"/>
                  <a:gd name="T24" fmla="*/ 110 w 186"/>
                  <a:gd name="T25" fmla="*/ 11 h 138"/>
                  <a:gd name="T26" fmla="*/ 139 w 186"/>
                  <a:gd name="T27" fmla="*/ 105 h 138"/>
                  <a:gd name="T28" fmla="*/ 157 w 186"/>
                  <a:gd name="T29" fmla="*/ 1 h 138"/>
                  <a:gd name="T30" fmla="*/ 186 w 186"/>
                  <a:gd name="T31" fmla="*/ 1 h 138"/>
                  <a:gd name="T32" fmla="*/ 160 w 186"/>
                  <a:gd name="T33" fmla="*/ 123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6" h="138">
                    <a:moveTo>
                      <a:pt x="160" y="123"/>
                    </a:moveTo>
                    <a:cubicBezTo>
                      <a:pt x="158" y="132"/>
                      <a:pt x="150" y="138"/>
                      <a:pt x="140" y="138"/>
                    </a:cubicBezTo>
                    <a:cubicBezTo>
                      <a:pt x="127" y="138"/>
                      <a:pt x="122" y="133"/>
                      <a:pt x="119" y="124"/>
                    </a:cubicBezTo>
                    <a:lnTo>
                      <a:pt x="93" y="42"/>
                    </a:lnTo>
                    <a:lnTo>
                      <a:pt x="66" y="124"/>
                    </a:lnTo>
                    <a:cubicBezTo>
                      <a:pt x="63" y="134"/>
                      <a:pt x="56" y="138"/>
                      <a:pt x="45" y="138"/>
                    </a:cubicBezTo>
                    <a:cubicBezTo>
                      <a:pt x="34" y="138"/>
                      <a:pt x="27" y="133"/>
                      <a:pt x="25" y="123"/>
                    </a:cubicBezTo>
                    <a:lnTo>
                      <a:pt x="0" y="1"/>
                    </a:lnTo>
                    <a:lnTo>
                      <a:pt x="30" y="1"/>
                    </a:lnTo>
                    <a:lnTo>
                      <a:pt x="48" y="105"/>
                    </a:lnTo>
                    <a:lnTo>
                      <a:pt x="77" y="11"/>
                    </a:lnTo>
                    <a:cubicBezTo>
                      <a:pt x="79" y="4"/>
                      <a:pt x="85" y="0"/>
                      <a:pt x="93" y="0"/>
                    </a:cubicBezTo>
                    <a:cubicBezTo>
                      <a:pt x="102" y="0"/>
                      <a:pt x="107" y="4"/>
                      <a:pt x="110" y="11"/>
                    </a:cubicBezTo>
                    <a:lnTo>
                      <a:pt x="139" y="105"/>
                    </a:lnTo>
                    <a:lnTo>
                      <a:pt x="157" y="1"/>
                    </a:lnTo>
                    <a:lnTo>
                      <a:pt x="186" y="1"/>
                    </a:lnTo>
                    <a:lnTo>
                      <a:pt x="160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" name="Freeform 21">
                <a:extLst>
                  <a:ext uri="{FF2B5EF4-FFF2-40B4-BE49-F238E27FC236}">
                    <a16:creationId xmlns:a16="http://schemas.microsoft.com/office/drawing/2014/main" id="{C221F4F9-83AE-4628-04E4-42938127B44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10855" y="4075180"/>
                <a:ext cx="54295" cy="57915"/>
              </a:xfrm>
              <a:custGeom>
                <a:avLst/>
                <a:gdLst>
                  <a:gd name="T0" fmla="*/ 90 w 132"/>
                  <a:gd name="T1" fmla="*/ 79 h 139"/>
                  <a:gd name="T2" fmla="*/ 57 w 132"/>
                  <a:gd name="T3" fmla="*/ 79 h 139"/>
                  <a:gd name="T4" fmla="*/ 29 w 132"/>
                  <a:gd name="T5" fmla="*/ 99 h 139"/>
                  <a:gd name="T6" fmla="*/ 52 w 132"/>
                  <a:gd name="T7" fmla="*/ 117 h 139"/>
                  <a:gd name="T8" fmla="*/ 78 w 132"/>
                  <a:gd name="T9" fmla="*/ 113 h 139"/>
                  <a:gd name="T10" fmla="*/ 90 w 132"/>
                  <a:gd name="T11" fmla="*/ 110 h 139"/>
                  <a:gd name="T12" fmla="*/ 90 w 132"/>
                  <a:gd name="T13" fmla="*/ 79 h 139"/>
                  <a:gd name="T14" fmla="*/ 122 w 132"/>
                  <a:gd name="T15" fmla="*/ 139 h 139"/>
                  <a:gd name="T16" fmla="*/ 110 w 132"/>
                  <a:gd name="T17" fmla="*/ 133 h 139"/>
                  <a:gd name="T18" fmla="*/ 91 w 132"/>
                  <a:gd name="T19" fmla="*/ 131 h 139"/>
                  <a:gd name="T20" fmla="*/ 82 w 132"/>
                  <a:gd name="T21" fmla="*/ 133 h 139"/>
                  <a:gd name="T22" fmla="*/ 47 w 132"/>
                  <a:gd name="T23" fmla="*/ 138 h 139"/>
                  <a:gd name="T24" fmla="*/ 0 w 132"/>
                  <a:gd name="T25" fmla="*/ 100 h 139"/>
                  <a:gd name="T26" fmla="*/ 61 w 132"/>
                  <a:gd name="T27" fmla="*/ 58 h 139"/>
                  <a:gd name="T28" fmla="*/ 90 w 132"/>
                  <a:gd name="T29" fmla="*/ 58 h 139"/>
                  <a:gd name="T30" fmla="*/ 90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7 w 132"/>
                  <a:gd name="T45" fmla="*/ 46 h 139"/>
                  <a:gd name="T46" fmla="*/ 117 w 132"/>
                  <a:gd name="T47" fmla="*/ 111 h 139"/>
                  <a:gd name="T48" fmla="*/ 132 w 132"/>
                  <a:gd name="T49" fmla="*/ 120 h 139"/>
                  <a:gd name="T50" fmla="*/ 122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90" y="79"/>
                    </a:moveTo>
                    <a:lnTo>
                      <a:pt x="57" y="79"/>
                    </a:lnTo>
                    <a:cubicBezTo>
                      <a:pt x="39" y="79"/>
                      <a:pt x="29" y="84"/>
                      <a:pt x="29" y="99"/>
                    </a:cubicBezTo>
                    <a:cubicBezTo>
                      <a:pt x="29" y="111"/>
                      <a:pt x="37" y="117"/>
                      <a:pt x="52" y="117"/>
                    </a:cubicBezTo>
                    <a:cubicBezTo>
                      <a:pt x="58" y="117"/>
                      <a:pt x="68" y="115"/>
                      <a:pt x="78" y="113"/>
                    </a:cubicBezTo>
                    <a:lnTo>
                      <a:pt x="90" y="110"/>
                    </a:lnTo>
                    <a:lnTo>
                      <a:pt x="90" y="79"/>
                    </a:lnTo>
                    <a:close/>
                    <a:moveTo>
                      <a:pt x="122" y="139"/>
                    </a:moveTo>
                    <a:lnTo>
                      <a:pt x="110" y="133"/>
                    </a:lnTo>
                    <a:cubicBezTo>
                      <a:pt x="104" y="130"/>
                      <a:pt x="98" y="129"/>
                      <a:pt x="91" y="131"/>
                    </a:cubicBezTo>
                    <a:lnTo>
                      <a:pt x="82" y="133"/>
                    </a:lnTo>
                    <a:cubicBezTo>
                      <a:pt x="71" y="136"/>
                      <a:pt x="57" y="138"/>
                      <a:pt x="47" y="138"/>
                    </a:cubicBezTo>
                    <a:cubicBezTo>
                      <a:pt x="18" y="138"/>
                      <a:pt x="0" y="124"/>
                      <a:pt x="0" y="100"/>
                    </a:cubicBezTo>
                    <a:cubicBezTo>
                      <a:pt x="0" y="66"/>
                      <a:pt x="29" y="58"/>
                      <a:pt x="61" y="58"/>
                    </a:cubicBezTo>
                    <a:lnTo>
                      <a:pt x="90" y="58"/>
                    </a:lnTo>
                    <a:lnTo>
                      <a:pt x="90" y="47"/>
                    </a:lnTo>
                    <a:cubicBezTo>
                      <a:pt x="90" y="30"/>
                      <a:pt x="79" y="24"/>
                      <a:pt x="63" y="24"/>
                    </a:cubicBezTo>
                    <a:cubicBezTo>
                      <a:pt x="52" y="24"/>
                      <a:pt x="37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5" y="3"/>
                      <a:pt x="50" y="0"/>
                      <a:pt x="65" y="0"/>
                    </a:cubicBezTo>
                    <a:cubicBezTo>
                      <a:pt x="95" y="0"/>
                      <a:pt x="117" y="13"/>
                      <a:pt x="117" y="46"/>
                    </a:cubicBezTo>
                    <a:lnTo>
                      <a:pt x="117" y="111"/>
                    </a:lnTo>
                    <a:lnTo>
                      <a:pt x="132" y="120"/>
                    </a:lnTo>
                    <a:lnTo>
                      <a:pt x="122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5" name="Freeform 22">
                <a:extLst>
                  <a:ext uri="{FF2B5EF4-FFF2-40B4-BE49-F238E27FC236}">
                    <a16:creationId xmlns:a16="http://schemas.microsoft.com/office/drawing/2014/main" id="{4062CD09-5F87-D0B3-2F52-A58BF33486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4199" y="4075180"/>
                <a:ext cx="45246" cy="56105"/>
              </a:xfrm>
              <a:custGeom>
                <a:avLst/>
                <a:gdLst>
                  <a:gd name="T0" fmla="*/ 28 w 113"/>
                  <a:gd name="T1" fmla="*/ 136 h 136"/>
                  <a:gd name="T2" fmla="*/ 0 w 113"/>
                  <a:gd name="T3" fmla="*/ 136 h 136"/>
                  <a:gd name="T4" fmla="*/ 0 w 113"/>
                  <a:gd name="T5" fmla="*/ 26 h 136"/>
                  <a:gd name="T6" fmla="*/ 16 w 113"/>
                  <a:gd name="T7" fmla="*/ 6 h 136"/>
                  <a:gd name="T8" fmla="*/ 59 w 113"/>
                  <a:gd name="T9" fmla="*/ 0 h 136"/>
                  <a:gd name="T10" fmla="*/ 113 w 113"/>
                  <a:gd name="T11" fmla="*/ 48 h 136"/>
                  <a:gd name="T12" fmla="*/ 113 w 113"/>
                  <a:gd name="T13" fmla="*/ 136 h 136"/>
                  <a:gd name="T14" fmla="*/ 84 w 113"/>
                  <a:gd name="T15" fmla="*/ 136 h 136"/>
                  <a:gd name="T16" fmla="*/ 84 w 113"/>
                  <a:gd name="T17" fmla="*/ 51 h 136"/>
                  <a:gd name="T18" fmla="*/ 58 w 113"/>
                  <a:gd name="T19" fmla="*/ 24 h 136"/>
                  <a:gd name="T20" fmla="*/ 28 w 113"/>
                  <a:gd name="T21" fmla="*/ 29 h 136"/>
                  <a:gd name="T22" fmla="*/ 28 w 113"/>
                  <a:gd name="T2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3" h="136">
                    <a:moveTo>
                      <a:pt x="28" y="136"/>
                    </a:moveTo>
                    <a:lnTo>
                      <a:pt x="0" y="136"/>
                    </a:lnTo>
                    <a:lnTo>
                      <a:pt x="0" y="26"/>
                    </a:lnTo>
                    <a:cubicBezTo>
                      <a:pt x="0" y="15"/>
                      <a:pt x="5" y="9"/>
                      <a:pt x="16" y="6"/>
                    </a:cubicBezTo>
                    <a:cubicBezTo>
                      <a:pt x="36" y="1"/>
                      <a:pt x="49" y="0"/>
                      <a:pt x="59" y="0"/>
                    </a:cubicBezTo>
                    <a:cubicBezTo>
                      <a:pt x="98" y="0"/>
                      <a:pt x="113" y="20"/>
                      <a:pt x="113" y="48"/>
                    </a:cubicBezTo>
                    <a:lnTo>
                      <a:pt x="113" y="136"/>
                    </a:lnTo>
                    <a:lnTo>
                      <a:pt x="84" y="136"/>
                    </a:lnTo>
                    <a:lnTo>
                      <a:pt x="84" y="51"/>
                    </a:lnTo>
                    <a:cubicBezTo>
                      <a:pt x="84" y="36"/>
                      <a:pt x="78" y="24"/>
                      <a:pt x="58" y="24"/>
                    </a:cubicBezTo>
                    <a:cubicBezTo>
                      <a:pt x="51" y="24"/>
                      <a:pt x="44" y="25"/>
                      <a:pt x="28" y="29"/>
                    </a:cubicBezTo>
                    <a:lnTo>
                      <a:pt x="2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6" name="Freeform 23">
                <a:extLst>
                  <a:ext uri="{FF2B5EF4-FFF2-40B4-BE49-F238E27FC236}">
                    <a16:creationId xmlns:a16="http://schemas.microsoft.com/office/drawing/2014/main" id="{0E777941-0ADC-82CE-74EA-1C3B2211F46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30304" y="4075180"/>
                <a:ext cx="54295" cy="57915"/>
              </a:xfrm>
              <a:custGeom>
                <a:avLst/>
                <a:gdLst>
                  <a:gd name="T0" fmla="*/ 89 w 132"/>
                  <a:gd name="T1" fmla="*/ 79 h 139"/>
                  <a:gd name="T2" fmla="*/ 56 w 132"/>
                  <a:gd name="T3" fmla="*/ 79 h 139"/>
                  <a:gd name="T4" fmla="*/ 28 w 132"/>
                  <a:gd name="T5" fmla="*/ 99 h 139"/>
                  <a:gd name="T6" fmla="*/ 51 w 132"/>
                  <a:gd name="T7" fmla="*/ 117 h 139"/>
                  <a:gd name="T8" fmla="*/ 77 w 132"/>
                  <a:gd name="T9" fmla="*/ 113 h 139"/>
                  <a:gd name="T10" fmla="*/ 89 w 132"/>
                  <a:gd name="T11" fmla="*/ 110 h 139"/>
                  <a:gd name="T12" fmla="*/ 89 w 132"/>
                  <a:gd name="T13" fmla="*/ 79 h 139"/>
                  <a:gd name="T14" fmla="*/ 121 w 132"/>
                  <a:gd name="T15" fmla="*/ 139 h 139"/>
                  <a:gd name="T16" fmla="*/ 109 w 132"/>
                  <a:gd name="T17" fmla="*/ 133 h 139"/>
                  <a:gd name="T18" fmla="*/ 90 w 132"/>
                  <a:gd name="T19" fmla="*/ 131 h 139"/>
                  <a:gd name="T20" fmla="*/ 82 w 132"/>
                  <a:gd name="T21" fmla="*/ 133 h 139"/>
                  <a:gd name="T22" fmla="*/ 46 w 132"/>
                  <a:gd name="T23" fmla="*/ 138 h 139"/>
                  <a:gd name="T24" fmla="*/ 0 w 132"/>
                  <a:gd name="T25" fmla="*/ 100 h 139"/>
                  <a:gd name="T26" fmla="*/ 60 w 132"/>
                  <a:gd name="T27" fmla="*/ 58 h 139"/>
                  <a:gd name="T28" fmla="*/ 89 w 132"/>
                  <a:gd name="T29" fmla="*/ 58 h 139"/>
                  <a:gd name="T30" fmla="*/ 89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6 w 132"/>
                  <a:gd name="T45" fmla="*/ 46 h 139"/>
                  <a:gd name="T46" fmla="*/ 116 w 132"/>
                  <a:gd name="T47" fmla="*/ 111 h 139"/>
                  <a:gd name="T48" fmla="*/ 132 w 132"/>
                  <a:gd name="T49" fmla="*/ 120 h 139"/>
                  <a:gd name="T50" fmla="*/ 121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89" y="79"/>
                    </a:moveTo>
                    <a:lnTo>
                      <a:pt x="56" y="79"/>
                    </a:lnTo>
                    <a:cubicBezTo>
                      <a:pt x="39" y="79"/>
                      <a:pt x="28" y="84"/>
                      <a:pt x="28" y="99"/>
                    </a:cubicBezTo>
                    <a:cubicBezTo>
                      <a:pt x="28" y="111"/>
                      <a:pt x="37" y="117"/>
                      <a:pt x="51" y="117"/>
                    </a:cubicBezTo>
                    <a:cubicBezTo>
                      <a:pt x="58" y="117"/>
                      <a:pt x="67" y="115"/>
                      <a:pt x="77" y="113"/>
                    </a:cubicBezTo>
                    <a:lnTo>
                      <a:pt x="89" y="110"/>
                    </a:lnTo>
                    <a:lnTo>
                      <a:pt x="89" y="79"/>
                    </a:lnTo>
                    <a:close/>
                    <a:moveTo>
                      <a:pt x="121" y="139"/>
                    </a:moveTo>
                    <a:lnTo>
                      <a:pt x="109" y="133"/>
                    </a:lnTo>
                    <a:cubicBezTo>
                      <a:pt x="103" y="130"/>
                      <a:pt x="97" y="129"/>
                      <a:pt x="90" y="131"/>
                    </a:cubicBezTo>
                    <a:lnTo>
                      <a:pt x="82" y="133"/>
                    </a:lnTo>
                    <a:cubicBezTo>
                      <a:pt x="70" y="136"/>
                      <a:pt x="56" y="138"/>
                      <a:pt x="46" y="138"/>
                    </a:cubicBezTo>
                    <a:cubicBezTo>
                      <a:pt x="17" y="138"/>
                      <a:pt x="0" y="124"/>
                      <a:pt x="0" y="100"/>
                    </a:cubicBezTo>
                    <a:cubicBezTo>
                      <a:pt x="0" y="66"/>
                      <a:pt x="28" y="58"/>
                      <a:pt x="60" y="58"/>
                    </a:cubicBezTo>
                    <a:lnTo>
                      <a:pt x="89" y="58"/>
                    </a:lnTo>
                    <a:lnTo>
                      <a:pt x="89" y="47"/>
                    </a:lnTo>
                    <a:cubicBezTo>
                      <a:pt x="89" y="30"/>
                      <a:pt x="78" y="24"/>
                      <a:pt x="63" y="24"/>
                    </a:cubicBezTo>
                    <a:cubicBezTo>
                      <a:pt x="51" y="24"/>
                      <a:pt x="36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4" y="3"/>
                      <a:pt x="50" y="0"/>
                      <a:pt x="65" y="0"/>
                    </a:cubicBezTo>
                    <a:cubicBezTo>
                      <a:pt x="94" y="0"/>
                      <a:pt x="116" y="13"/>
                      <a:pt x="116" y="46"/>
                    </a:cubicBezTo>
                    <a:lnTo>
                      <a:pt x="116" y="111"/>
                    </a:lnTo>
                    <a:lnTo>
                      <a:pt x="132" y="120"/>
                    </a:lnTo>
                    <a:lnTo>
                      <a:pt x="121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7" name="Freeform 24">
                <a:extLst>
                  <a:ext uri="{FF2B5EF4-FFF2-40B4-BE49-F238E27FC236}">
                    <a16:creationId xmlns:a16="http://schemas.microsoft.com/office/drawing/2014/main" id="{75CB649F-54B1-F6A3-A732-30BA69F715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17176" y="4055271"/>
                <a:ext cx="43436" cy="76013"/>
              </a:xfrm>
              <a:custGeom>
                <a:avLst/>
                <a:gdLst>
                  <a:gd name="T0" fmla="*/ 22 w 105"/>
                  <a:gd name="T1" fmla="*/ 184 h 184"/>
                  <a:gd name="T2" fmla="*/ 0 w 105"/>
                  <a:gd name="T3" fmla="*/ 164 h 184"/>
                  <a:gd name="T4" fmla="*/ 0 w 105"/>
                  <a:gd name="T5" fmla="*/ 0 h 184"/>
                  <a:gd name="T6" fmla="*/ 33 w 105"/>
                  <a:gd name="T7" fmla="*/ 0 h 184"/>
                  <a:gd name="T8" fmla="*/ 33 w 105"/>
                  <a:gd name="T9" fmla="*/ 156 h 184"/>
                  <a:gd name="T10" fmla="*/ 105 w 105"/>
                  <a:gd name="T11" fmla="*/ 156 h 184"/>
                  <a:gd name="T12" fmla="*/ 105 w 105"/>
                  <a:gd name="T13" fmla="*/ 184 h 184"/>
                  <a:gd name="T14" fmla="*/ 22 w 105"/>
                  <a:gd name="T15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" h="184">
                    <a:moveTo>
                      <a:pt x="22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0"/>
                    </a:lnTo>
                    <a:lnTo>
                      <a:pt x="33" y="0"/>
                    </a:lnTo>
                    <a:lnTo>
                      <a:pt x="33" y="156"/>
                    </a:lnTo>
                    <a:lnTo>
                      <a:pt x="105" y="156"/>
                    </a:lnTo>
                    <a:lnTo>
                      <a:pt x="105" y="184"/>
                    </a:lnTo>
                    <a:lnTo>
                      <a:pt x="22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8" name="Freeform 25">
                <a:extLst>
                  <a:ext uri="{FF2B5EF4-FFF2-40B4-BE49-F238E27FC236}">
                    <a16:creationId xmlns:a16="http://schemas.microsoft.com/office/drawing/2014/main" id="{DC9A01EB-0B2B-5706-46A0-B807C14F3C7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7851" y="4053462"/>
                <a:ext cx="14479" cy="77823"/>
              </a:xfrm>
              <a:custGeom>
                <a:avLst/>
                <a:gdLst>
                  <a:gd name="T0" fmla="*/ 2 w 34"/>
                  <a:gd name="T1" fmla="*/ 55 h 190"/>
                  <a:gd name="T2" fmla="*/ 31 w 34"/>
                  <a:gd name="T3" fmla="*/ 55 h 190"/>
                  <a:gd name="T4" fmla="*/ 31 w 34"/>
                  <a:gd name="T5" fmla="*/ 190 h 190"/>
                  <a:gd name="T6" fmla="*/ 2 w 34"/>
                  <a:gd name="T7" fmla="*/ 190 h 190"/>
                  <a:gd name="T8" fmla="*/ 2 w 34"/>
                  <a:gd name="T9" fmla="*/ 55 h 190"/>
                  <a:gd name="T10" fmla="*/ 17 w 34"/>
                  <a:gd name="T11" fmla="*/ 34 h 190"/>
                  <a:gd name="T12" fmla="*/ 0 w 34"/>
                  <a:gd name="T13" fmla="*/ 17 h 190"/>
                  <a:gd name="T14" fmla="*/ 17 w 34"/>
                  <a:gd name="T15" fmla="*/ 0 h 190"/>
                  <a:gd name="T16" fmla="*/ 34 w 34"/>
                  <a:gd name="T17" fmla="*/ 17 h 190"/>
                  <a:gd name="T18" fmla="*/ 17 w 34"/>
                  <a:gd name="T19" fmla="*/ 3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90">
                    <a:moveTo>
                      <a:pt x="2" y="55"/>
                    </a:moveTo>
                    <a:lnTo>
                      <a:pt x="31" y="55"/>
                    </a:lnTo>
                    <a:lnTo>
                      <a:pt x="31" y="190"/>
                    </a:lnTo>
                    <a:lnTo>
                      <a:pt x="2" y="190"/>
                    </a:lnTo>
                    <a:lnTo>
                      <a:pt x="2" y="55"/>
                    </a:lnTo>
                    <a:close/>
                    <a:moveTo>
                      <a:pt x="17" y="34"/>
                    </a:moveTo>
                    <a:cubicBezTo>
                      <a:pt x="6" y="34"/>
                      <a:pt x="0" y="27"/>
                      <a:pt x="0" y="17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7" y="0"/>
                      <a:pt x="34" y="7"/>
                      <a:pt x="34" y="17"/>
                    </a:cubicBezTo>
                    <a:cubicBezTo>
                      <a:pt x="34" y="27"/>
                      <a:pt x="27" y="34"/>
                      <a:pt x="17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9" name="Freeform 26">
                <a:extLst>
                  <a:ext uri="{FF2B5EF4-FFF2-40B4-BE49-F238E27FC236}">
                    <a16:creationId xmlns:a16="http://schemas.microsoft.com/office/drawing/2014/main" id="{8003F519-DBD6-318D-BD2C-02AC19C379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7760" y="4053462"/>
                <a:ext cx="39816" cy="77823"/>
              </a:xfrm>
              <a:custGeom>
                <a:avLst/>
                <a:gdLst>
                  <a:gd name="T0" fmla="*/ 92 w 95"/>
                  <a:gd name="T1" fmla="*/ 28 h 189"/>
                  <a:gd name="T2" fmla="*/ 68 w 95"/>
                  <a:gd name="T3" fmla="*/ 24 h 189"/>
                  <a:gd name="T4" fmla="*/ 48 w 95"/>
                  <a:gd name="T5" fmla="*/ 46 h 189"/>
                  <a:gd name="T6" fmla="*/ 48 w 95"/>
                  <a:gd name="T7" fmla="*/ 55 h 189"/>
                  <a:gd name="T8" fmla="*/ 89 w 95"/>
                  <a:gd name="T9" fmla="*/ 55 h 189"/>
                  <a:gd name="T10" fmla="*/ 89 w 95"/>
                  <a:gd name="T11" fmla="*/ 78 h 189"/>
                  <a:gd name="T12" fmla="*/ 48 w 95"/>
                  <a:gd name="T13" fmla="*/ 78 h 189"/>
                  <a:gd name="T14" fmla="*/ 48 w 95"/>
                  <a:gd name="T15" fmla="*/ 189 h 189"/>
                  <a:gd name="T16" fmla="*/ 20 w 95"/>
                  <a:gd name="T17" fmla="*/ 189 h 189"/>
                  <a:gd name="T18" fmla="*/ 20 w 95"/>
                  <a:gd name="T19" fmla="*/ 78 h 189"/>
                  <a:gd name="T20" fmla="*/ 0 w 95"/>
                  <a:gd name="T21" fmla="*/ 78 h 189"/>
                  <a:gd name="T22" fmla="*/ 0 w 95"/>
                  <a:gd name="T23" fmla="*/ 55 h 189"/>
                  <a:gd name="T24" fmla="*/ 20 w 95"/>
                  <a:gd name="T25" fmla="*/ 55 h 189"/>
                  <a:gd name="T26" fmla="*/ 20 w 95"/>
                  <a:gd name="T27" fmla="*/ 44 h 189"/>
                  <a:gd name="T28" fmla="*/ 64 w 95"/>
                  <a:gd name="T29" fmla="*/ 0 h 189"/>
                  <a:gd name="T30" fmla="*/ 95 w 95"/>
                  <a:gd name="T31" fmla="*/ 5 h 189"/>
                  <a:gd name="T32" fmla="*/ 92 w 95"/>
                  <a:gd name="T33" fmla="*/ 28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89">
                    <a:moveTo>
                      <a:pt x="92" y="28"/>
                    </a:moveTo>
                    <a:cubicBezTo>
                      <a:pt x="81" y="25"/>
                      <a:pt x="74" y="24"/>
                      <a:pt x="68" y="24"/>
                    </a:cubicBezTo>
                    <a:cubicBezTo>
                      <a:pt x="54" y="24"/>
                      <a:pt x="48" y="30"/>
                      <a:pt x="48" y="46"/>
                    </a:cubicBezTo>
                    <a:lnTo>
                      <a:pt x="48" y="55"/>
                    </a:lnTo>
                    <a:lnTo>
                      <a:pt x="89" y="55"/>
                    </a:lnTo>
                    <a:lnTo>
                      <a:pt x="89" y="78"/>
                    </a:lnTo>
                    <a:lnTo>
                      <a:pt x="48" y="78"/>
                    </a:lnTo>
                    <a:lnTo>
                      <a:pt x="48" y="189"/>
                    </a:lnTo>
                    <a:lnTo>
                      <a:pt x="20" y="189"/>
                    </a:lnTo>
                    <a:lnTo>
                      <a:pt x="20" y="78"/>
                    </a:lnTo>
                    <a:lnTo>
                      <a:pt x="0" y="78"/>
                    </a:lnTo>
                    <a:lnTo>
                      <a:pt x="0" y="55"/>
                    </a:lnTo>
                    <a:lnTo>
                      <a:pt x="20" y="55"/>
                    </a:lnTo>
                    <a:lnTo>
                      <a:pt x="20" y="44"/>
                    </a:lnTo>
                    <a:cubicBezTo>
                      <a:pt x="20" y="15"/>
                      <a:pt x="37" y="0"/>
                      <a:pt x="64" y="0"/>
                    </a:cubicBezTo>
                    <a:cubicBezTo>
                      <a:pt x="73" y="0"/>
                      <a:pt x="82" y="2"/>
                      <a:pt x="95" y="5"/>
                    </a:cubicBezTo>
                    <a:lnTo>
                      <a:pt x="92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0" name="Freeform 27">
                <a:extLst>
                  <a:ext uri="{FF2B5EF4-FFF2-40B4-BE49-F238E27FC236}">
                    <a16:creationId xmlns:a16="http://schemas.microsoft.com/office/drawing/2014/main" id="{E184AE65-10DA-3151-046F-3FC0194869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27576" y="4075180"/>
                <a:ext cx="50675" cy="56105"/>
              </a:xfrm>
              <a:custGeom>
                <a:avLst/>
                <a:gdLst>
                  <a:gd name="T0" fmla="*/ 62 w 124"/>
                  <a:gd name="T1" fmla="*/ 21 h 138"/>
                  <a:gd name="T2" fmla="*/ 28 w 124"/>
                  <a:gd name="T3" fmla="*/ 58 h 138"/>
                  <a:gd name="T4" fmla="*/ 96 w 124"/>
                  <a:gd name="T5" fmla="*/ 58 h 138"/>
                  <a:gd name="T6" fmla="*/ 62 w 124"/>
                  <a:gd name="T7" fmla="*/ 21 h 138"/>
                  <a:gd name="T8" fmla="*/ 63 w 124"/>
                  <a:gd name="T9" fmla="*/ 0 h 138"/>
                  <a:gd name="T10" fmla="*/ 124 w 124"/>
                  <a:gd name="T11" fmla="*/ 66 h 138"/>
                  <a:gd name="T12" fmla="*/ 111 w 124"/>
                  <a:gd name="T13" fmla="*/ 79 h 138"/>
                  <a:gd name="T14" fmla="*/ 28 w 124"/>
                  <a:gd name="T15" fmla="*/ 79 h 138"/>
                  <a:gd name="T16" fmla="*/ 68 w 124"/>
                  <a:gd name="T17" fmla="*/ 114 h 138"/>
                  <a:gd name="T18" fmla="*/ 105 w 124"/>
                  <a:gd name="T19" fmla="*/ 108 h 138"/>
                  <a:gd name="T20" fmla="*/ 118 w 124"/>
                  <a:gd name="T21" fmla="*/ 104 h 138"/>
                  <a:gd name="T22" fmla="*/ 123 w 124"/>
                  <a:gd name="T23" fmla="*/ 126 h 138"/>
                  <a:gd name="T24" fmla="*/ 109 w 124"/>
                  <a:gd name="T25" fmla="*/ 130 h 138"/>
                  <a:gd name="T26" fmla="*/ 66 w 124"/>
                  <a:gd name="T27" fmla="*/ 138 h 138"/>
                  <a:gd name="T28" fmla="*/ 0 w 124"/>
                  <a:gd name="T29" fmla="*/ 70 h 138"/>
                  <a:gd name="T30" fmla="*/ 63 w 124"/>
                  <a:gd name="T31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138">
                    <a:moveTo>
                      <a:pt x="62" y="21"/>
                    </a:moveTo>
                    <a:cubicBezTo>
                      <a:pt x="42" y="21"/>
                      <a:pt x="30" y="36"/>
                      <a:pt x="28" y="58"/>
                    </a:cubicBezTo>
                    <a:lnTo>
                      <a:pt x="96" y="58"/>
                    </a:lnTo>
                    <a:cubicBezTo>
                      <a:pt x="96" y="38"/>
                      <a:pt x="86" y="21"/>
                      <a:pt x="62" y="21"/>
                    </a:cubicBezTo>
                    <a:close/>
                    <a:moveTo>
                      <a:pt x="63" y="0"/>
                    </a:moveTo>
                    <a:cubicBezTo>
                      <a:pt x="100" y="0"/>
                      <a:pt x="124" y="21"/>
                      <a:pt x="124" y="66"/>
                    </a:cubicBezTo>
                    <a:cubicBezTo>
                      <a:pt x="124" y="75"/>
                      <a:pt x="120" y="79"/>
                      <a:pt x="111" y="79"/>
                    </a:cubicBezTo>
                    <a:lnTo>
                      <a:pt x="28" y="79"/>
                    </a:lnTo>
                    <a:cubicBezTo>
                      <a:pt x="30" y="103"/>
                      <a:pt x="46" y="114"/>
                      <a:pt x="68" y="114"/>
                    </a:cubicBezTo>
                    <a:cubicBezTo>
                      <a:pt x="79" y="114"/>
                      <a:pt x="90" y="112"/>
                      <a:pt x="105" y="108"/>
                    </a:cubicBezTo>
                    <a:lnTo>
                      <a:pt x="118" y="104"/>
                    </a:lnTo>
                    <a:lnTo>
                      <a:pt x="123" y="126"/>
                    </a:lnTo>
                    <a:lnTo>
                      <a:pt x="109" y="130"/>
                    </a:lnTo>
                    <a:cubicBezTo>
                      <a:pt x="92" y="136"/>
                      <a:pt x="80" y="138"/>
                      <a:pt x="66" y="138"/>
                    </a:cubicBezTo>
                    <a:cubicBezTo>
                      <a:pt x="27" y="138"/>
                      <a:pt x="0" y="115"/>
                      <a:pt x="0" y="70"/>
                    </a:cubicBezTo>
                    <a:cubicBezTo>
                      <a:pt x="0" y="21"/>
                      <a:pt x="29" y="0"/>
                      <a:pt x="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1" name="Freeform 28">
                <a:extLst>
                  <a:ext uri="{FF2B5EF4-FFF2-40B4-BE49-F238E27FC236}">
                    <a16:creationId xmlns:a16="http://schemas.microsoft.com/office/drawing/2014/main" id="{237B20AF-7500-5577-1DCA-E6950AB4CA0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80573" y="3655298"/>
                <a:ext cx="358347" cy="405403"/>
              </a:xfrm>
              <a:custGeom>
                <a:avLst/>
                <a:gdLst>
                  <a:gd name="T0" fmla="*/ 556 w 875"/>
                  <a:gd name="T1" fmla="*/ 361 h 985"/>
                  <a:gd name="T2" fmla="*/ 454 w 875"/>
                  <a:gd name="T3" fmla="*/ 361 h 985"/>
                  <a:gd name="T4" fmla="*/ 505 w 875"/>
                  <a:gd name="T5" fmla="*/ 327 h 985"/>
                  <a:gd name="T6" fmla="*/ 556 w 875"/>
                  <a:gd name="T7" fmla="*/ 361 h 985"/>
                  <a:gd name="T8" fmla="*/ 867 w 875"/>
                  <a:gd name="T9" fmla="*/ 368 h 985"/>
                  <a:gd name="T10" fmla="*/ 707 w 875"/>
                  <a:gd name="T11" fmla="*/ 276 h 985"/>
                  <a:gd name="T12" fmla="*/ 773 w 875"/>
                  <a:gd name="T13" fmla="*/ 132 h 985"/>
                  <a:gd name="T14" fmla="*/ 539 w 875"/>
                  <a:gd name="T15" fmla="*/ 220 h 985"/>
                  <a:gd name="T16" fmla="*/ 280 w 875"/>
                  <a:gd name="T17" fmla="*/ 69 h 985"/>
                  <a:gd name="T18" fmla="*/ 308 w 875"/>
                  <a:gd name="T19" fmla="*/ 0 h 985"/>
                  <a:gd name="T20" fmla="*/ 305 w 875"/>
                  <a:gd name="T21" fmla="*/ 0 h 985"/>
                  <a:gd name="T22" fmla="*/ 204 w 875"/>
                  <a:gd name="T23" fmla="*/ 236 h 985"/>
                  <a:gd name="T24" fmla="*/ 249 w 875"/>
                  <a:gd name="T25" fmla="*/ 309 h 985"/>
                  <a:gd name="T26" fmla="*/ 25 w 875"/>
                  <a:gd name="T27" fmla="*/ 770 h 985"/>
                  <a:gd name="T28" fmla="*/ 360 w 875"/>
                  <a:gd name="T29" fmla="*/ 985 h 985"/>
                  <a:gd name="T30" fmla="*/ 825 w 875"/>
                  <a:gd name="T31" fmla="*/ 533 h 985"/>
                  <a:gd name="T32" fmla="*/ 867 w 875"/>
                  <a:gd name="T33" fmla="*/ 368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75" h="985">
                    <a:moveTo>
                      <a:pt x="556" y="361"/>
                    </a:moveTo>
                    <a:lnTo>
                      <a:pt x="454" y="361"/>
                    </a:lnTo>
                    <a:cubicBezTo>
                      <a:pt x="454" y="361"/>
                      <a:pt x="477" y="327"/>
                      <a:pt x="505" y="327"/>
                    </a:cubicBezTo>
                    <a:cubicBezTo>
                      <a:pt x="533" y="327"/>
                      <a:pt x="556" y="361"/>
                      <a:pt x="556" y="361"/>
                    </a:cubicBezTo>
                    <a:close/>
                    <a:moveTo>
                      <a:pt x="867" y="368"/>
                    </a:moveTo>
                    <a:lnTo>
                      <a:pt x="707" y="276"/>
                    </a:lnTo>
                    <a:cubicBezTo>
                      <a:pt x="795" y="225"/>
                      <a:pt x="776" y="144"/>
                      <a:pt x="773" y="132"/>
                    </a:cubicBezTo>
                    <a:cubicBezTo>
                      <a:pt x="732" y="184"/>
                      <a:pt x="643" y="220"/>
                      <a:pt x="539" y="220"/>
                    </a:cubicBezTo>
                    <a:cubicBezTo>
                      <a:pt x="396" y="220"/>
                      <a:pt x="280" y="152"/>
                      <a:pt x="280" y="69"/>
                    </a:cubicBezTo>
                    <a:cubicBezTo>
                      <a:pt x="280" y="44"/>
                      <a:pt x="290" y="21"/>
                      <a:pt x="308" y="0"/>
                    </a:cubicBezTo>
                    <a:cubicBezTo>
                      <a:pt x="307" y="0"/>
                      <a:pt x="306" y="0"/>
                      <a:pt x="305" y="0"/>
                    </a:cubicBezTo>
                    <a:cubicBezTo>
                      <a:pt x="244" y="0"/>
                      <a:pt x="155" y="110"/>
                      <a:pt x="204" y="236"/>
                    </a:cubicBezTo>
                    <a:cubicBezTo>
                      <a:pt x="215" y="265"/>
                      <a:pt x="231" y="289"/>
                      <a:pt x="249" y="309"/>
                    </a:cubicBezTo>
                    <a:cubicBezTo>
                      <a:pt x="135" y="417"/>
                      <a:pt x="0" y="606"/>
                      <a:pt x="25" y="770"/>
                    </a:cubicBezTo>
                    <a:cubicBezTo>
                      <a:pt x="58" y="980"/>
                      <a:pt x="360" y="985"/>
                      <a:pt x="360" y="985"/>
                    </a:cubicBezTo>
                    <a:cubicBezTo>
                      <a:pt x="220" y="722"/>
                      <a:pt x="825" y="533"/>
                      <a:pt x="825" y="533"/>
                    </a:cubicBezTo>
                    <a:cubicBezTo>
                      <a:pt x="825" y="533"/>
                      <a:pt x="875" y="464"/>
                      <a:pt x="867" y="3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2" name="Freeform 29">
                <a:extLst>
                  <a:ext uri="{FF2B5EF4-FFF2-40B4-BE49-F238E27FC236}">
                    <a16:creationId xmlns:a16="http://schemas.microsoft.com/office/drawing/2014/main" id="{F2B48BF0-A064-2017-44AE-FDF622422B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27169" y="3910485"/>
                <a:ext cx="162885" cy="142978"/>
              </a:xfrm>
              <a:custGeom>
                <a:avLst/>
                <a:gdLst>
                  <a:gd name="T0" fmla="*/ 311 w 398"/>
                  <a:gd name="T1" fmla="*/ 0 h 349"/>
                  <a:gd name="T2" fmla="*/ 19 w 398"/>
                  <a:gd name="T3" fmla="*/ 228 h 349"/>
                  <a:gd name="T4" fmla="*/ 18 w 398"/>
                  <a:gd name="T5" fmla="*/ 349 h 349"/>
                  <a:gd name="T6" fmla="*/ 398 w 398"/>
                  <a:gd name="T7" fmla="*/ 184 h 349"/>
                  <a:gd name="T8" fmla="*/ 311 w 398"/>
                  <a:gd name="T9" fmla="*/ 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349">
                    <a:moveTo>
                      <a:pt x="311" y="0"/>
                    </a:moveTo>
                    <a:cubicBezTo>
                      <a:pt x="197" y="53"/>
                      <a:pt x="60" y="129"/>
                      <a:pt x="19" y="228"/>
                    </a:cubicBezTo>
                    <a:cubicBezTo>
                      <a:pt x="3" y="269"/>
                      <a:pt x="0" y="309"/>
                      <a:pt x="18" y="349"/>
                    </a:cubicBezTo>
                    <a:cubicBezTo>
                      <a:pt x="35" y="307"/>
                      <a:pt x="105" y="185"/>
                      <a:pt x="398" y="184"/>
                    </a:cubicBezTo>
                    <a:cubicBezTo>
                      <a:pt x="398" y="102"/>
                      <a:pt x="359" y="44"/>
                      <a:pt x="3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3" name="Freeform 30">
                <a:extLst>
                  <a:ext uri="{FF2B5EF4-FFF2-40B4-BE49-F238E27FC236}">
                    <a16:creationId xmlns:a16="http://schemas.microsoft.com/office/drawing/2014/main" id="{BC9CFD1D-8DDB-A709-12B5-43C1E29C37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9976" y="3903245"/>
                <a:ext cx="9050" cy="16289"/>
              </a:xfrm>
              <a:custGeom>
                <a:avLst/>
                <a:gdLst>
                  <a:gd name="T0" fmla="*/ 0 w 25"/>
                  <a:gd name="T1" fmla="*/ 42 h 42"/>
                  <a:gd name="T2" fmla="*/ 25 w 25"/>
                  <a:gd name="T3" fmla="*/ 0 h 42"/>
                  <a:gd name="T4" fmla="*/ 0 w 25"/>
                  <a:gd name="T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42">
                    <a:moveTo>
                      <a:pt x="0" y="42"/>
                    </a:moveTo>
                    <a:cubicBezTo>
                      <a:pt x="16" y="23"/>
                      <a:pt x="25" y="0"/>
                      <a:pt x="25" y="0"/>
                    </a:cubicBezTo>
                    <a:cubicBezTo>
                      <a:pt x="17" y="17"/>
                      <a:pt x="9" y="31"/>
                      <a:pt x="0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4" name="Rectangle 31">
                <a:extLst>
                  <a:ext uri="{FF2B5EF4-FFF2-40B4-BE49-F238E27FC236}">
                    <a16:creationId xmlns:a16="http://schemas.microsoft.com/office/drawing/2014/main" id="{B8DCAFFC-5BE1-EC35-AFF4-E3AF91BDC7D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409451" y="4104138"/>
                <a:ext cx="9050" cy="3981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5" name="Freeform 32">
                <a:extLst>
                  <a:ext uri="{FF2B5EF4-FFF2-40B4-BE49-F238E27FC236}">
                    <a16:creationId xmlns:a16="http://schemas.microsoft.com/office/drawing/2014/main" id="{5C73054B-B761-3917-85F6-3206576715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2212" y="3819993"/>
                <a:ext cx="7239" cy="3620"/>
              </a:xfrm>
              <a:custGeom>
                <a:avLst/>
                <a:gdLst>
                  <a:gd name="T0" fmla="*/ 0 w 16"/>
                  <a:gd name="T1" fmla="*/ 0 h 7"/>
                  <a:gd name="T2" fmla="*/ 16 w 16"/>
                  <a:gd name="T3" fmla="*/ 7 h 7"/>
                  <a:gd name="T4" fmla="*/ 16 w 16"/>
                  <a:gd name="T5" fmla="*/ 5 h 7"/>
                  <a:gd name="T6" fmla="*/ 0 w 16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7">
                    <a:moveTo>
                      <a:pt x="0" y="0"/>
                    </a:moveTo>
                    <a:cubicBezTo>
                      <a:pt x="6" y="2"/>
                      <a:pt x="11" y="4"/>
                      <a:pt x="16" y="7"/>
                    </a:cubicBezTo>
                    <a:lnTo>
                      <a:pt x="16" y="5"/>
                    </a:lnTo>
                    <a:cubicBezTo>
                      <a:pt x="11" y="3"/>
                      <a:pt x="6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6" name="Freeform 33">
                <a:extLst>
                  <a:ext uri="{FF2B5EF4-FFF2-40B4-BE49-F238E27FC236}">
                    <a16:creationId xmlns:a16="http://schemas.microsoft.com/office/drawing/2014/main" id="{EF5FA4B9-72B6-CE27-044E-F8BD5B2650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99025" y="3628150"/>
                <a:ext cx="47056" cy="314911"/>
              </a:xfrm>
              <a:custGeom>
                <a:avLst/>
                <a:gdLst>
                  <a:gd name="T0" fmla="*/ 3 w 115"/>
                  <a:gd name="T1" fmla="*/ 729 h 765"/>
                  <a:gd name="T2" fmla="*/ 9 w 115"/>
                  <a:gd name="T3" fmla="*/ 756 h 765"/>
                  <a:gd name="T4" fmla="*/ 19 w 115"/>
                  <a:gd name="T5" fmla="*/ 724 h 765"/>
                  <a:gd name="T6" fmla="*/ 34 w 115"/>
                  <a:gd name="T7" fmla="*/ 695 h 765"/>
                  <a:gd name="T8" fmla="*/ 30 w 115"/>
                  <a:gd name="T9" fmla="*/ 716 h 765"/>
                  <a:gd name="T10" fmla="*/ 22 w 115"/>
                  <a:gd name="T11" fmla="*/ 732 h 765"/>
                  <a:gd name="T12" fmla="*/ 17 w 115"/>
                  <a:gd name="T13" fmla="*/ 753 h 765"/>
                  <a:gd name="T14" fmla="*/ 30 w 115"/>
                  <a:gd name="T15" fmla="*/ 744 h 765"/>
                  <a:gd name="T16" fmla="*/ 49 w 115"/>
                  <a:gd name="T17" fmla="*/ 753 h 765"/>
                  <a:gd name="T18" fmla="*/ 54 w 115"/>
                  <a:gd name="T19" fmla="*/ 728 h 765"/>
                  <a:gd name="T20" fmla="*/ 68 w 115"/>
                  <a:gd name="T21" fmla="*/ 763 h 765"/>
                  <a:gd name="T22" fmla="*/ 67 w 115"/>
                  <a:gd name="T23" fmla="*/ 748 h 765"/>
                  <a:gd name="T24" fmla="*/ 65 w 115"/>
                  <a:gd name="T25" fmla="*/ 732 h 765"/>
                  <a:gd name="T26" fmla="*/ 64 w 115"/>
                  <a:gd name="T27" fmla="*/ 712 h 765"/>
                  <a:gd name="T28" fmla="*/ 66 w 115"/>
                  <a:gd name="T29" fmla="*/ 691 h 765"/>
                  <a:gd name="T30" fmla="*/ 68 w 115"/>
                  <a:gd name="T31" fmla="*/ 719 h 765"/>
                  <a:gd name="T32" fmla="*/ 76 w 115"/>
                  <a:gd name="T33" fmla="*/ 745 h 765"/>
                  <a:gd name="T34" fmla="*/ 78 w 115"/>
                  <a:gd name="T35" fmla="*/ 740 h 765"/>
                  <a:gd name="T36" fmla="*/ 77 w 115"/>
                  <a:gd name="T37" fmla="*/ 749 h 765"/>
                  <a:gd name="T38" fmla="*/ 77 w 115"/>
                  <a:gd name="T39" fmla="*/ 750 h 765"/>
                  <a:gd name="T40" fmla="*/ 79 w 115"/>
                  <a:gd name="T41" fmla="*/ 755 h 765"/>
                  <a:gd name="T42" fmla="*/ 84 w 115"/>
                  <a:gd name="T43" fmla="*/ 760 h 765"/>
                  <a:gd name="T44" fmla="*/ 86 w 115"/>
                  <a:gd name="T45" fmla="*/ 757 h 765"/>
                  <a:gd name="T46" fmla="*/ 86 w 115"/>
                  <a:gd name="T47" fmla="*/ 756 h 765"/>
                  <a:gd name="T48" fmla="*/ 78 w 115"/>
                  <a:gd name="T49" fmla="*/ 736 h 765"/>
                  <a:gd name="T50" fmla="*/ 84 w 115"/>
                  <a:gd name="T51" fmla="*/ 748 h 765"/>
                  <a:gd name="T52" fmla="*/ 84 w 115"/>
                  <a:gd name="T53" fmla="*/ 746 h 765"/>
                  <a:gd name="T54" fmla="*/ 89 w 115"/>
                  <a:gd name="T55" fmla="*/ 752 h 765"/>
                  <a:gd name="T56" fmla="*/ 90 w 115"/>
                  <a:gd name="T57" fmla="*/ 751 h 765"/>
                  <a:gd name="T58" fmla="*/ 83 w 115"/>
                  <a:gd name="T59" fmla="*/ 743 h 765"/>
                  <a:gd name="T60" fmla="*/ 91 w 115"/>
                  <a:gd name="T61" fmla="*/ 748 h 765"/>
                  <a:gd name="T62" fmla="*/ 95 w 115"/>
                  <a:gd name="T63" fmla="*/ 742 h 765"/>
                  <a:gd name="T64" fmla="*/ 96 w 115"/>
                  <a:gd name="T65" fmla="*/ 741 h 765"/>
                  <a:gd name="T66" fmla="*/ 103 w 115"/>
                  <a:gd name="T67" fmla="*/ 726 h 765"/>
                  <a:gd name="T68" fmla="*/ 101 w 115"/>
                  <a:gd name="T69" fmla="*/ 734 h 765"/>
                  <a:gd name="T70" fmla="*/ 112 w 115"/>
                  <a:gd name="T71" fmla="*/ 713 h 765"/>
                  <a:gd name="T72" fmla="*/ 101 w 115"/>
                  <a:gd name="T73" fmla="*/ 742 h 765"/>
                  <a:gd name="T74" fmla="*/ 104 w 115"/>
                  <a:gd name="T75" fmla="*/ 753 h 765"/>
                  <a:gd name="T76" fmla="*/ 106 w 115"/>
                  <a:gd name="T77" fmla="*/ 765 h 765"/>
                  <a:gd name="T78" fmla="*/ 109 w 115"/>
                  <a:gd name="T79" fmla="*/ 755 h 765"/>
                  <a:gd name="T80" fmla="*/ 110 w 115"/>
                  <a:gd name="T81" fmla="*/ 752 h 765"/>
                  <a:gd name="T82" fmla="*/ 110 w 115"/>
                  <a:gd name="T83" fmla="*/ 751 h 765"/>
                  <a:gd name="T84" fmla="*/ 110 w 115"/>
                  <a:gd name="T85" fmla="*/ 752 h 765"/>
                  <a:gd name="T86" fmla="*/ 110 w 115"/>
                  <a:gd name="T87" fmla="*/ 751 h 765"/>
                  <a:gd name="T88" fmla="*/ 111 w 115"/>
                  <a:gd name="T89" fmla="*/ 752 h 765"/>
                  <a:gd name="T90" fmla="*/ 111 w 115"/>
                  <a:gd name="T91" fmla="*/ 751 h 765"/>
                  <a:gd name="T92" fmla="*/ 113 w 115"/>
                  <a:gd name="T93" fmla="*/ 748 h 765"/>
                  <a:gd name="T94" fmla="*/ 113 w 115"/>
                  <a:gd name="T95" fmla="*/ 746 h 765"/>
                  <a:gd name="T96" fmla="*/ 109 w 115"/>
                  <a:gd name="T97" fmla="*/ 729 h 765"/>
                  <a:gd name="T98" fmla="*/ 109 w 115"/>
                  <a:gd name="T99" fmla="*/ 728 h 765"/>
                  <a:gd name="T100" fmla="*/ 109 w 115"/>
                  <a:gd name="T101" fmla="*/ 729 h 765"/>
                  <a:gd name="T102" fmla="*/ 112 w 115"/>
                  <a:gd name="T103" fmla="*/ 735 h 765"/>
                  <a:gd name="T104" fmla="*/ 115 w 115"/>
                  <a:gd name="T105" fmla="*/ 740 h 765"/>
                  <a:gd name="T106" fmla="*/ 115 w 115"/>
                  <a:gd name="T107" fmla="*/ 0 h 765"/>
                  <a:gd name="T108" fmla="*/ 0 w 115"/>
                  <a:gd name="T109" fmla="*/ 0 h 765"/>
                  <a:gd name="T110" fmla="*/ 0 w 115"/>
                  <a:gd name="T111" fmla="*/ 741 h 765"/>
                  <a:gd name="T112" fmla="*/ 2 w 115"/>
                  <a:gd name="T113" fmla="*/ 728 h 765"/>
                  <a:gd name="T114" fmla="*/ 3 w 115"/>
                  <a:gd name="T115" fmla="*/ 729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5" h="765">
                    <a:moveTo>
                      <a:pt x="3" y="729"/>
                    </a:moveTo>
                    <a:cubicBezTo>
                      <a:pt x="5" y="738"/>
                      <a:pt x="6" y="745"/>
                      <a:pt x="9" y="756"/>
                    </a:cubicBezTo>
                    <a:cubicBezTo>
                      <a:pt x="10" y="744"/>
                      <a:pt x="14" y="734"/>
                      <a:pt x="19" y="724"/>
                    </a:cubicBezTo>
                    <a:cubicBezTo>
                      <a:pt x="25" y="715"/>
                      <a:pt x="30" y="706"/>
                      <a:pt x="34" y="695"/>
                    </a:cubicBezTo>
                    <a:cubicBezTo>
                      <a:pt x="33" y="703"/>
                      <a:pt x="34" y="709"/>
                      <a:pt x="30" y="716"/>
                    </a:cubicBezTo>
                    <a:cubicBezTo>
                      <a:pt x="25" y="723"/>
                      <a:pt x="23" y="727"/>
                      <a:pt x="22" y="732"/>
                    </a:cubicBezTo>
                    <a:cubicBezTo>
                      <a:pt x="21" y="736"/>
                      <a:pt x="20" y="742"/>
                      <a:pt x="17" y="753"/>
                    </a:cubicBezTo>
                    <a:cubicBezTo>
                      <a:pt x="18" y="752"/>
                      <a:pt x="30" y="743"/>
                      <a:pt x="30" y="744"/>
                    </a:cubicBezTo>
                    <a:cubicBezTo>
                      <a:pt x="27" y="757"/>
                      <a:pt x="47" y="756"/>
                      <a:pt x="49" y="753"/>
                    </a:cubicBezTo>
                    <a:cubicBezTo>
                      <a:pt x="46" y="746"/>
                      <a:pt x="65" y="746"/>
                      <a:pt x="54" y="728"/>
                    </a:cubicBezTo>
                    <a:cubicBezTo>
                      <a:pt x="61" y="730"/>
                      <a:pt x="67" y="758"/>
                      <a:pt x="68" y="763"/>
                    </a:cubicBezTo>
                    <a:cubicBezTo>
                      <a:pt x="68" y="758"/>
                      <a:pt x="67" y="753"/>
                      <a:pt x="67" y="748"/>
                    </a:cubicBezTo>
                    <a:cubicBezTo>
                      <a:pt x="67" y="743"/>
                      <a:pt x="66" y="738"/>
                      <a:pt x="65" y="732"/>
                    </a:cubicBezTo>
                    <a:cubicBezTo>
                      <a:pt x="64" y="725"/>
                      <a:pt x="64" y="718"/>
                      <a:pt x="64" y="712"/>
                    </a:cubicBezTo>
                    <a:cubicBezTo>
                      <a:pt x="64" y="705"/>
                      <a:pt x="65" y="698"/>
                      <a:pt x="66" y="691"/>
                    </a:cubicBezTo>
                    <a:cubicBezTo>
                      <a:pt x="65" y="700"/>
                      <a:pt x="66" y="710"/>
                      <a:pt x="68" y="719"/>
                    </a:cubicBezTo>
                    <a:cubicBezTo>
                      <a:pt x="70" y="728"/>
                      <a:pt x="73" y="737"/>
                      <a:pt x="76" y="745"/>
                    </a:cubicBezTo>
                    <a:cubicBezTo>
                      <a:pt x="77" y="743"/>
                      <a:pt x="78" y="741"/>
                      <a:pt x="78" y="740"/>
                    </a:cubicBezTo>
                    <a:cubicBezTo>
                      <a:pt x="78" y="742"/>
                      <a:pt x="77" y="746"/>
                      <a:pt x="77" y="749"/>
                    </a:cubicBezTo>
                    <a:cubicBezTo>
                      <a:pt x="77" y="749"/>
                      <a:pt x="77" y="749"/>
                      <a:pt x="77" y="750"/>
                    </a:cubicBezTo>
                    <a:cubicBezTo>
                      <a:pt x="78" y="752"/>
                      <a:pt x="78" y="753"/>
                      <a:pt x="79" y="755"/>
                    </a:cubicBezTo>
                    <a:cubicBezTo>
                      <a:pt x="80" y="756"/>
                      <a:pt x="82" y="758"/>
                      <a:pt x="84" y="760"/>
                    </a:cubicBezTo>
                    <a:cubicBezTo>
                      <a:pt x="85" y="759"/>
                      <a:pt x="85" y="758"/>
                      <a:pt x="86" y="757"/>
                    </a:cubicBezTo>
                    <a:cubicBezTo>
                      <a:pt x="86" y="756"/>
                      <a:pt x="86" y="756"/>
                      <a:pt x="86" y="756"/>
                    </a:cubicBezTo>
                    <a:cubicBezTo>
                      <a:pt x="82" y="749"/>
                      <a:pt x="79" y="743"/>
                      <a:pt x="78" y="736"/>
                    </a:cubicBezTo>
                    <a:cubicBezTo>
                      <a:pt x="78" y="740"/>
                      <a:pt x="81" y="744"/>
                      <a:pt x="84" y="748"/>
                    </a:cubicBezTo>
                    <a:cubicBezTo>
                      <a:pt x="84" y="747"/>
                      <a:pt x="84" y="747"/>
                      <a:pt x="84" y="746"/>
                    </a:cubicBezTo>
                    <a:cubicBezTo>
                      <a:pt x="84" y="748"/>
                      <a:pt x="88" y="752"/>
                      <a:pt x="89" y="752"/>
                    </a:cubicBezTo>
                    <a:cubicBezTo>
                      <a:pt x="89" y="752"/>
                      <a:pt x="89" y="751"/>
                      <a:pt x="90" y="751"/>
                    </a:cubicBezTo>
                    <a:cubicBezTo>
                      <a:pt x="88" y="748"/>
                      <a:pt x="85" y="744"/>
                      <a:pt x="83" y="743"/>
                    </a:cubicBezTo>
                    <a:cubicBezTo>
                      <a:pt x="86" y="742"/>
                      <a:pt x="88" y="745"/>
                      <a:pt x="91" y="748"/>
                    </a:cubicBezTo>
                    <a:cubicBezTo>
                      <a:pt x="93" y="746"/>
                      <a:pt x="94" y="743"/>
                      <a:pt x="95" y="742"/>
                    </a:cubicBezTo>
                    <a:cubicBezTo>
                      <a:pt x="95" y="741"/>
                      <a:pt x="95" y="741"/>
                      <a:pt x="96" y="741"/>
                    </a:cubicBezTo>
                    <a:cubicBezTo>
                      <a:pt x="96" y="734"/>
                      <a:pt x="99" y="727"/>
                      <a:pt x="103" y="726"/>
                    </a:cubicBezTo>
                    <a:cubicBezTo>
                      <a:pt x="106" y="725"/>
                      <a:pt x="101" y="731"/>
                      <a:pt x="101" y="734"/>
                    </a:cubicBezTo>
                    <a:cubicBezTo>
                      <a:pt x="106" y="727"/>
                      <a:pt x="111" y="720"/>
                      <a:pt x="112" y="713"/>
                    </a:cubicBezTo>
                    <a:cubicBezTo>
                      <a:pt x="111" y="723"/>
                      <a:pt x="106" y="732"/>
                      <a:pt x="101" y="742"/>
                    </a:cubicBezTo>
                    <a:cubicBezTo>
                      <a:pt x="102" y="745"/>
                      <a:pt x="103" y="748"/>
                      <a:pt x="104" y="753"/>
                    </a:cubicBezTo>
                    <a:cubicBezTo>
                      <a:pt x="106" y="757"/>
                      <a:pt x="106" y="761"/>
                      <a:pt x="106" y="765"/>
                    </a:cubicBezTo>
                    <a:cubicBezTo>
                      <a:pt x="107" y="762"/>
                      <a:pt x="108" y="758"/>
                      <a:pt x="109" y="755"/>
                    </a:cubicBezTo>
                    <a:cubicBezTo>
                      <a:pt x="109" y="754"/>
                      <a:pt x="109" y="753"/>
                      <a:pt x="110" y="752"/>
                    </a:cubicBezTo>
                    <a:cubicBezTo>
                      <a:pt x="110" y="752"/>
                      <a:pt x="110" y="751"/>
                      <a:pt x="110" y="751"/>
                    </a:cubicBezTo>
                    <a:cubicBezTo>
                      <a:pt x="110" y="751"/>
                      <a:pt x="110" y="751"/>
                      <a:pt x="110" y="752"/>
                    </a:cubicBezTo>
                    <a:cubicBezTo>
                      <a:pt x="110" y="751"/>
                      <a:pt x="110" y="751"/>
                      <a:pt x="110" y="751"/>
                    </a:cubicBezTo>
                    <a:cubicBezTo>
                      <a:pt x="110" y="751"/>
                      <a:pt x="110" y="752"/>
                      <a:pt x="111" y="752"/>
                    </a:cubicBezTo>
                    <a:cubicBezTo>
                      <a:pt x="111" y="752"/>
                      <a:pt x="111" y="751"/>
                      <a:pt x="111" y="751"/>
                    </a:cubicBezTo>
                    <a:cubicBezTo>
                      <a:pt x="111" y="751"/>
                      <a:pt x="112" y="749"/>
                      <a:pt x="113" y="748"/>
                    </a:cubicBezTo>
                    <a:cubicBezTo>
                      <a:pt x="113" y="747"/>
                      <a:pt x="113" y="747"/>
                      <a:pt x="113" y="746"/>
                    </a:cubicBezTo>
                    <a:cubicBezTo>
                      <a:pt x="112" y="740"/>
                      <a:pt x="111" y="735"/>
                      <a:pt x="109" y="729"/>
                    </a:cubicBezTo>
                    <a:cubicBezTo>
                      <a:pt x="109" y="729"/>
                      <a:pt x="109" y="729"/>
                      <a:pt x="109" y="728"/>
                    </a:cubicBezTo>
                    <a:cubicBezTo>
                      <a:pt x="109" y="729"/>
                      <a:pt x="109" y="729"/>
                      <a:pt x="109" y="729"/>
                    </a:cubicBezTo>
                    <a:cubicBezTo>
                      <a:pt x="110" y="731"/>
                      <a:pt x="112" y="733"/>
                      <a:pt x="112" y="735"/>
                    </a:cubicBezTo>
                    <a:cubicBezTo>
                      <a:pt x="113" y="736"/>
                      <a:pt x="114" y="738"/>
                      <a:pt x="115" y="740"/>
                    </a:cubicBezTo>
                    <a:lnTo>
                      <a:pt x="115" y="0"/>
                    </a:lnTo>
                    <a:lnTo>
                      <a:pt x="0" y="0"/>
                    </a:lnTo>
                    <a:lnTo>
                      <a:pt x="0" y="741"/>
                    </a:lnTo>
                    <a:cubicBezTo>
                      <a:pt x="1" y="737"/>
                      <a:pt x="2" y="732"/>
                      <a:pt x="2" y="728"/>
                    </a:cubicBezTo>
                    <a:cubicBezTo>
                      <a:pt x="2" y="728"/>
                      <a:pt x="3" y="729"/>
                      <a:pt x="3" y="7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7" name="Freeform 34">
                <a:extLst>
                  <a:ext uri="{FF2B5EF4-FFF2-40B4-BE49-F238E27FC236}">
                    <a16:creationId xmlns:a16="http://schemas.microsoft.com/office/drawing/2014/main" id="{75EFCEAE-BFDE-B861-FC29-DB7E563E3B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4271" y="3935822"/>
                <a:ext cx="1810" cy="5430"/>
              </a:xfrm>
              <a:custGeom>
                <a:avLst/>
                <a:gdLst>
                  <a:gd name="T0" fmla="*/ 1 w 4"/>
                  <a:gd name="T1" fmla="*/ 8 h 11"/>
                  <a:gd name="T2" fmla="*/ 3 w 4"/>
                  <a:gd name="T3" fmla="*/ 10 h 11"/>
                  <a:gd name="T4" fmla="*/ 4 w 4"/>
                  <a:gd name="T5" fmla="*/ 11 h 11"/>
                  <a:gd name="T6" fmla="*/ 2 w 4"/>
                  <a:gd name="T7" fmla="*/ 0 h 11"/>
                  <a:gd name="T8" fmla="*/ 0 w 4"/>
                  <a:gd name="T9" fmla="*/ 6 h 11"/>
                  <a:gd name="T10" fmla="*/ 1 w 4"/>
                  <a:gd name="T11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1" y="8"/>
                    </a:moveTo>
                    <a:cubicBezTo>
                      <a:pt x="2" y="9"/>
                      <a:pt x="3" y="10"/>
                      <a:pt x="3" y="10"/>
                    </a:cubicBezTo>
                    <a:cubicBezTo>
                      <a:pt x="3" y="10"/>
                      <a:pt x="3" y="11"/>
                      <a:pt x="4" y="11"/>
                    </a:cubicBezTo>
                    <a:cubicBezTo>
                      <a:pt x="3" y="7"/>
                      <a:pt x="3" y="4"/>
                      <a:pt x="2" y="0"/>
                    </a:cubicBezTo>
                    <a:cubicBezTo>
                      <a:pt x="1" y="2"/>
                      <a:pt x="1" y="4"/>
                      <a:pt x="0" y="6"/>
                    </a:cubicBezTo>
                    <a:cubicBezTo>
                      <a:pt x="1" y="6"/>
                      <a:pt x="1" y="7"/>
                      <a:pt x="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8" name="Freeform 35">
                <a:extLst>
                  <a:ext uri="{FF2B5EF4-FFF2-40B4-BE49-F238E27FC236}">
                    <a16:creationId xmlns:a16="http://schemas.microsoft.com/office/drawing/2014/main" id="{1B463E5B-5F1B-4C9C-6A6D-0C3227E10A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37032" y="3937633"/>
                <a:ext cx="1810" cy="9050"/>
              </a:xfrm>
              <a:custGeom>
                <a:avLst/>
                <a:gdLst>
                  <a:gd name="T0" fmla="*/ 2 w 4"/>
                  <a:gd name="T1" fmla="*/ 21 h 22"/>
                  <a:gd name="T2" fmla="*/ 3 w 4"/>
                  <a:gd name="T3" fmla="*/ 22 h 22"/>
                  <a:gd name="T4" fmla="*/ 3 w 4"/>
                  <a:gd name="T5" fmla="*/ 21 h 22"/>
                  <a:gd name="T6" fmla="*/ 2 w 4"/>
                  <a:gd name="T7" fmla="*/ 0 h 22"/>
                  <a:gd name="T8" fmla="*/ 0 w 4"/>
                  <a:gd name="T9" fmla="*/ 5 h 22"/>
                  <a:gd name="T10" fmla="*/ 2 w 4"/>
                  <a:gd name="T11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2">
                    <a:moveTo>
                      <a:pt x="2" y="21"/>
                    </a:moveTo>
                    <a:cubicBezTo>
                      <a:pt x="2" y="21"/>
                      <a:pt x="2" y="22"/>
                      <a:pt x="3" y="22"/>
                    </a:cubicBezTo>
                    <a:cubicBezTo>
                      <a:pt x="3" y="22"/>
                      <a:pt x="3" y="21"/>
                      <a:pt x="3" y="21"/>
                    </a:cubicBezTo>
                    <a:cubicBezTo>
                      <a:pt x="4" y="13"/>
                      <a:pt x="3" y="8"/>
                      <a:pt x="2" y="0"/>
                    </a:cubicBezTo>
                    <a:cubicBezTo>
                      <a:pt x="1" y="2"/>
                      <a:pt x="0" y="3"/>
                      <a:pt x="0" y="5"/>
                    </a:cubicBezTo>
                    <a:cubicBezTo>
                      <a:pt x="1" y="10"/>
                      <a:pt x="2" y="17"/>
                      <a:pt x="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9" name="Freeform 36">
                <a:extLst>
                  <a:ext uri="{FF2B5EF4-FFF2-40B4-BE49-F238E27FC236}">
                    <a16:creationId xmlns:a16="http://schemas.microsoft.com/office/drawing/2014/main" id="{80D07420-3241-230A-F82A-75E41C376D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03995" y="3626341"/>
                <a:ext cx="220800" cy="318531"/>
              </a:xfrm>
              <a:custGeom>
                <a:avLst/>
                <a:gdLst>
                  <a:gd name="T0" fmla="*/ 381 w 538"/>
                  <a:gd name="T1" fmla="*/ 766 h 775"/>
                  <a:gd name="T2" fmla="*/ 388 w 538"/>
                  <a:gd name="T3" fmla="*/ 736 h 775"/>
                  <a:gd name="T4" fmla="*/ 419 w 538"/>
                  <a:gd name="T5" fmla="*/ 702 h 775"/>
                  <a:gd name="T6" fmla="*/ 403 w 538"/>
                  <a:gd name="T7" fmla="*/ 760 h 775"/>
                  <a:gd name="T8" fmla="*/ 441 w 538"/>
                  <a:gd name="T9" fmla="*/ 740 h 775"/>
                  <a:gd name="T10" fmla="*/ 450 w 538"/>
                  <a:gd name="T11" fmla="*/ 733 h 775"/>
                  <a:gd name="T12" fmla="*/ 416 w 538"/>
                  <a:gd name="T13" fmla="*/ 572 h 775"/>
                  <a:gd name="T14" fmla="*/ 153 w 538"/>
                  <a:gd name="T15" fmla="*/ 622 h 775"/>
                  <a:gd name="T16" fmla="*/ 123 w 538"/>
                  <a:gd name="T17" fmla="*/ 241 h 775"/>
                  <a:gd name="T18" fmla="*/ 271 w 538"/>
                  <a:gd name="T19" fmla="*/ 119 h 775"/>
                  <a:gd name="T20" fmla="*/ 538 w 538"/>
                  <a:gd name="T21" fmla="*/ 232 h 775"/>
                  <a:gd name="T22" fmla="*/ 122 w 538"/>
                  <a:gd name="T23" fmla="*/ 45 h 775"/>
                  <a:gd name="T24" fmla="*/ 0 w 538"/>
                  <a:gd name="T25" fmla="*/ 399 h 775"/>
                  <a:gd name="T26" fmla="*/ 33 w 538"/>
                  <a:gd name="T27" fmla="*/ 656 h 775"/>
                  <a:gd name="T28" fmla="*/ 100 w 538"/>
                  <a:gd name="T29" fmla="*/ 736 h 775"/>
                  <a:gd name="T30" fmla="*/ 103 w 538"/>
                  <a:gd name="T31" fmla="*/ 725 h 775"/>
                  <a:gd name="T32" fmla="*/ 113 w 538"/>
                  <a:gd name="T33" fmla="*/ 746 h 775"/>
                  <a:gd name="T34" fmla="*/ 119 w 538"/>
                  <a:gd name="T35" fmla="*/ 750 h 775"/>
                  <a:gd name="T36" fmla="*/ 120 w 538"/>
                  <a:gd name="T37" fmla="*/ 743 h 775"/>
                  <a:gd name="T38" fmla="*/ 130 w 538"/>
                  <a:gd name="T39" fmla="*/ 738 h 775"/>
                  <a:gd name="T40" fmla="*/ 128 w 538"/>
                  <a:gd name="T41" fmla="*/ 757 h 775"/>
                  <a:gd name="T42" fmla="*/ 138 w 538"/>
                  <a:gd name="T43" fmla="*/ 744 h 775"/>
                  <a:gd name="T44" fmla="*/ 149 w 538"/>
                  <a:gd name="T45" fmla="*/ 748 h 775"/>
                  <a:gd name="T46" fmla="*/ 144 w 538"/>
                  <a:gd name="T47" fmla="*/ 726 h 775"/>
                  <a:gd name="T48" fmla="*/ 157 w 538"/>
                  <a:gd name="T49" fmla="*/ 759 h 775"/>
                  <a:gd name="T50" fmla="*/ 164 w 538"/>
                  <a:gd name="T51" fmla="*/ 753 h 775"/>
                  <a:gd name="T52" fmla="*/ 180 w 538"/>
                  <a:gd name="T53" fmla="*/ 757 h 775"/>
                  <a:gd name="T54" fmla="*/ 190 w 538"/>
                  <a:gd name="T55" fmla="*/ 771 h 775"/>
                  <a:gd name="T56" fmla="*/ 198 w 538"/>
                  <a:gd name="T57" fmla="*/ 711 h 775"/>
                  <a:gd name="T58" fmla="*/ 209 w 538"/>
                  <a:gd name="T59" fmla="*/ 768 h 775"/>
                  <a:gd name="T60" fmla="*/ 213 w 538"/>
                  <a:gd name="T61" fmla="*/ 734 h 775"/>
                  <a:gd name="T62" fmla="*/ 221 w 538"/>
                  <a:gd name="T63" fmla="*/ 753 h 775"/>
                  <a:gd name="T64" fmla="*/ 230 w 538"/>
                  <a:gd name="T65" fmla="*/ 755 h 775"/>
                  <a:gd name="T66" fmla="*/ 234 w 538"/>
                  <a:gd name="T67" fmla="*/ 741 h 775"/>
                  <a:gd name="T68" fmla="*/ 237 w 538"/>
                  <a:gd name="T69" fmla="*/ 742 h 775"/>
                  <a:gd name="T70" fmla="*/ 257 w 538"/>
                  <a:gd name="T71" fmla="*/ 723 h 775"/>
                  <a:gd name="T72" fmla="*/ 260 w 538"/>
                  <a:gd name="T73" fmla="*/ 728 h 775"/>
                  <a:gd name="T74" fmla="*/ 267 w 538"/>
                  <a:gd name="T75" fmla="*/ 740 h 775"/>
                  <a:gd name="T76" fmla="*/ 268 w 538"/>
                  <a:gd name="T77" fmla="*/ 775 h 775"/>
                  <a:gd name="T78" fmla="*/ 273 w 538"/>
                  <a:gd name="T79" fmla="*/ 753 h 775"/>
                  <a:gd name="T80" fmla="*/ 278 w 538"/>
                  <a:gd name="T81" fmla="*/ 755 h 775"/>
                  <a:gd name="T82" fmla="*/ 288 w 538"/>
                  <a:gd name="T83" fmla="*/ 765 h 775"/>
                  <a:gd name="T84" fmla="*/ 291 w 538"/>
                  <a:gd name="T85" fmla="*/ 762 h 775"/>
                  <a:gd name="T86" fmla="*/ 292 w 538"/>
                  <a:gd name="T87" fmla="*/ 743 h 775"/>
                  <a:gd name="T88" fmla="*/ 302 w 538"/>
                  <a:gd name="T89" fmla="*/ 766 h 775"/>
                  <a:gd name="T90" fmla="*/ 297 w 538"/>
                  <a:gd name="T91" fmla="*/ 736 h 775"/>
                  <a:gd name="T92" fmla="*/ 305 w 538"/>
                  <a:gd name="T93" fmla="*/ 753 h 775"/>
                  <a:gd name="T94" fmla="*/ 309 w 538"/>
                  <a:gd name="T95" fmla="*/ 756 h 775"/>
                  <a:gd name="T96" fmla="*/ 310 w 538"/>
                  <a:gd name="T97" fmla="*/ 770 h 775"/>
                  <a:gd name="T98" fmla="*/ 317 w 538"/>
                  <a:gd name="T99" fmla="*/ 754 h 775"/>
                  <a:gd name="T100" fmla="*/ 334 w 538"/>
                  <a:gd name="T101" fmla="*/ 741 h 775"/>
                  <a:gd name="T102" fmla="*/ 344 w 538"/>
                  <a:gd name="T103" fmla="*/ 723 h 775"/>
                  <a:gd name="T104" fmla="*/ 343 w 538"/>
                  <a:gd name="T105" fmla="*/ 771 h 775"/>
                  <a:gd name="T106" fmla="*/ 353 w 538"/>
                  <a:gd name="T107" fmla="*/ 722 h 775"/>
                  <a:gd name="T108" fmla="*/ 355 w 538"/>
                  <a:gd name="T109" fmla="*/ 755 h 775"/>
                  <a:gd name="T110" fmla="*/ 362 w 538"/>
                  <a:gd name="T111" fmla="*/ 75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38" h="775">
                    <a:moveTo>
                      <a:pt x="366" y="734"/>
                    </a:moveTo>
                    <a:cubicBezTo>
                      <a:pt x="365" y="739"/>
                      <a:pt x="367" y="747"/>
                      <a:pt x="369" y="753"/>
                    </a:cubicBezTo>
                    <a:cubicBezTo>
                      <a:pt x="372" y="760"/>
                      <a:pt x="376" y="765"/>
                      <a:pt x="381" y="766"/>
                    </a:cubicBezTo>
                    <a:cubicBezTo>
                      <a:pt x="381" y="763"/>
                      <a:pt x="382" y="758"/>
                      <a:pt x="383" y="756"/>
                    </a:cubicBezTo>
                    <a:cubicBezTo>
                      <a:pt x="386" y="750"/>
                      <a:pt x="387" y="741"/>
                      <a:pt x="387" y="735"/>
                    </a:cubicBezTo>
                    <a:cubicBezTo>
                      <a:pt x="387" y="735"/>
                      <a:pt x="388" y="736"/>
                      <a:pt x="388" y="736"/>
                    </a:cubicBezTo>
                    <a:cubicBezTo>
                      <a:pt x="390" y="745"/>
                      <a:pt x="392" y="752"/>
                      <a:pt x="394" y="763"/>
                    </a:cubicBezTo>
                    <a:cubicBezTo>
                      <a:pt x="395" y="751"/>
                      <a:pt x="400" y="741"/>
                      <a:pt x="405" y="731"/>
                    </a:cubicBezTo>
                    <a:cubicBezTo>
                      <a:pt x="410" y="722"/>
                      <a:pt x="416" y="713"/>
                      <a:pt x="419" y="702"/>
                    </a:cubicBezTo>
                    <a:cubicBezTo>
                      <a:pt x="419" y="710"/>
                      <a:pt x="419" y="716"/>
                      <a:pt x="415" y="723"/>
                    </a:cubicBezTo>
                    <a:cubicBezTo>
                      <a:pt x="411" y="730"/>
                      <a:pt x="409" y="734"/>
                      <a:pt x="408" y="739"/>
                    </a:cubicBezTo>
                    <a:cubicBezTo>
                      <a:pt x="406" y="743"/>
                      <a:pt x="405" y="749"/>
                      <a:pt x="403" y="760"/>
                    </a:cubicBezTo>
                    <a:cubicBezTo>
                      <a:pt x="403" y="759"/>
                      <a:pt x="416" y="750"/>
                      <a:pt x="415" y="751"/>
                    </a:cubicBezTo>
                    <a:cubicBezTo>
                      <a:pt x="415" y="754"/>
                      <a:pt x="415" y="756"/>
                      <a:pt x="416" y="758"/>
                    </a:cubicBezTo>
                    <a:cubicBezTo>
                      <a:pt x="425" y="753"/>
                      <a:pt x="433" y="747"/>
                      <a:pt x="441" y="740"/>
                    </a:cubicBezTo>
                    <a:cubicBezTo>
                      <a:pt x="442" y="740"/>
                      <a:pt x="442" y="740"/>
                      <a:pt x="443" y="739"/>
                    </a:cubicBezTo>
                    <a:cubicBezTo>
                      <a:pt x="443" y="739"/>
                      <a:pt x="443" y="739"/>
                      <a:pt x="443" y="739"/>
                    </a:cubicBezTo>
                    <a:cubicBezTo>
                      <a:pt x="445" y="737"/>
                      <a:pt x="447" y="735"/>
                      <a:pt x="450" y="733"/>
                    </a:cubicBezTo>
                    <a:cubicBezTo>
                      <a:pt x="451" y="732"/>
                      <a:pt x="453" y="731"/>
                      <a:pt x="454" y="729"/>
                    </a:cubicBezTo>
                    <a:cubicBezTo>
                      <a:pt x="495" y="691"/>
                      <a:pt x="523" y="638"/>
                      <a:pt x="538" y="572"/>
                    </a:cubicBezTo>
                    <a:lnTo>
                      <a:pt x="416" y="572"/>
                    </a:lnTo>
                    <a:cubicBezTo>
                      <a:pt x="384" y="643"/>
                      <a:pt x="336" y="679"/>
                      <a:pt x="271" y="679"/>
                    </a:cubicBezTo>
                    <a:cubicBezTo>
                      <a:pt x="244" y="679"/>
                      <a:pt x="221" y="673"/>
                      <a:pt x="201" y="661"/>
                    </a:cubicBezTo>
                    <a:cubicBezTo>
                      <a:pt x="181" y="651"/>
                      <a:pt x="165" y="638"/>
                      <a:pt x="153" y="622"/>
                    </a:cubicBezTo>
                    <a:cubicBezTo>
                      <a:pt x="138" y="605"/>
                      <a:pt x="128" y="583"/>
                      <a:pt x="123" y="556"/>
                    </a:cubicBezTo>
                    <a:cubicBezTo>
                      <a:pt x="118" y="528"/>
                      <a:pt x="115" y="476"/>
                      <a:pt x="115" y="399"/>
                    </a:cubicBezTo>
                    <a:cubicBezTo>
                      <a:pt x="115" y="322"/>
                      <a:pt x="118" y="269"/>
                      <a:pt x="123" y="241"/>
                    </a:cubicBezTo>
                    <a:cubicBezTo>
                      <a:pt x="128" y="214"/>
                      <a:pt x="138" y="193"/>
                      <a:pt x="153" y="176"/>
                    </a:cubicBezTo>
                    <a:cubicBezTo>
                      <a:pt x="165" y="160"/>
                      <a:pt x="181" y="146"/>
                      <a:pt x="201" y="135"/>
                    </a:cubicBezTo>
                    <a:cubicBezTo>
                      <a:pt x="221" y="125"/>
                      <a:pt x="244" y="119"/>
                      <a:pt x="271" y="119"/>
                    </a:cubicBezTo>
                    <a:cubicBezTo>
                      <a:pt x="308" y="119"/>
                      <a:pt x="339" y="130"/>
                      <a:pt x="365" y="152"/>
                    </a:cubicBezTo>
                    <a:cubicBezTo>
                      <a:pt x="390" y="174"/>
                      <a:pt x="407" y="201"/>
                      <a:pt x="416" y="232"/>
                    </a:cubicBezTo>
                    <a:lnTo>
                      <a:pt x="538" y="232"/>
                    </a:lnTo>
                    <a:cubicBezTo>
                      <a:pt x="526" y="167"/>
                      <a:pt x="497" y="112"/>
                      <a:pt x="451" y="68"/>
                    </a:cubicBezTo>
                    <a:cubicBezTo>
                      <a:pt x="404" y="24"/>
                      <a:pt x="345" y="1"/>
                      <a:pt x="271" y="0"/>
                    </a:cubicBezTo>
                    <a:cubicBezTo>
                      <a:pt x="212" y="1"/>
                      <a:pt x="162" y="16"/>
                      <a:pt x="122" y="45"/>
                    </a:cubicBezTo>
                    <a:cubicBezTo>
                      <a:pt x="81" y="73"/>
                      <a:pt x="52" y="105"/>
                      <a:pt x="33" y="141"/>
                    </a:cubicBezTo>
                    <a:cubicBezTo>
                      <a:pt x="22" y="160"/>
                      <a:pt x="13" y="185"/>
                      <a:pt x="8" y="216"/>
                    </a:cubicBezTo>
                    <a:cubicBezTo>
                      <a:pt x="3" y="247"/>
                      <a:pt x="0" y="308"/>
                      <a:pt x="0" y="399"/>
                    </a:cubicBezTo>
                    <a:cubicBezTo>
                      <a:pt x="0" y="489"/>
                      <a:pt x="3" y="549"/>
                      <a:pt x="8" y="581"/>
                    </a:cubicBezTo>
                    <a:cubicBezTo>
                      <a:pt x="11" y="598"/>
                      <a:pt x="14" y="612"/>
                      <a:pt x="18" y="623"/>
                    </a:cubicBezTo>
                    <a:cubicBezTo>
                      <a:pt x="23" y="633"/>
                      <a:pt x="28" y="645"/>
                      <a:pt x="33" y="656"/>
                    </a:cubicBezTo>
                    <a:cubicBezTo>
                      <a:pt x="42" y="674"/>
                      <a:pt x="54" y="690"/>
                      <a:pt x="67" y="705"/>
                    </a:cubicBezTo>
                    <a:cubicBezTo>
                      <a:pt x="68" y="706"/>
                      <a:pt x="68" y="706"/>
                      <a:pt x="69" y="707"/>
                    </a:cubicBezTo>
                    <a:cubicBezTo>
                      <a:pt x="78" y="717"/>
                      <a:pt x="88" y="727"/>
                      <a:pt x="100" y="736"/>
                    </a:cubicBezTo>
                    <a:cubicBezTo>
                      <a:pt x="99" y="730"/>
                      <a:pt x="99" y="724"/>
                      <a:pt x="99" y="718"/>
                    </a:cubicBezTo>
                    <a:cubicBezTo>
                      <a:pt x="99" y="711"/>
                      <a:pt x="100" y="704"/>
                      <a:pt x="101" y="697"/>
                    </a:cubicBezTo>
                    <a:cubicBezTo>
                      <a:pt x="100" y="706"/>
                      <a:pt x="101" y="716"/>
                      <a:pt x="103" y="725"/>
                    </a:cubicBezTo>
                    <a:cubicBezTo>
                      <a:pt x="104" y="731"/>
                      <a:pt x="106" y="736"/>
                      <a:pt x="108" y="742"/>
                    </a:cubicBezTo>
                    <a:cubicBezTo>
                      <a:pt x="110" y="743"/>
                      <a:pt x="111" y="745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5" y="747"/>
                      <a:pt x="116" y="748"/>
                      <a:pt x="118" y="750"/>
                    </a:cubicBezTo>
                    <a:lnTo>
                      <a:pt x="119" y="750"/>
                    </a:lnTo>
                    <a:cubicBezTo>
                      <a:pt x="119" y="750"/>
                      <a:pt x="119" y="750"/>
                      <a:pt x="119" y="750"/>
                    </a:cubicBezTo>
                    <a:cubicBezTo>
                      <a:pt x="120" y="750"/>
                      <a:pt x="120" y="751"/>
                      <a:pt x="121" y="752"/>
                    </a:cubicBezTo>
                    <a:cubicBezTo>
                      <a:pt x="121" y="749"/>
                      <a:pt x="121" y="746"/>
                      <a:pt x="120" y="743"/>
                    </a:cubicBezTo>
                    <a:cubicBezTo>
                      <a:pt x="120" y="743"/>
                      <a:pt x="122" y="745"/>
                      <a:pt x="122" y="745"/>
                    </a:cubicBezTo>
                    <a:cubicBezTo>
                      <a:pt x="122" y="746"/>
                      <a:pt x="123" y="747"/>
                      <a:pt x="124" y="749"/>
                    </a:cubicBezTo>
                    <a:cubicBezTo>
                      <a:pt x="126" y="745"/>
                      <a:pt x="129" y="741"/>
                      <a:pt x="130" y="738"/>
                    </a:cubicBezTo>
                    <a:cubicBezTo>
                      <a:pt x="135" y="731"/>
                      <a:pt x="146" y="721"/>
                      <a:pt x="147" y="710"/>
                    </a:cubicBezTo>
                    <a:cubicBezTo>
                      <a:pt x="146" y="719"/>
                      <a:pt x="142" y="727"/>
                      <a:pt x="138" y="735"/>
                    </a:cubicBezTo>
                    <a:cubicBezTo>
                      <a:pt x="134" y="742"/>
                      <a:pt x="130" y="749"/>
                      <a:pt x="128" y="757"/>
                    </a:cubicBezTo>
                    <a:cubicBezTo>
                      <a:pt x="131" y="758"/>
                      <a:pt x="133" y="760"/>
                      <a:pt x="135" y="761"/>
                    </a:cubicBezTo>
                    <a:cubicBezTo>
                      <a:pt x="136" y="759"/>
                      <a:pt x="137" y="756"/>
                      <a:pt x="137" y="754"/>
                    </a:cubicBezTo>
                    <a:cubicBezTo>
                      <a:pt x="137" y="751"/>
                      <a:pt x="137" y="747"/>
                      <a:pt x="138" y="744"/>
                    </a:cubicBezTo>
                    <a:cubicBezTo>
                      <a:pt x="137" y="751"/>
                      <a:pt x="139" y="758"/>
                      <a:pt x="141" y="764"/>
                    </a:cubicBezTo>
                    <a:cubicBezTo>
                      <a:pt x="144" y="766"/>
                      <a:pt x="147" y="768"/>
                      <a:pt x="150" y="769"/>
                    </a:cubicBezTo>
                    <a:cubicBezTo>
                      <a:pt x="150" y="762"/>
                      <a:pt x="150" y="755"/>
                      <a:pt x="149" y="748"/>
                    </a:cubicBezTo>
                    <a:cubicBezTo>
                      <a:pt x="148" y="741"/>
                      <a:pt x="146" y="734"/>
                      <a:pt x="144" y="726"/>
                    </a:cubicBezTo>
                    <a:cubicBezTo>
                      <a:pt x="144" y="726"/>
                      <a:pt x="144" y="726"/>
                      <a:pt x="144" y="725"/>
                    </a:cubicBezTo>
                    <a:cubicBezTo>
                      <a:pt x="144" y="726"/>
                      <a:pt x="144" y="726"/>
                      <a:pt x="144" y="726"/>
                    </a:cubicBezTo>
                    <a:cubicBezTo>
                      <a:pt x="145" y="728"/>
                      <a:pt x="147" y="730"/>
                      <a:pt x="148" y="731"/>
                    </a:cubicBezTo>
                    <a:cubicBezTo>
                      <a:pt x="149" y="734"/>
                      <a:pt x="151" y="739"/>
                      <a:pt x="152" y="743"/>
                    </a:cubicBezTo>
                    <a:cubicBezTo>
                      <a:pt x="153" y="747"/>
                      <a:pt x="156" y="754"/>
                      <a:pt x="157" y="759"/>
                    </a:cubicBezTo>
                    <a:cubicBezTo>
                      <a:pt x="159" y="762"/>
                      <a:pt x="163" y="772"/>
                      <a:pt x="165" y="773"/>
                    </a:cubicBezTo>
                    <a:cubicBezTo>
                      <a:pt x="165" y="772"/>
                      <a:pt x="164" y="769"/>
                      <a:pt x="164" y="767"/>
                    </a:cubicBezTo>
                    <a:cubicBezTo>
                      <a:pt x="164" y="763"/>
                      <a:pt x="164" y="758"/>
                      <a:pt x="164" y="753"/>
                    </a:cubicBezTo>
                    <a:cubicBezTo>
                      <a:pt x="164" y="761"/>
                      <a:pt x="173" y="768"/>
                      <a:pt x="178" y="771"/>
                    </a:cubicBezTo>
                    <a:cubicBezTo>
                      <a:pt x="178" y="769"/>
                      <a:pt x="179" y="768"/>
                      <a:pt x="179" y="766"/>
                    </a:cubicBezTo>
                    <a:cubicBezTo>
                      <a:pt x="180" y="763"/>
                      <a:pt x="180" y="760"/>
                      <a:pt x="180" y="757"/>
                    </a:cubicBezTo>
                    <a:cubicBezTo>
                      <a:pt x="181" y="751"/>
                      <a:pt x="182" y="742"/>
                      <a:pt x="180" y="735"/>
                    </a:cubicBezTo>
                    <a:cubicBezTo>
                      <a:pt x="182" y="740"/>
                      <a:pt x="184" y="745"/>
                      <a:pt x="186" y="751"/>
                    </a:cubicBezTo>
                    <a:cubicBezTo>
                      <a:pt x="187" y="757"/>
                      <a:pt x="189" y="764"/>
                      <a:pt x="190" y="771"/>
                    </a:cubicBezTo>
                    <a:cubicBezTo>
                      <a:pt x="191" y="758"/>
                      <a:pt x="190" y="765"/>
                      <a:pt x="195" y="753"/>
                    </a:cubicBezTo>
                    <a:cubicBezTo>
                      <a:pt x="198" y="745"/>
                      <a:pt x="199" y="737"/>
                      <a:pt x="200" y="730"/>
                    </a:cubicBezTo>
                    <a:cubicBezTo>
                      <a:pt x="200" y="722"/>
                      <a:pt x="200" y="715"/>
                      <a:pt x="198" y="711"/>
                    </a:cubicBezTo>
                    <a:cubicBezTo>
                      <a:pt x="198" y="713"/>
                      <a:pt x="204" y="722"/>
                      <a:pt x="205" y="726"/>
                    </a:cubicBezTo>
                    <a:cubicBezTo>
                      <a:pt x="205" y="736"/>
                      <a:pt x="202" y="742"/>
                      <a:pt x="202" y="751"/>
                    </a:cubicBezTo>
                    <a:cubicBezTo>
                      <a:pt x="200" y="766"/>
                      <a:pt x="199" y="759"/>
                      <a:pt x="209" y="768"/>
                    </a:cubicBezTo>
                    <a:cubicBezTo>
                      <a:pt x="209" y="768"/>
                      <a:pt x="208" y="765"/>
                      <a:pt x="208" y="764"/>
                    </a:cubicBezTo>
                    <a:cubicBezTo>
                      <a:pt x="208" y="758"/>
                      <a:pt x="208" y="754"/>
                      <a:pt x="209" y="749"/>
                    </a:cubicBezTo>
                    <a:cubicBezTo>
                      <a:pt x="210" y="745"/>
                      <a:pt x="211" y="740"/>
                      <a:pt x="213" y="734"/>
                    </a:cubicBezTo>
                    <a:cubicBezTo>
                      <a:pt x="213" y="742"/>
                      <a:pt x="216" y="756"/>
                      <a:pt x="222" y="762"/>
                    </a:cubicBezTo>
                    <a:cubicBezTo>
                      <a:pt x="222" y="761"/>
                      <a:pt x="221" y="759"/>
                      <a:pt x="221" y="758"/>
                    </a:cubicBezTo>
                    <a:cubicBezTo>
                      <a:pt x="221" y="756"/>
                      <a:pt x="221" y="757"/>
                      <a:pt x="221" y="753"/>
                    </a:cubicBezTo>
                    <a:cubicBezTo>
                      <a:pt x="220" y="754"/>
                      <a:pt x="222" y="758"/>
                      <a:pt x="224" y="759"/>
                    </a:cubicBezTo>
                    <a:cubicBezTo>
                      <a:pt x="225" y="759"/>
                      <a:pt x="226" y="761"/>
                      <a:pt x="228" y="762"/>
                    </a:cubicBezTo>
                    <a:cubicBezTo>
                      <a:pt x="228" y="760"/>
                      <a:pt x="229" y="757"/>
                      <a:pt x="230" y="755"/>
                    </a:cubicBezTo>
                    <a:cubicBezTo>
                      <a:pt x="232" y="752"/>
                      <a:pt x="233" y="748"/>
                      <a:pt x="234" y="743"/>
                    </a:cubicBezTo>
                    <a:cubicBezTo>
                      <a:pt x="233" y="743"/>
                      <a:pt x="232" y="742"/>
                      <a:pt x="231" y="741"/>
                    </a:cubicBezTo>
                    <a:cubicBezTo>
                      <a:pt x="232" y="740"/>
                      <a:pt x="233" y="741"/>
                      <a:pt x="234" y="741"/>
                    </a:cubicBezTo>
                    <a:cubicBezTo>
                      <a:pt x="234" y="739"/>
                      <a:pt x="234" y="736"/>
                      <a:pt x="235" y="734"/>
                    </a:cubicBezTo>
                    <a:cubicBezTo>
                      <a:pt x="235" y="734"/>
                      <a:pt x="235" y="736"/>
                      <a:pt x="235" y="736"/>
                    </a:cubicBezTo>
                    <a:cubicBezTo>
                      <a:pt x="236" y="738"/>
                      <a:pt x="236" y="740"/>
                      <a:pt x="237" y="742"/>
                    </a:cubicBezTo>
                    <a:cubicBezTo>
                      <a:pt x="239" y="744"/>
                      <a:pt x="242" y="746"/>
                      <a:pt x="244" y="749"/>
                    </a:cubicBezTo>
                    <a:cubicBezTo>
                      <a:pt x="246" y="742"/>
                      <a:pt x="250" y="735"/>
                      <a:pt x="254" y="729"/>
                    </a:cubicBezTo>
                    <a:cubicBezTo>
                      <a:pt x="254" y="727"/>
                      <a:pt x="256" y="725"/>
                      <a:pt x="257" y="723"/>
                    </a:cubicBezTo>
                    <a:cubicBezTo>
                      <a:pt x="260" y="716"/>
                      <a:pt x="264" y="710"/>
                      <a:pt x="267" y="702"/>
                    </a:cubicBezTo>
                    <a:cubicBezTo>
                      <a:pt x="266" y="710"/>
                      <a:pt x="266" y="716"/>
                      <a:pt x="262" y="723"/>
                    </a:cubicBezTo>
                    <a:cubicBezTo>
                      <a:pt x="261" y="725"/>
                      <a:pt x="260" y="726"/>
                      <a:pt x="260" y="728"/>
                    </a:cubicBezTo>
                    <a:cubicBezTo>
                      <a:pt x="259" y="732"/>
                      <a:pt x="259" y="736"/>
                      <a:pt x="260" y="740"/>
                    </a:cubicBezTo>
                    <a:cubicBezTo>
                      <a:pt x="265" y="734"/>
                      <a:pt x="271" y="730"/>
                      <a:pt x="279" y="728"/>
                    </a:cubicBezTo>
                    <a:cubicBezTo>
                      <a:pt x="278" y="732"/>
                      <a:pt x="269" y="736"/>
                      <a:pt x="267" y="740"/>
                    </a:cubicBezTo>
                    <a:cubicBezTo>
                      <a:pt x="265" y="744"/>
                      <a:pt x="264" y="748"/>
                      <a:pt x="264" y="753"/>
                    </a:cubicBezTo>
                    <a:cubicBezTo>
                      <a:pt x="264" y="754"/>
                      <a:pt x="265" y="756"/>
                      <a:pt x="265" y="757"/>
                    </a:cubicBezTo>
                    <a:cubicBezTo>
                      <a:pt x="267" y="762"/>
                      <a:pt x="267" y="768"/>
                      <a:pt x="268" y="775"/>
                    </a:cubicBezTo>
                    <a:cubicBezTo>
                      <a:pt x="270" y="773"/>
                      <a:pt x="273" y="771"/>
                      <a:pt x="274" y="769"/>
                    </a:cubicBezTo>
                    <a:lnTo>
                      <a:pt x="274" y="769"/>
                    </a:lnTo>
                    <a:cubicBezTo>
                      <a:pt x="274" y="764"/>
                      <a:pt x="274" y="758"/>
                      <a:pt x="273" y="753"/>
                    </a:cubicBezTo>
                    <a:cubicBezTo>
                      <a:pt x="273" y="754"/>
                      <a:pt x="274" y="755"/>
                      <a:pt x="275" y="756"/>
                    </a:cubicBezTo>
                    <a:cubicBezTo>
                      <a:pt x="276" y="757"/>
                      <a:pt x="277" y="759"/>
                      <a:pt x="278" y="761"/>
                    </a:cubicBezTo>
                    <a:cubicBezTo>
                      <a:pt x="278" y="759"/>
                      <a:pt x="278" y="757"/>
                      <a:pt x="278" y="755"/>
                    </a:cubicBezTo>
                    <a:cubicBezTo>
                      <a:pt x="280" y="757"/>
                      <a:pt x="282" y="760"/>
                      <a:pt x="283" y="762"/>
                    </a:cubicBezTo>
                    <a:cubicBezTo>
                      <a:pt x="285" y="764"/>
                      <a:pt x="287" y="767"/>
                      <a:pt x="288" y="770"/>
                    </a:cubicBezTo>
                    <a:cubicBezTo>
                      <a:pt x="288" y="768"/>
                      <a:pt x="287" y="766"/>
                      <a:pt x="288" y="765"/>
                    </a:cubicBezTo>
                    <a:cubicBezTo>
                      <a:pt x="288" y="762"/>
                      <a:pt x="290" y="758"/>
                      <a:pt x="290" y="755"/>
                    </a:cubicBezTo>
                    <a:cubicBezTo>
                      <a:pt x="290" y="758"/>
                      <a:pt x="290" y="760"/>
                      <a:pt x="291" y="763"/>
                    </a:cubicBezTo>
                    <a:cubicBezTo>
                      <a:pt x="291" y="763"/>
                      <a:pt x="291" y="762"/>
                      <a:pt x="291" y="762"/>
                    </a:cubicBezTo>
                    <a:cubicBezTo>
                      <a:pt x="291" y="759"/>
                      <a:pt x="291" y="754"/>
                      <a:pt x="292" y="751"/>
                    </a:cubicBezTo>
                    <a:cubicBezTo>
                      <a:pt x="292" y="745"/>
                      <a:pt x="290" y="739"/>
                      <a:pt x="286" y="736"/>
                    </a:cubicBezTo>
                    <a:cubicBezTo>
                      <a:pt x="287" y="736"/>
                      <a:pt x="292" y="742"/>
                      <a:pt x="292" y="743"/>
                    </a:cubicBezTo>
                    <a:cubicBezTo>
                      <a:pt x="295" y="747"/>
                      <a:pt x="296" y="752"/>
                      <a:pt x="298" y="757"/>
                    </a:cubicBezTo>
                    <a:cubicBezTo>
                      <a:pt x="299" y="762"/>
                      <a:pt x="300" y="767"/>
                      <a:pt x="301" y="772"/>
                    </a:cubicBezTo>
                    <a:cubicBezTo>
                      <a:pt x="301" y="770"/>
                      <a:pt x="302" y="768"/>
                      <a:pt x="302" y="766"/>
                    </a:cubicBezTo>
                    <a:cubicBezTo>
                      <a:pt x="302" y="761"/>
                      <a:pt x="301" y="756"/>
                      <a:pt x="300" y="751"/>
                    </a:cubicBezTo>
                    <a:cubicBezTo>
                      <a:pt x="299" y="746"/>
                      <a:pt x="298" y="742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8" y="738"/>
                      <a:pt x="300" y="741"/>
                      <a:pt x="300" y="742"/>
                    </a:cubicBezTo>
                    <a:cubicBezTo>
                      <a:pt x="302" y="745"/>
                      <a:pt x="304" y="750"/>
                      <a:pt x="305" y="753"/>
                    </a:cubicBezTo>
                    <a:cubicBezTo>
                      <a:pt x="305" y="754"/>
                      <a:pt x="305" y="756"/>
                      <a:pt x="306" y="758"/>
                    </a:cubicBezTo>
                    <a:cubicBezTo>
                      <a:pt x="307" y="754"/>
                      <a:pt x="309" y="750"/>
                      <a:pt x="311" y="747"/>
                    </a:cubicBezTo>
                    <a:cubicBezTo>
                      <a:pt x="310" y="750"/>
                      <a:pt x="310" y="753"/>
                      <a:pt x="309" y="756"/>
                    </a:cubicBezTo>
                    <a:cubicBezTo>
                      <a:pt x="309" y="758"/>
                      <a:pt x="310" y="759"/>
                      <a:pt x="309" y="761"/>
                    </a:cubicBezTo>
                    <a:cubicBezTo>
                      <a:pt x="309" y="762"/>
                      <a:pt x="310" y="765"/>
                      <a:pt x="310" y="766"/>
                    </a:cubicBezTo>
                    <a:cubicBezTo>
                      <a:pt x="310" y="767"/>
                      <a:pt x="310" y="768"/>
                      <a:pt x="310" y="770"/>
                    </a:cubicBezTo>
                    <a:cubicBezTo>
                      <a:pt x="311" y="772"/>
                      <a:pt x="313" y="773"/>
                      <a:pt x="315" y="773"/>
                    </a:cubicBezTo>
                    <a:cubicBezTo>
                      <a:pt x="315" y="771"/>
                      <a:pt x="316" y="769"/>
                      <a:pt x="317" y="767"/>
                    </a:cubicBezTo>
                    <a:cubicBezTo>
                      <a:pt x="317" y="763"/>
                      <a:pt x="317" y="758"/>
                      <a:pt x="317" y="754"/>
                    </a:cubicBezTo>
                    <a:cubicBezTo>
                      <a:pt x="317" y="757"/>
                      <a:pt x="318" y="760"/>
                      <a:pt x="320" y="762"/>
                    </a:cubicBezTo>
                    <a:cubicBezTo>
                      <a:pt x="323" y="757"/>
                      <a:pt x="326" y="752"/>
                      <a:pt x="328" y="749"/>
                    </a:cubicBezTo>
                    <a:cubicBezTo>
                      <a:pt x="329" y="746"/>
                      <a:pt x="332" y="744"/>
                      <a:pt x="334" y="741"/>
                    </a:cubicBezTo>
                    <a:cubicBezTo>
                      <a:pt x="333" y="738"/>
                      <a:pt x="332" y="735"/>
                      <a:pt x="331" y="733"/>
                    </a:cubicBezTo>
                    <a:cubicBezTo>
                      <a:pt x="333" y="735"/>
                      <a:pt x="334" y="737"/>
                      <a:pt x="335" y="739"/>
                    </a:cubicBezTo>
                    <a:cubicBezTo>
                      <a:pt x="339" y="734"/>
                      <a:pt x="343" y="729"/>
                      <a:pt x="344" y="723"/>
                    </a:cubicBezTo>
                    <a:cubicBezTo>
                      <a:pt x="343" y="730"/>
                      <a:pt x="340" y="736"/>
                      <a:pt x="337" y="742"/>
                    </a:cubicBezTo>
                    <a:cubicBezTo>
                      <a:pt x="339" y="747"/>
                      <a:pt x="340" y="751"/>
                      <a:pt x="341" y="756"/>
                    </a:cubicBezTo>
                    <a:cubicBezTo>
                      <a:pt x="342" y="761"/>
                      <a:pt x="342" y="766"/>
                      <a:pt x="343" y="771"/>
                    </a:cubicBezTo>
                    <a:cubicBezTo>
                      <a:pt x="343" y="765"/>
                      <a:pt x="344" y="760"/>
                      <a:pt x="345" y="755"/>
                    </a:cubicBezTo>
                    <a:cubicBezTo>
                      <a:pt x="345" y="751"/>
                      <a:pt x="346" y="746"/>
                      <a:pt x="348" y="740"/>
                    </a:cubicBezTo>
                    <a:cubicBezTo>
                      <a:pt x="350" y="733"/>
                      <a:pt x="352" y="727"/>
                      <a:pt x="353" y="722"/>
                    </a:cubicBezTo>
                    <a:cubicBezTo>
                      <a:pt x="353" y="718"/>
                      <a:pt x="353" y="713"/>
                      <a:pt x="349" y="709"/>
                    </a:cubicBezTo>
                    <a:cubicBezTo>
                      <a:pt x="361" y="709"/>
                      <a:pt x="358" y="729"/>
                      <a:pt x="357" y="737"/>
                    </a:cubicBezTo>
                    <a:cubicBezTo>
                      <a:pt x="357" y="745"/>
                      <a:pt x="355" y="750"/>
                      <a:pt x="355" y="755"/>
                    </a:cubicBezTo>
                    <a:cubicBezTo>
                      <a:pt x="355" y="760"/>
                      <a:pt x="357" y="764"/>
                      <a:pt x="362" y="769"/>
                    </a:cubicBezTo>
                    <a:cubicBezTo>
                      <a:pt x="362" y="768"/>
                      <a:pt x="361" y="765"/>
                      <a:pt x="361" y="764"/>
                    </a:cubicBezTo>
                    <a:cubicBezTo>
                      <a:pt x="361" y="758"/>
                      <a:pt x="361" y="754"/>
                      <a:pt x="362" y="750"/>
                    </a:cubicBezTo>
                    <a:cubicBezTo>
                      <a:pt x="363" y="745"/>
                      <a:pt x="364" y="741"/>
                      <a:pt x="366" y="7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0" name="Freeform 37">
                <a:extLst>
                  <a:ext uri="{FF2B5EF4-FFF2-40B4-BE49-F238E27FC236}">
                    <a16:creationId xmlns:a16="http://schemas.microsoft.com/office/drawing/2014/main" id="{10DFCB3C-637E-6B6A-71AE-F652951DE2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7156" y="3934013"/>
                <a:ext cx="1810" cy="3620"/>
              </a:xfrm>
              <a:custGeom>
                <a:avLst/>
                <a:gdLst>
                  <a:gd name="T0" fmla="*/ 2 w 3"/>
                  <a:gd name="T1" fmla="*/ 0 h 12"/>
                  <a:gd name="T2" fmla="*/ 0 w 3"/>
                  <a:gd name="T3" fmla="*/ 12 h 12"/>
                  <a:gd name="T4" fmla="*/ 3 w 3"/>
                  <a:gd name="T5" fmla="*/ 6 h 12"/>
                  <a:gd name="T6" fmla="*/ 3 w 3"/>
                  <a:gd name="T7" fmla="*/ 5 h 12"/>
                  <a:gd name="T8" fmla="*/ 2 w 3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2">
                    <a:moveTo>
                      <a:pt x="2" y="0"/>
                    </a:moveTo>
                    <a:cubicBezTo>
                      <a:pt x="2" y="4"/>
                      <a:pt x="1" y="7"/>
                      <a:pt x="0" y="12"/>
                    </a:cubicBezTo>
                    <a:cubicBezTo>
                      <a:pt x="0" y="11"/>
                      <a:pt x="2" y="8"/>
                      <a:pt x="3" y="6"/>
                    </a:cubicBezTo>
                    <a:cubicBezTo>
                      <a:pt x="3" y="6"/>
                      <a:pt x="3" y="5"/>
                      <a:pt x="3" y="5"/>
                    </a:cubicBezTo>
                    <a:cubicBezTo>
                      <a:pt x="3" y="3"/>
                      <a:pt x="3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1" name="Freeform 38">
                <a:extLst>
                  <a:ext uri="{FF2B5EF4-FFF2-40B4-BE49-F238E27FC236}">
                    <a16:creationId xmlns:a16="http://schemas.microsoft.com/office/drawing/2014/main" id="{D3CD4A97-49DB-DCCB-432F-F93F2AEBEF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1726" y="3934013"/>
                <a:ext cx="1810" cy="5430"/>
              </a:xfrm>
              <a:custGeom>
                <a:avLst/>
                <a:gdLst>
                  <a:gd name="T0" fmla="*/ 0 w 5"/>
                  <a:gd name="T1" fmla="*/ 0 h 14"/>
                  <a:gd name="T2" fmla="*/ 3 w 5"/>
                  <a:gd name="T3" fmla="*/ 14 h 14"/>
                  <a:gd name="T4" fmla="*/ 5 w 5"/>
                  <a:gd name="T5" fmla="*/ 6 h 14"/>
                  <a:gd name="T6" fmla="*/ 0 w 5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4">
                    <a:moveTo>
                      <a:pt x="0" y="0"/>
                    </a:moveTo>
                    <a:cubicBezTo>
                      <a:pt x="1" y="4"/>
                      <a:pt x="2" y="9"/>
                      <a:pt x="3" y="14"/>
                    </a:cubicBezTo>
                    <a:cubicBezTo>
                      <a:pt x="4" y="11"/>
                      <a:pt x="4" y="9"/>
                      <a:pt x="5" y="6"/>
                    </a:cubicBezTo>
                    <a:cubicBezTo>
                      <a:pt x="4" y="4"/>
                      <a:pt x="2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2" name="Freeform 39">
                <a:extLst>
                  <a:ext uri="{FF2B5EF4-FFF2-40B4-BE49-F238E27FC236}">
                    <a16:creationId xmlns:a16="http://schemas.microsoft.com/office/drawing/2014/main" id="{DEBA006C-188C-9F98-71AD-E953F5BB51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1051" y="39322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3" name="Freeform 40">
                <a:extLst>
                  <a:ext uri="{FF2B5EF4-FFF2-40B4-BE49-F238E27FC236}">
                    <a16:creationId xmlns:a16="http://schemas.microsoft.com/office/drawing/2014/main" id="{053EA6E6-A265-C0C4-4C5A-2E9CABB8FE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2861" y="3934013"/>
                <a:ext cx="0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4" name="Freeform 41">
                <a:extLst>
                  <a:ext uri="{FF2B5EF4-FFF2-40B4-BE49-F238E27FC236}">
                    <a16:creationId xmlns:a16="http://schemas.microsoft.com/office/drawing/2014/main" id="{A9F55A8B-ECAA-74C6-C3CA-B027BD5133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37923" y="3932203"/>
                <a:ext cx="3620" cy="10859"/>
              </a:xfrm>
              <a:custGeom>
                <a:avLst/>
                <a:gdLst>
                  <a:gd name="T0" fmla="*/ 9 w 10"/>
                  <a:gd name="T1" fmla="*/ 11 h 24"/>
                  <a:gd name="T2" fmla="*/ 10 w 10"/>
                  <a:gd name="T3" fmla="*/ 0 h 24"/>
                  <a:gd name="T4" fmla="*/ 0 w 10"/>
                  <a:gd name="T5" fmla="*/ 21 h 24"/>
                  <a:gd name="T6" fmla="*/ 6 w 10"/>
                  <a:gd name="T7" fmla="*/ 24 h 24"/>
                  <a:gd name="T8" fmla="*/ 7 w 10"/>
                  <a:gd name="T9" fmla="*/ 20 h 24"/>
                  <a:gd name="T10" fmla="*/ 9 w 10"/>
                  <a:gd name="T11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4">
                    <a:moveTo>
                      <a:pt x="9" y="11"/>
                    </a:moveTo>
                    <a:cubicBezTo>
                      <a:pt x="10" y="8"/>
                      <a:pt x="10" y="4"/>
                      <a:pt x="10" y="0"/>
                    </a:cubicBezTo>
                    <a:cubicBezTo>
                      <a:pt x="6" y="7"/>
                      <a:pt x="2" y="14"/>
                      <a:pt x="0" y="21"/>
                    </a:cubicBezTo>
                    <a:cubicBezTo>
                      <a:pt x="2" y="23"/>
                      <a:pt x="4" y="24"/>
                      <a:pt x="6" y="24"/>
                    </a:cubicBezTo>
                    <a:cubicBezTo>
                      <a:pt x="6" y="22"/>
                      <a:pt x="7" y="22"/>
                      <a:pt x="7" y="20"/>
                    </a:cubicBezTo>
                    <a:cubicBezTo>
                      <a:pt x="7" y="17"/>
                      <a:pt x="9" y="14"/>
                      <a:pt x="9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5" name="Freeform 42">
                <a:extLst>
                  <a:ext uri="{FF2B5EF4-FFF2-40B4-BE49-F238E27FC236}">
                    <a16:creationId xmlns:a16="http://schemas.microsoft.com/office/drawing/2014/main" id="{D3D378FD-218D-5549-9D5E-F5AD8B8A41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29360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6" name="Freeform 43">
                <a:extLst>
                  <a:ext uri="{FF2B5EF4-FFF2-40B4-BE49-F238E27FC236}">
                    <a16:creationId xmlns:a16="http://schemas.microsoft.com/office/drawing/2014/main" id="{4EF6B16F-0CE0-4816-06D8-3285B9681A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56048" y="4004596"/>
                <a:ext cx="54295" cy="74204"/>
              </a:xfrm>
              <a:custGeom>
                <a:avLst/>
                <a:gdLst>
                  <a:gd name="T0" fmla="*/ 84 w 130"/>
                  <a:gd name="T1" fmla="*/ 181 h 181"/>
                  <a:gd name="T2" fmla="*/ 84 w 130"/>
                  <a:gd name="T3" fmla="*/ 33 h 181"/>
                  <a:gd name="T4" fmla="*/ 130 w 130"/>
                  <a:gd name="T5" fmla="*/ 33 h 181"/>
                  <a:gd name="T6" fmla="*/ 130 w 130"/>
                  <a:gd name="T7" fmla="*/ 0 h 181"/>
                  <a:gd name="T8" fmla="*/ 0 w 130"/>
                  <a:gd name="T9" fmla="*/ 0 h 181"/>
                  <a:gd name="T10" fmla="*/ 0 w 130"/>
                  <a:gd name="T11" fmla="*/ 33 h 181"/>
                  <a:gd name="T12" fmla="*/ 45 w 130"/>
                  <a:gd name="T13" fmla="*/ 33 h 181"/>
                  <a:gd name="T14" fmla="*/ 45 w 130"/>
                  <a:gd name="T15" fmla="*/ 181 h 181"/>
                  <a:gd name="T16" fmla="*/ 84 w 130"/>
                  <a:gd name="T17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0" h="181">
                    <a:moveTo>
                      <a:pt x="84" y="181"/>
                    </a:moveTo>
                    <a:lnTo>
                      <a:pt x="84" y="33"/>
                    </a:lnTo>
                    <a:lnTo>
                      <a:pt x="130" y="33"/>
                    </a:lnTo>
                    <a:lnTo>
                      <a:pt x="130" y="0"/>
                    </a:lnTo>
                    <a:lnTo>
                      <a:pt x="0" y="0"/>
                    </a:lnTo>
                    <a:lnTo>
                      <a:pt x="0" y="33"/>
                    </a:lnTo>
                    <a:lnTo>
                      <a:pt x="45" y="33"/>
                    </a:lnTo>
                    <a:lnTo>
                      <a:pt x="45" y="181"/>
                    </a:lnTo>
                    <a:lnTo>
                      <a:pt x="84" y="1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7" name="Freeform 44">
                <a:extLst>
                  <a:ext uri="{FF2B5EF4-FFF2-40B4-BE49-F238E27FC236}">
                    <a16:creationId xmlns:a16="http://schemas.microsoft.com/office/drawing/2014/main" id="{6594D440-AFD7-D8A6-8A8E-782F5BA085C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81844" y="4002787"/>
                <a:ext cx="61534" cy="77823"/>
              </a:xfrm>
              <a:custGeom>
                <a:avLst/>
                <a:gdLst>
                  <a:gd name="T0" fmla="*/ 76 w 150"/>
                  <a:gd name="T1" fmla="*/ 154 h 187"/>
                  <a:gd name="T2" fmla="*/ 40 w 150"/>
                  <a:gd name="T3" fmla="*/ 92 h 187"/>
                  <a:gd name="T4" fmla="*/ 74 w 150"/>
                  <a:gd name="T5" fmla="*/ 33 h 187"/>
                  <a:gd name="T6" fmla="*/ 109 w 150"/>
                  <a:gd name="T7" fmla="*/ 95 h 187"/>
                  <a:gd name="T8" fmla="*/ 76 w 150"/>
                  <a:gd name="T9" fmla="*/ 154 h 187"/>
                  <a:gd name="T10" fmla="*/ 76 w 150"/>
                  <a:gd name="T11" fmla="*/ 0 h 187"/>
                  <a:gd name="T12" fmla="*/ 0 w 150"/>
                  <a:gd name="T13" fmla="*/ 95 h 187"/>
                  <a:gd name="T14" fmla="*/ 74 w 150"/>
                  <a:gd name="T15" fmla="*/ 187 h 187"/>
                  <a:gd name="T16" fmla="*/ 150 w 150"/>
                  <a:gd name="T17" fmla="*/ 93 h 187"/>
                  <a:gd name="T18" fmla="*/ 76 w 150"/>
                  <a:gd name="T1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87">
                    <a:moveTo>
                      <a:pt x="76" y="154"/>
                    </a:moveTo>
                    <a:cubicBezTo>
                      <a:pt x="54" y="154"/>
                      <a:pt x="40" y="138"/>
                      <a:pt x="40" y="92"/>
                    </a:cubicBezTo>
                    <a:cubicBezTo>
                      <a:pt x="40" y="47"/>
                      <a:pt x="54" y="33"/>
                      <a:pt x="74" y="33"/>
                    </a:cubicBezTo>
                    <a:cubicBezTo>
                      <a:pt x="96" y="33"/>
                      <a:pt x="109" y="49"/>
                      <a:pt x="109" y="95"/>
                    </a:cubicBezTo>
                    <a:cubicBezTo>
                      <a:pt x="109" y="139"/>
                      <a:pt x="97" y="154"/>
                      <a:pt x="76" y="154"/>
                    </a:cubicBezTo>
                    <a:close/>
                    <a:moveTo>
                      <a:pt x="76" y="0"/>
                    </a:moveTo>
                    <a:cubicBezTo>
                      <a:pt x="32" y="0"/>
                      <a:pt x="0" y="29"/>
                      <a:pt x="0" y="95"/>
                    </a:cubicBezTo>
                    <a:cubicBezTo>
                      <a:pt x="0" y="163"/>
                      <a:pt x="28" y="187"/>
                      <a:pt x="74" y="187"/>
                    </a:cubicBezTo>
                    <a:cubicBezTo>
                      <a:pt x="118" y="187"/>
                      <a:pt x="150" y="159"/>
                      <a:pt x="150" y="93"/>
                    </a:cubicBezTo>
                    <a:cubicBezTo>
                      <a:pt x="150" y="25"/>
                      <a:pt x="121" y="0"/>
                      <a:pt x="7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" name="Freeform 45">
                <a:extLst>
                  <a:ext uri="{FF2B5EF4-FFF2-40B4-BE49-F238E27FC236}">
                    <a16:creationId xmlns:a16="http://schemas.microsoft.com/office/drawing/2014/main" id="{4601378D-4F67-F047-B0A8-A32AFE6A54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07642" y="4004596"/>
                <a:ext cx="54295" cy="74204"/>
              </a:xfrm>
              <a:custGeom>
                <a:avLst/>
                <a:gdLst>
                  <a:gd name="T0" fmla="*/ 66 w 132"/>
                  <a:gd name="T1" fmla="*/ 149 h 181"/>
                  <a:gd name="T2" fmla="*/ 39 w 132"/>
                  <a:gd name="T3" fmla="*/ 149 h 181"/>
                  <a:gd name="T4" fmla="*/ 39 w 132"/>
                  <a:gd name="T5" fmla="*/ 105 h 181"/>
                  <a:gd name="T6" fmla="*/ 64 w 132"/>
                  <a:gd name="T7" fmla="*/ 105 h 181"/>
                  <a:gd name="T8" fmla="*/ 92 w 132"/>
                  <a:gd name="T9" fmla="*/ 127 h 181"/>
                  <a:gd name="T10" fmla="*/ 66 w 132"/>
                  <a:gd name="T11" fmla="*/ 149 h 181"/>
                  <a:gd name="T12" fmla="*/ 39 w 132"/>
                  <a:gd name="T13" fmla="*/ 33 h 181"/>
                  <a:gd name="T14" fmla="*/ 60 w 132"/>
                  <a:gd name="T15" fmla="*/ 33 h 181"/>
                  <a:gd name="T16" fmla="*/ 85 w 132"/>
                  <a:gd name="T17" fmla="*/ 52 h 181"/>
                  <a:gd name="T18" fmla="*/ 59 w 132"/>
                  <a:gd name="T19" fmla="*/ 73 h 181"/>
                  <a:gd name="T20" fmla="*/ 39 w 132"/>
                  <a:gd name="T21" fmla="*/ 73 h 181"/>
                  <a:gd name="T22" fmla="*/ 39 w 132"/>
                  <a:gd name="T23" fmla="*/ 33 h 181"/>
                  <a:gd name="T24" fmla="*/ 97 w 132"/>
                  <a:gd name="T25" fmla="*/ 86 h 181"/>
                  <a:gd name="T26" fmla="*/ 97 w 132"/>
                  <a:gd name="T27" fmla="*/ 85 h 181"/>
                  <a:gd name="T28" fmla="*/ 123 w 132"/>
                  <a:gd name="T29" fmla="*/ 47 h 181"/>
                  <a:gd name="T30" fmla="*/ 65 w 132"/>
                  <a:gd name="T31" fmla="*/ 0 h 181"/>
                  <a:gd name="T32" fmla="*/ 0 w 132"/>
                  <a:gd name="T33" fmla="*/ 0 h 181"/>
                  <a:gd name="T34" fmla="*/ 0 w 132"/>
                  <a:gd name="T35" fmla="*/ 181 h 181"/>
                  <a:gd name="T36" fmla="*/ 60 w 132"/>
                  <a:gd name="T37" fmla="*/ 181 h 181"/>
                  <a:gd name="T38" fmla="*/ 132 w 132"/>
                  <a:gd name="T39" fmla="*/ 126 h 181"/>
                  <a:gd name="T40" fmla="*/ 97 w 132"/>
                  <a:gd name="T41" fmla="*/ 86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2" h="181">
                    <a:moveTo>
                      <a:pt x="66" y="149"/>
                    </a:moveTo>
                    <a:lnTo>
                      <a:pt x="39" y="149"/>
                    </a:lnTo>
                    <a:lnTo>
                      <a:pt x="39" y="105"/>
                    </a:lnTo>
                    <a:lnTo>
                      <a:pt x="64" y="105"/>
                    </a:lnTo>
                    <a:cubicBezTo>
                      <a:pt x="79" y="105"/>
                      <a:pt x="92" y="111"/>
                      <a:pt x="92" y="127"/>
                    </a:cubicBezTo>
                    <a:cubicBezTo>
                      <a:pt x="92" y="137"/>
                      <a:pt x="86" y="149"/>
                      <a:pt x="66" y="149"/>
                    </a:cubicBezTo>
                    <a:close/>
                    <a:moveTo>
                      <a:pt x="39" y="33"/>
                    </a:moveTo>
                    <a:lnTo>
                      <a:pt x="60" y="33"/>
                    </a:lnTo>
                    <a:cubicBezTo>
                      <a:pt x="79" y="33"/>
                      <a:pt x="85" y="41"/>
                      <a:pt x="85" y="52"/>
                    </a:cubicBezTo>
                    <a:cubicBezTo>
                      <a:pt x="85" y="63"/>
                      <a:pt x="78" y="73"/>
                      <a:pt x="59" y="73"/>
                    </a:cubicBezTo>
                    <a:lnTo>
                      <a:pt x="39" y="73"/>
                    </a:lnTo>
                    <a:lnTo>
                      <a:pt x="39" y="33"/>
                    </a:lnTo>
                    <a:close/>
                    <a:moveTo>
                      <a:pt x="97" y="86"/>
                    </a:moveTo>
                    <a:lnTo>
                      <a:pt x="97" y="85"/>
                    </a:lnTo>
                    <a:cubicBezTo>
                      <a:pt x="111" y="80"/>
                      <a:pt x="123" y="67"/>
                      <a:pt x="123" y="47"/>
                    </a:cubicBezTo>
                    <a:cubicBezTo>
                      <a:pt x="123" y="10"/>
                      <a:pt x="97" y="0"/>
                      <a:pt x="65" y="0"/>
                    </a:cubicBezTo>
                    <a:lnTo>
                      <a:pt x="0" y="0"/>
                    </a:lnTo>
                    <a:lnTo>
                      <a:pt x="0" y="181"/>
                    </a:lnTo>
                    <a:lnTo>
                      <a:pt x="60" y="181"/>
                    </a:lnTo>
                    <a:cubicBezTo>
                      <a:pt x="120" y="181"/>
                      <a:pt x="132" y="149"/>
                      <a:pt x="132" y="126"/>
                    </a:cubicBezTo>
                    <a:cubicBezTo>
                      <a:pt x="132" y="100"/>
                      <a:pt x="114" y="88"/>
                      <a:pt x="9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" name="Freeform 46">
                <a:extLst>
                  <a:ext uri="{FF2B5EF4-FFF2-40B4-BE49-F238E27FC236}">
                    <a16:creationId xmlns:a16="http://schemas.microsoft.com/office/drawing/2014/main" id="{18E3DDB7-9F78-763E-9751-B10D6BD052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7182" y="4104138"/>
                <a:ext cx="30768" cy="39816"/>
              </a:xfrm>
              <a:custGeom>
                <a:avLst/>
                <a:gdLst>
                  <a:gd name="T0" fmla="*/ 53 w 74"/>
                  <a:gd name="T1" fmla="*/ 61 h 97"/>
                  <a:gd name="T2" fmla="*/ 38 w 74"/>
                  <a:gd name="T3" fmla="*/ 80 h 97"/>
                  <a:gd name="T4" fmla="*/ 21 w 74"/>
                  <a:gd name="T5" fmla="*/ 59 h 97"/>
                  <a:gd name="T6" fmla="*/ 21 w 74"/>
                  <a:gd name="T7" fmla="*/ 0 h 97"/>
                  <a:gd name="T8" fmla="*/ 0 w 74"/>
                  <a:gd name="T9" fmla="*/ 0 h 97"/>
                  <a:gd name="T10" fmla="*/ 0 w 74"/>
                  <a:gd name="T11" fmla="*/ 63 h 97"/>
                  <a:gd name="T12" fmla="*/ 35 w 74"/>
                  <a:gd name="T13" fmla="*/ 97 h 97"/>
                  <a:gd name="T14" fmla="*/ 74 w 74"/>
                  <a:gd name="T15" fmla="*/ 58 h 97"/>
                  <a:gd name="T16" fmla="*/ 74 w 74"/>
                  <a:gd name="T17" fmla="*/ 0 h 97"/>
                  <a:gd name="T18" fmla="*/ 53 w 74"/>
                  <a:gd name="T19" fmla="*/ 0 h 97"/>
                  <a:gd name="T20" fmla="*/ 53 w 74"/>
                  <a:gd name="T21" fmla="*/ 6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4" h="97">
                    <a:moveTo>
                      <a:pt x="53" y="61"/>
                    </a:moveTo>
                    <a:cubicBezTo>
                      <a:pt x="53" y="74"/>
                      <a:pt x="48" y="80"/>
                      <a:pt x="38" y="80"/>
                    </a:cubicBezTo>
                    <a:cubicBezTo>
                      <a:pt x="26" y="80"/>
                      <a:pt x="21" y="72"/>
                      <a:pt x="21" y="59"/>
                    </a:cubicBezTo>
                    <a:lnTo>
                      <a:pt x="21" y="0"/>
                    </a:lnTo>
                    <a:lnTo>
                      <a:pt x="0" y="0"/>
                    </a:lnTo>
                    <a:lnTo>
                      <a:pt x="0" y="63"/>
                    </a:lnTo>
                    <a:cubicBezTo>
                      <a:pt x="0" y="82"/>
                      <a:pt x="10" y="97"/>
                      <a:pt x="35" y="97"/>
                    </a:cubicBezTo>
                    <a:cubicBezTo>
                      <a:pt x="56" y="97"/>
                      <a:pt x="74" y="87"/>
                      <a:pt x="74" y="58"/>
                    </a:cubicBezTo>
                    <a:lnTo>
                      <a:pt x="74" y="0"/>
                    </a:lnTo>
                    <a:lnTo>
                      <a:pt x="53" y="0"/>
                    </a:lnTo>
                    <a:lnTo>
                      <a:pt x="53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" name="Freeform 47">
                <a:extLst>
                  <a:ext uri="{FF2B5EF4-FFF2-40B4-BE49-F238E27FC236}">
                    <a16:creationId xmlns:a16="http://schemas.microsoft.com/office/drawing/2014/main" id="{1E26F21C-4A53-95B3-D478-416610F192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9176" y="4104138"/>
                <a:ext cx="28957" cy="39816"/>
              </a:xfrm>
              <a:custGeom>
                <a:avLst/>
                <a:gdLst>
                  <a:gd name="T0" fmla="*/ 26 w 69"/>
                  <a:gd name="T1" fmla="*/ 26 h 98"/>
                  <a:gd name="T2" fmla="*/ 36 w 69"/>
                  <a:gd name="T3" fmla="*/ 18 h 98"/>
                  <a:gd name="T4" fmla="*/ 54 w 69"/>
                  <a:gd name="T5" fmla="*/ 27 h 98"/>
                  <a:gd name="T6" fmla="*/ 67 w 69"/>
                  <a:gd name="T7" fmla="*/ 11 h 98"/>
                  <a:gd name="T8" fmla="*/ 38 w 69"/>
                  <a:gd name="T9" fmla="*/ 0 h 98"/>
                  <a:gd name="T10" fmla="*/ 4 w 69"/>
                  <a:gd name="T11" fmla="*/ 28 h 98"/>
                  <a:gd name="T12" fmla="*/ 48 w 69"/>
                  <a:gd name="T13" fmla="*/ 71 h 98"/>
                  <a:gd name="T14" fmla="*/ 36 w 69"/>
                  <a:gd name="T15" fmla="*/ 81 h 98"/>
                  <a:gd name="T16" fmla="*/ 12 w 69"/>
                  <a:gd name="T17" fmla="*/ 69 h 98"/>
                  <a:gd name="T18" fmla="*/ 0 w 69"/>
                  <a:gd name="T19" fmla="*/ 86 h 98"/>
                  <a:gd name="T20" fmla="*/ 33 w 69"/>
                  <a:gd name="T21" fmla="*/ 98 h 98"/>
                  <a:gd name="T22" fmla="*/ 69 w 69"/>
                  <a:gd name="T23" fmla="*/ 70 h 98"/>
                  <a:gd name="T24" fmla="*/ 26 w 69"/>
                  <a:gd name="T25" fmla="*/ 2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98">
                    <a:moveTo>
                      <a:pt x="26" y="26"/>
                    </a:moveTo>
                    <a:cubicBezTo>
                      <a:pt x="26" y="22"/>
                      <a:pt x="29" y="18"/>
                      <a:pt x="36" y="18"/>
                    </a:cubicBezTo>
                    <a:cubicBezTo>
                      <a:pt x="46" y="18"/>
                      <a:pt x="52" y="24"/>
                      <a:pt x="54" y="27"/>
                    </a:cubicBezTo>
                    <a:lnTo>
                      <a:pt x="67" y="11"/>
                    </a:lnTo>
                    <a:cubicBezTo>
                      <a:pt x="64" y="7"/>
                      <a:pt x="54" y="0"/>
                      <a:pt x="38" y="0"/>
                    </a:cubicBezTo>
                    <a:cubicBezTo>
                      <a:pt x="18" y="0"/>
                      <a:pt x="4" y="12"/>
                      <a:pt x="4" y="28"/>
                    </a:cubicBezTo>
                    <a:cubicBezTo>
                      <a:pt x="4" y="58"/>
                      <a:pt x="48" y="56"/>
                      <a:pt x="48" y="71"/>
                    </a:cubicBezTo>
                    <a:cubicBezTo>
                      <a:pt x="48" y="76"/>
                      <a:pt x="44" y="81"/>
                      <a:pt x="36" y="81"/>
                    </a:cubicBezTo>
                    <a:cubicBezTo>
                      <a:pt x="24" y="81"/>
                      <a:pt x="16" y="73"/>
                      <a:pt x="12" y="69"/>
                    </a:cubicBezTo>
                    <a:lnTo>
                      <a:pt x="0" y="86"/>
                    </a:lnTo>
                    <a:cubicBezTo>
                      <a:pt x="4" y="90"/>
                      <a:pt x="15" y="98"/>
                      <a:pt x="33" y="98"/>
                    </a:cubicBezTo>
                    <a:cubicBezTo>
                      <a:pt x="58" y="98"/>
                      <a:pt x="69" y="84"/>
                      <a:pt x="69" y="70"/>
                    </a:cubicBezTo>
                    <a:cubicBezTo>
                      <a:pt x="69" y="40"/>
                      <a:pt x="26" y="42"/>
                      <a:pt x="2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" name="Freeform 48">
                <a:extLst>
                  <a:ext uri="{FF2B5EF4-FFF2-40B4-BE49-F238E27FC236}">
                    <a16:creationId xmlns:a16="http://schemas.microsoft.com/office/drawing/2014/main" id="{7DF84786-29CF-9077-5450-A5361B78CFE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83628" y="4104138"/>
                <a:ext cx="27148" cy="39816"/>
              </a:xfrm>
              <a:custGeom>
                <a:avLst/>
                <a:gdLst>
                  <a:gd name="T0" fmla="*/ 27 w 66"/>
                  <a:gd name="T1" fmla="*/ 45 h 96"/>
                  <a:gd name="T2" fmla="*/ 21 w 66"/>
                  <a:gd name="T3" fmla="*/ 45 h 96"/>
                  <a:gd name="T4" fmla="*/ 21 w 66"/>
                  <a:gd name="T5" fmla="*/ 18 h 96"/>
                  <a:gd name="T6" fmla="*/ 29 w 66"/>
                  <a:gd name="T7" fmla="*/ 18 h 96"/>
                  <a:gd name="T8" fmla="*/ 44 w 66"/>
                  <a:gd name="T9" fmla="*/ 31 h 96"/>
                  <a:gd name="T10" fmla="*/ 27 w 66"/>
                  <a:gd name="T11" fmla="*/ 45 h 96"/>
                  <a:gd name="T12" fmla="*/ 32 w 66"/>
                  <a:gd name="T13" fmla="*/ 0 h 96"/>
                  <a:gd name="T14" fmla="*/ 0 w 66"/>
                  <a:gd name="T15" fmla="*/ 0 h 96"/>
                  <a:gd name="T16" fmla="*/ 0 w 66"/>
                  <a:gd name="T17" fmla="*/ 96 h 96"/>
                  <a:gd name="T18" fmla="*/ 21 w 66"/>
                  <a:gd name="T19" fmla="*/ 96 h 96"/>
                  <a:gd name="T20" fmla="*/ 21 w 66"/>
                  <a:gd name="T21" fmla="*/ 62 h 96"/>
                  <a:gd name="T22" fmla="*/ 29 w 66"/>
                  <a:gd name="T23" fmla="*/ 62 h 96"/>
                  <a:gd name="T24" fmla="*/ 66 w 66"/>
                  <a:gd name="T25" fmla="*/ 29 h 96"/>
                  <a:gd name="T26" fmla="*/ 32 w 66"/>
                  <a:gd name="T27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6" h="96">
                    <a:moveTo>
                      <a:pt x="27" y="45"/>
                    </a:moveTo>
                    <a:lnTo>
                      <a:pt x="21" y="45"/>
                    </a:lnTo>
                    <a:lnTo>
                      <a:pt x="21" y="18"/>
                    </a:lnTo>
                    <a:lnTo>
                      <a:pt x="29" y="18"/>
                    </a:lnTo>
                    <a:cubicBezTo>
                      <a:pt x="40" y="18"/>
                      <a:pt x="44" y="22"/>
                      <a:pt x="44" y="31"/>
                    </a:cubicBezTo>
                    <a:cubicBezTo>
                      <a:pt x="44" y="39"/>
                      <a:pt x="41" y="45"/>
                      <a:pt x="27" y="45"/>
                    </a:cubicBezTo>
                    <a:close/>
                    <a:moveTo>
                      <a:pt x="32" y="0"/>
                    </a:move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2"/>
                    </a:lnTo>
                    <a:lnTo>
                      <a:pt x="29" y="62"/>
                    </a:lnTo>
                    <a:cubicBezTo>
                      <a:pt x="57" y="62"/>
                      <a:pt x="66" y="46"/>
                      <a:pt x="66" y="29"/>
                    </a:cubicBezTo>
                    <a:cubicBezTo>
                      <a:pt x="66" y="7"/>
                      <a:pt x="52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" name="Freeform 49">
                <a:extLst>
                  <a:ext uri="{FF2B5EF4-FFF2-40B4-BE49-F238E27FC236}">
                    <a16:creationId xmlns:a16="http://schemas.microsoft.com/office/drawing/2014/main" id="{28CF7D54-9617-1DD7-4977-2034381895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31143" y="4104138"/>
                <a:ext cx="39816" cy="39816"/>
              </a:xfrm>
              <a:custGeom>
                <a:avLst/>
                <a:gdLst>
                  <a:gd name="T0" fmla="*/ 51 w 100"/>
                  <a:gd name="T1" fmla="*/ 52 h 96"/>
                  <a:gd name="T2" fmla="*/ 50 w 100"/>
                  <a:gd name="T3" fmla="*/ 52 h 96"/>
                  <a:gd name="T4" fmla="*/ 32 w 100"/>
                  <a:gd name="T5" fmla="*/ 0 h 96"/>
                  <a:gd name="T6" fmla="*/ 0 w 100"/>
                  <a:gd name="T7" fmla="*/ 0 h 96"/>
                  <a:gd name="T8" fmla="*/ 0 w 100"/>
                  <a:gd name="T9" fmla="*/ 96 h 96"/>
                  <a:gd name="T10" fmla="*/ 19 w 100"/>
                  <a:gd name="T11" fmla="*/ 96 h 96"/>
                  <a:gd name="T12" fmla="*/ 19 w 100"/>
                  <a:gd name="T13" fmla="*/ 25 h 96"/>
                  <a:gd name="T14" fmla="*/ 20 w 100"/>
                  <a:gd name="T15" fmla="*/ 25 h 96"/>
                  <a:gd name="T16" fmla="*/ 41 w 100"/>
                  <a:gd name="T17" fmla="*/ 84 h 96"/>
                  <a:gd name="T18" fmla="*/ 58 w 100"/>
                  <a:gd name="T19" fmla="*/ 84 h 96"/>
                  <a:gd name="T20" fmla="*/ 80 w 100"/>
                  <a:gd name="T21" fmla="*/ 25 h 96"/>
                  <a:gd name="T22" fmla="*/ 80 w 100"/>
                  <a:gd name="T23" fmla="*/ 25 h 96"/>
                  <a:gd name="T24" fmla="*/ 80 w 100"/>
                  <a:gd name="T25" fmla="*/ 96 h 96"/>
                  <a:gd name="T26" fmla="*/ 100 w 100"/>
                  <a:gd name="T27" fmla="*/ 96 h 96"/>
                  <a:gd name="T28" fmla="*/ 100 w 100"/>
                  <a:gd name="T29" fmla="*/ 0 h 96"/>
                  <a:gd name="T30" fmla="*/ 69 w 100"/>
                  <a:gd name="T31" fmla="*/ 0 h 96"/>
                  <a:gd name="T32" fmla="*/ 51 w 100"/>
                  <a:gd name="T33" fmla="*/ 5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96">
                    <a:moveTo>
                      <a:pt x="51" y="52"/>
                    </a:moveTo>
                    <a:lnTo>
                      <a:pt x="50" y="52"/>
                    </a:lnTo>
                    <a:lnTo>
                      <a:pt x="32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25"/>
                    </a:lnTo>
                    <a:lnTo>
                      <a:pt x="20" y="25"/>
                    </a:lnTo>
                    <a:lnTo>
                      <a:pt x="41" y="84"/>
                    </a:lnTo>
                    <a:lnTo>
                      <a:pt x="58" y="84"/>
                    </a:lnTo>
                    <a:lnTo>
                      <a:pt x="80" y="25"/>
                    </a:lnTo>
                    <a:lnTo>
                      <a:pt x="80" y="25"/>
                    </a:lnTo>
                    <a:lnTo>
                      <a:pt x="80" y="96"/>
                    </a:lnTo>
                    <a:lnTo>
                      <a:pt x="100" y="96"/>
                    </a:lnTo>
                    <a:lnTo>
                      <a:pt x="100" y="0"/>
                    </a:lnTo>
                    <a:lnTo>
                      <a:pt x="69" y="0"/>
                    </a:lnTo>
                    <a:lnTo>
                      <a:pt x="51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" name="Freeform 50">
                <a:extLst>
                  <a:ext uri="{FF2B5EF4-FFF2-40B4-BE49-F238E27FC236}">
                    <a16:creationId xmlns:a16="http://schemas.microsoft.com/office/drawing/2014/main" id="{347C4EAB-25E0-1317-7E3A-70BCEE5A14E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1077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4 w 87"/>
                  <a:gd name="T7" fmla="*/ 15 h 96"/>
                  <a:gd name="T8" fmla="*/ 51 w 87"/>
                  <a:gd name="T9" fmla="*/ 43 h 96"/>
                  <a:gd name="T10" fmla="*/ 55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2" y="23"/>
                      <a:pt x="43" y="15"/>
                    </a:cubicBezTo>
                    <a:lnTo>
                      <a:pt x="44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5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" name="Freeform 51">
                <a:extLst>
                  <a:ext uri="{FF2B5EF4-FFF2-40B4-BE49-F238E27FC236}">
                    <a16:creationId xmlns:a16="http://schemas.microsoft.com/office/drawing/2014/main" id="{DFD74453-0C4D-4FD2-3976-FA2B804399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81819" y="4004596"/>
                <a:ext cx="59725" cy="74204"/>
              </a:xfrm>
              <a:custGeom>
                <a:avLst/>
                <a:gdLst>
                  <a:gd name="T0" fmla="*/ 0 w 146"/>
                  <a:gd name="T1" fmla="*/ 0 h 181"/>
                  <a:gd name="T2" fmla="*/ 0 w 146"/>
                  <a:gd name="T3" fmla="*/ 181 h 181"/>
                  <a:gd name="T4" fmla="*/ 38 w 146"/>
                  <a:gd name="T5" fmla="*/ 181 h 181"/>
                  <a:gd name="T6" fmla="*/ 38 w 146"/>
                  <a:gd name="T7" fmla="*/ 113 h 181"/>
                  <a:gd name="T8" fmla="*/ 35 w 146"/>
                  <a:gd name="T9" fmla="*/ 49 h 181"/>
                  <a:gd name="T10" fmla="*/ 36 w 146"/>
                  <a:gd name="T11" fmla="*/ 49 h 181"/>
                  <a:gd name="T12" fmla="*/ 60 w 146"/>
                  <a:gd name="T13" fmla="*/ 105 h 181"/>
                  <a:gd name="T14" fmla="*/ 100 w 146"/>
                  <a:gd name="T15" fmla="*/ 181 h 181"/>
                  <a:gd name="T16" fmla="*/ 146 w 146"/>
                  <a:gd name="T17" fmla="*/ 181 h 181"/>
                  <a:gd name="T18" fmla="*/ 146 w 146"/>
                  <a:gd name="T19" fmla="*/ 0 h 181"/>
                  <a:gd name="T20" fmla="*/ 109 w 146"/>
                  <a:gd name="T21" fmla="*/ 0 h 181"/>
                  <a:gd name="T22" fmla="*/ 109 w 146"/>
                  <a:gd name="T23" fmla="*/ 57 h 181"/>
                  <a:gd name="T24" fmla="*/ 111 w 146"/>
                  <a:gd name="T25" fmla="*/ 127 h 181"/>
                  <a:gd name="T26" fmla="*/ 110 w 146"/>
                  <a:gd name="T27" fmla="*/ 127 h 181"/>
                  <a:gd name="T28" fmla="*/ 84 w 146"/>
                  <a:gd name="T29" fmla="*/ 71 h 181"/>
                  <a:gd name="T30" fmla="*/ 47 w 146"/>
                  <a:gd name="T31" fmla="*/ 0 h 181"/>
                  <a:gd name="T32" fmla="*/ 0 w 146"/>
                  <a:gd name="T33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6" h="181">
                    <a:moveTo>
                      <a:pt x="0" y="0"/>
                    </a:moveTo>
                    <a:lnTo>
                      <a:pt x="0" y="181"/>
                    </a:lnTo>
                    <a:lnTo>
                      <a:pt x="38" y="181"/>
                    </a:lnTo>
                    <a:lnTo>
                      <a:pt x="38" y="113"/>
                    </a:lnTo>
                    <a:cubicBezTo>
                      <a:pt x="38" y="81"/>
                      <a:pt x="37" y="67"/>
                      <a:pt x="35" y="49"/>
                    </a:cubicBezTo>
                    <a:lnTo>
                      <a:pt x="36" y="49"/>
                    </a:lnTo>
                    <a:cubicBezTo>
                      <a:pt x="44" y="69"/>
                      <a:pt x="51" y="87"/>
                      <a:pt x="60" y="105"/>
                    </a:cubicBezTo>
                    <a:lnTo>
                      <a:pt x="100" y="181"/>
                    </a:lnTo>
                    <a:lnTo>
                      <a:pt x="146" y="181"/>
                    </a:lnTo>
                    <a:lnTo>
                      <a:pt x="146" y="0"/>
                    </a:lnTo>
                    <a:lnTo>
                      <a:pt x="109" y="0"/>
                    </a:lnTo>
                    <a:lnTo>
                      <a:pt x="109" y="57"/>
                    </a:lnTo>
                    <a:cubicBezTo>
                      <a:pt x="109" y="77"/>
                      <a:pt x="109" y="102"/>
                      <a:pt x="111" y="127"/>
                    </a:cubicBezTo>
                    <a:lnTo>
                      <a:pt x="110" y="127"/>
                    </a:lnTo>
                    <a:cubicBezTo>
                      <a:pt x="103" y="109"/>
                      <a:pt x="93" y="89"/>
                      <a:pt x="84" y="71"/>
                    </a:cubicBezTo>
                    <a:lnTo>
                      <a:pt x="4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" name="Freeform 52">
                <a:extLst>
                  <a:ext uri="{FF2B5EF4-FFF2-40B4-BE49-F238E27FC236}">
                    <a16:creationId xmlns:a16="http://schemas.microsoft.com/office/drawing/2014/main" id="{D1FC3F30-BE36-F71E-F605-9DCF6AE9CA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5421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2 w 77"/>
                  <a:gd name="T23" fmla="*/ 55 h 96"/>
                  <a:gd name="T24" fmla="*/ 53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2" y="55"/>
                    </a:cubicBezTo>
                    <a:lnTo>
                      <a:pt x="53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" name="Freeform 53">
                <a:extLst>
                  <a:ext uri="{FF2B5EF4-FFF2-40B4-BE49-F238E27FC236}">
                    <a16:creationId xmlns:a16="http://schemas.microsoft.com/office/drawing/2014/main" id="{51842938-D227-FC41-ECCC-84902079045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59641" y="4004596"/>
                <a:ext cx="68774" cy="74204"/>
              </a:xfrm>
              <a:custGeom>
                <a:avLst/>
                <a:gdLst>
                  <a:gd name="T0" fmla="*/ 61 w 165"/>
                  <a:gd name="T1" fmla="*/ 107 h 181"/>
                  <a:gd name="T2" fmla="*/ 68 w 165"/>
                  <a:gd name="T3" fmla="*/ 81 h 181"/>
                  <a:gd name="T4" fmla="*/ 82 w 165"/>
                  <a:gd name="T5" fmla="*/ 27 h 181"/>
                  <a:gd name="T6" fmla="*/ 83 w 165"/>
                  <a:gd name="T7" fmla="*/ 27 h 181"/>
                  <a:gd name="T8" fmla="*/ 96 w 165"/>
                  <a:gd name="T9" fmla="*/ 82 h 181"/>
                  <a:gd name="T10" fmla="*/ 103 w 165"/>
                  <a:gd name="T11" fmla="*/ 107 h 181"/>
                  <a:gd name="T12" fmla="*/ 61 w 165"/>
                  <a:gd name="T13" fmla="*/ 107 h 181"/>
                  <a:gd name="T14" fmla="*/ 55 w 165"/>
                  <a:gd name="T15" fmla="*/ 0 h 181"/>
                  <a:gd name="T16" fmla="*/ 0 w 165"/>
                  <a:gd name="T17" fmla="*/ 181 h 181"/>
                  <a:gd name="T18" fmla="*/ 40 w 165"/>
                  <a:gd name="T19" fmla="*/ 181 h 181"/>
                  <a:gd name="T20" fmla="*/ 52 w 165"/>
                  <a:gd name="T21" fmla="*/ 140 h 181"/>
                  <a:gd name="T22" fmla="*/ 112 w 165"/>
                  <a:gd name="T23" fmla="*/ 140 h 181"/>
                  <a:gd name="T24" fmla="*/ 124 w 165"/>
                  <a:gd name="T25" fmla="*/ 181 h 181"/>
                  <a:gd name="T26" fmla="*/ 165 w 165"/>
                  <a:gd name="T27" fmla="*/ 181 h 181"/>
                  <a:gd name="T28" fmla="*/ 110 w 165"/>
                  <a:gd name="T29" fmla="*/ 0 h 181"/>
                  <a:gd name="T30" fmla="*/ 55 w 165"/>
                  <a:gd name="T31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1" y="107"/>
                    </a:moveTo>
                    <a:lnTo>
                      <a:pt x="68" y="81"/>
                    </a:lnTo>
                    <a:cubicBezTo>
                      <a:pt x="75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close/>
                    <a:moveTo>
                      <a:pt x="55" y="0"/>
                    </a:move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" name="Freeform 54">
                <a:extLst>
                  <a:ext uri="{FF2B5EF4-FFF2-40B4-BE49-F238E27FC236}">
                    <a16:creationId xmlns:a16="http://schemas.microsoft.com/office/drawing/2014/main" id="{5A979611-55E5-D61E-8768-C55E2E31DE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94028" y="4104138"/>
                <a:ext cx="34387" cy="39816"/>
              </a:xfrm>
              <a:custGeom>
                <a:avLst/>
                <a:gdLst>
                  <a:gd name="T0" fmla="*/ 63 w 85"/>
                  <a:gd name="T1" fmla="*/ 0 h 96"/>
                  <a:gd name="T2" fmla="*/ 43 w 85"/>
                  <a:gd name="T3" fmla="*/ 44 h 96"/>
                  <a:gd name="T4" fmla="*/ 43 w 85"/>
                  <a:gd name="T5" fmla="*/ 44 h 96"/>
                  <a:gd name="T6" fmla="*/ 23 w 85"/>
                  <a:gd name="T7" fmla="*/ 0 h 96"/>
                  <a:gd name="T8" fmla="*/ 0 w 85"/>
                  <a:gd name="T9" fmla="*/ 0 h 96"/>
                  <a:gd name="T10" fmla="*/ 32 w 85"/>
                  <a:gd name="T11" fmla="*/ 65 h 96"/>
                  <a:gd name="T12" fmla="*/ 32 w 85"/>
                  <a:gd name="T13" fmla="*/ 96 h 96"/>
                  <a:gd name="T14" fmla="*/ 53 w 85"/>
                  <a:gd name="T15" fmla="*/ 96 h 96"/>
                  <a:gd name="T16" fmla="*/ 53 w 85"/>
                  <a:gd name="T17" fmla="*/ 65 h 96"/>
                  <a:gd name="T18" fmla="*/ 85 w 85"/>
                  <a:gd name="T19" fmla="*/ 0 h 96"/>
                  <a:gd name="T20" fmla="*/ 63 w 85"/>
                  <a:gd name="T2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" h="96">
                    <a:moveTo>
                      <a:pt x="63" y="0"/>
                    </a:moveTo>
                    <a:lnTo>
                      <a:pt x="43" y="44"/>
                    </a:lnTo>
                    <a:lnTo>
                      <a:pt x="43" y="44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32" y="65"/>
                    </a:lnTo>
                    <a:lnTo>
                      <a:pt x="32" y="96"/>
                    </a:lnTo>
                    <a:lnTo>
                      <a:pt x="53" y="96"/>
                    </a:lnTo>
                    <a:lnTo>
                      <a:pt x="53" y="65"/>
                    </a:lnTo>
                    <a:lnTo>
                      <a:pt x="85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" name="Freeform 55">
                <a:extLst>
                  <a:ext uri="{FF2B5EF4-FFF2-40B4-BE49-F238E27FC236}">
                    <a16:creationId xmlns:a16="http://schemas.microsoft.com/office/drawing/2014/main" id="{5A06A503-0349-B80B-B350-B3CFC72AE02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94946" y="4004596"/>
                <a:ext cx="66964" cy="74204"/>
              </a:xfrm>
              <a:custGeom>
                <a:avLst/>
                <a:gdLst>
                  <a:gd name="T0" fmla="*/ 68 w 165"/>
                  <a:gd name="T1" fmla="*/ 81 h 181"/>
                  <a:gd name="T2" fmla="*/ 82 w 165"/>
                  <a:gd name="T3" fmla="*/ 27 h 181"/>
                  <a:gd name="T4" fmla="*/ 83 w 165"/>
                  <a:gd name="T5" fmla="*/ 27 h 181"/>
                  <a:gd name="T6" fmla="*/ 96 w 165"/>
                  <a:gd name="T7" fmla="*/ 82 h 181"/>
                  <a:gd name="T8" fmla="*/ 103 w 165"/>
                  <a:gd name="T9" fmla="*/ 107 h 181"/>
                  <a:gd name="T10" fmla="*/ 61 w 165"/>
                  <a:gd name="T11" fmla="*/ 107 h 181"/>
                  <a:gd name="T12" fmla="*/ 68 w 165"/>
                  <a:gd name="T13" fmla="*/ 81 h 181"/>
                  <a:gd name="T14" fmla="*/ 52 w 165"/>
                  <a:gd name="T15" fmla="*/ 140 h 181"/>
                  <a:gd name="T16" fmla="*/ 112 w 165"/>
                  <a:gd name="T17" fmla="*/ 140 h 181"/>
                  <a:gd name="T18" fmla="*/ 124 w 165"/>
                  <a:gd name="T19" fmla="*/ 181 h 181"/>
                  <a:gd name="T20" fmla="*/ 165 w 165"/>
                  <a:gd name="T21" fmla="*/ 181 h 181"/>
                  <a:gd name="T22" fmla="*/ 110 w 165"/>
                  <a:gd name="T23" fmla="*/ 0 h 181"/>
                  <a:gd name="T24" fmla="*/ 55 w 165"/>
                  <a:gd name="T25" fmla="*/ 0 h 181"/>
                  <a:gd name="T26" fmla="*/ 0 w 165"/>
                  <a:gd name="T27" fmla="*/ 181 h 181"/>
                  <a:gd name="T28" fmla="*/ 40 w 165"/>
                  <a:gd name="T29" fmla="*/ 181 h 181"/>
                  <a:gd name="T30" fmla="*/ 52 w 165"/>
                  <a:gd name="T31" fmla="*/ 14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8" y="81"/>
                    </a:moveTo>
                    <a:cubicBezTo>
                      <a:pt x="74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lnTo>
                      <a:pt x="68" y="81"/>
                    </a:lnTo>
                    <a:close/>
                    <a:moveTo>
                      <a:pt x="52" y="140"/>
                    </a:move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" name="Freeform 56">
                <a:extLst>
                  <a:ext uri="{FF2B5EF4-FFF2-40B4-BE49-F238E27FC236}">
                    <a16:creationId xmlns:a16="http://schemas.microsoft.com/office/drawing/2014/main" id="{2598F916-0952-48DD-F888-3DA1144BB8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2482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19 w 77"/>
                  <a:gd name="T15" fmla="*/ 96 h 96"/>
                  <a:gd name="T16" fmla="*/ 19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60"/>
                    </a:lnTo>
                    <a:cubicBezTo>
                      <a:pt x="19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" name="Freeform 57">
                <a:extLst>
                  <a:ext uri="{FF2B5EF4-FFF2-40B4-BE49-F238E27FC236}">
                    <a16:creationId xmlns:a16="http://schemas.microsoft.com/office/drawing/2014/main" id="{519F0C0C-26A4-AEA7-775A-A691BBCB6B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448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" name="Freeform 58">
                <a:extLst>
                  <a:ext uri="{FF2B5EF4-FFF2-40B4-BE49-F238E27FC236}">
                    <a16:creationId xmlns:a16="http://schemas.microsoft.com/office/drawing/2014/main" id="{5D180926-7ADF-D7EE-EA9C-00A6C1BF85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19392" y="4002787"/>
                <a:ext cx="54295" cy="77823"/>
              </a:xfrm>
              <a:custGeom>
                <a:avLst/>
                <a:gdLst>
                  <a:gd name="T0" fmla="*/ 68 w 131"/>
                  <a:gd name="T1" fmla="*/ 154 h 187"/>
                  <a:gd name="T2" fmla="*/ 22 w 131"/>
                  <a:gd name="T3" fmla="*/ 132 h 187"/>
                  <a:gd name="T4" fmla="*/ 0 w 131"/>
                  <a:gd name="T5" fmla="*/ 164 h 187"/>
                  <a:gd name="T6" fmla="*/ 63 w 131"/>
                  <a:gd name="T7" fmla="*/ 187 h 187"/>
                  <a:gd name="T8" fmla="*/ 131 w 131"/>
                  <a:gd name="T9" fmla="*/ 133 h 187"/>
                  <a:gd name="T10" fmla="*/ 48 w 131"/>
                  <a:gd name="T11" fmla="*/ 51 h 187"/>
                  <a:gd name="T12" fmla="*/ 68 w 131"/>
                  <a:gd name="T13" fmla="*/ 35 h 187"/>
                  <a:gd name="T14" fmla="*/ 102 w 131"/>
                  <a:gd name="T15" fmla="*/ 51 h 187"/>
                  <a:gd name="T16" fmla="*/ 127 w 131"/>
                  <a:gd name="T17" fmla="*/ 22 h 187"/>
                  <a:gd name="T18" fmla="*/ 72 w 131"/>
                  <a:gd name="T19" fmla="*/ 0 h 187"/>
                  <a:gd name="T20" fmla="*/ 8 w 131"/>
                  <a:gd name="T21" fmla="*/ 54 h 187"/>
                  <a:gd name="T22" fmla="*/ 91 w 131"/>
                  <a:gd name="T23" fmla="*/ 136 h 187"/>
                  <a:gd name="T24" fmla="*/ 68 w 131"/>
                  <a:gd name="T25" fmla="*/ 154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1" h="187">
                    <a:moveTo>
                      <a:pt x="68" y="154"/>
                    </a:moveTo>
                    <a:cubicBezTo>
                      <a:pt x="46" y="154"/>
                      <a:pt x="30" y="140"/>
                      <a:pt x="22" y="132"/>
                    </a:cubicBezTo>
                    <a:lnTo>
                      <a:pt x="0" y="164"/>
                    </a:lnTo>
                    <a:cubicBezTo>
                      <a:pt x="6" y="171"/>
                      <a:pt x="28" y="187"/>
                      <a:pt x="63" y="187"/>
                    </a:cubicBezTo>
                    <a:cubicBezTo>
                      <a:pt x="109" y="187"/>
                      <a:pt x="131" y="160"/>
                      <a:pt x="131" y="133"/>
                    </a:cubicBezTo>
                    <a:cubicBezTo>
                      <a:pt x="131" y="76"/>
                      <a:pt x="48" y="80"/>
                      <a:pt x="48" y="51"/>
                    </a:cubicBezTo>
                    <a:cubicBezTo>
                      <a:pt x="48" y="42"/>
                      <a:pt x="55" y="35"/>
                      <a:pt x="68" y="35"/>
                    </a:cubicBezTo>
                    <a:cubicBezTo>
                      <a:pt x="87" y="35"/>
                      <a:pt x="98" y="46"/>
                      <a:pt x="102" y="51"/>
                    </a:cubicBezTo>
                    <a:lnTo>
                      <a:pt x="127" y="22"/>
                    </a:lnTo>
                    <a:cubicBezTo>
                      <a:pt x="121" y="14"/>
                      <a:pt x="102" y="0"/>
                      <a:pt x="72" y="0"/>
                    </a:cubicBezTo>
                    <a:cubicBezTo>
                      <a:pt x="34" y="0"/>
                      <a:pt x="8" y="24"/>
                      <a:pt x="8" y="54"/>
                    </a:cubicBezTo>
                    <a:cubicBezTo>
                      <a:pt x="8" y="111"/>
                      <a:pt x="91" y="107"/>
                      <a:pt x="91" y="136"/>
                    </a:cubicBezTo>
                    <a:cubicBezTo>
                      <a:pt x="91" y="145"/>
                      <a:pt x="84" y="154"/>
                      <a:pt x="68" y="1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" name="Freeform 59">
                <a:extLst>
                  <a:ext uri="{FF2B5EF4-FFF2-40B4-BE49-F238E27FC236}">
                    <a16:creationId xmlns:a16="http://schemas.microsoft.com/office/drawing/2014/main" id="{9B52BA26-0092-30FB-F960-84B5CB9199A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48809" y="4104138"/>
                <a:ext cx="28957" cy="39816"/>
              </a:xfrm>
              <a:custGeom>
                <a:avLst/>
                <a:gdLst>
                  <a:gd name="T0" fmla="*/ 29 w 71"/>
                  <a:gd name="T1" fmla="*/ 44 h 96"/>
                  <a:gd name="T2" fmla="*/ 21 w 71"/>
                  <a:gd name="T3" fmla="*/ 44 h 96"/>
                  <a:gd name="T4" fmla="*/ 21 w 71"/>
                  <a:gd name="T5" fmla="*/ 17 h 96"/>
                  <a:gd name="T6" fmla="*/ 29 w 71"/>
                  <a:gd name="T7" fmla="*/ 17 h 96"/>
                  <a:gd name="T8" fmla="*/ 43 w 71"/>
                  <a:gd name="T9" fmla="*/ 30 h 96"/>
                  <a:gd name="T10" fmla="*/ 29 w 71"/>
                  <a:gd name="T11" fmla="*/ 44 h 96"/>
                  <a:gd name="T12" fmla="*/ 44 w 71"/>
                  <a:gd name="T13" fmla="*/ 55 h 96"/>
                  <a:gd name="T14" fmla="*/ 44 w 71"/>
                  <a:gd name="T15" fmla="*/ 55 h 96"/>
                  <a:gd name="T16" fmla="*/ 64 w 71"/>
                  <a:gd name="T17" fmla="*/ 28 h 96"/>
                  <a:gd name="T18" fmla="*/ 31 w 71"/>
                  <a:gd name="T19" fmla="*/ 0 h 96"/>
                  <a:gd name="T20" fmla="*/ 0 w 71"/>
                  <a:gd name="T21" fmla="*/ 0 h 96"/>
                  <a:gd name="T22" fmla="*/ 0 w 71"/>
                  <a:gd name="T23" fmla="*/ 96 h 96"/>
                  <a:gd name="T24" fmla="*/ 21 w 71"/>
                  <a:gd name="T25" fmla="*/ 96 h 96"/>
                  <a:gd name="T26" fmla="*/ 21 w 71"/>
                  <a:gd name="T27" fmla="*/ 60 h 96"/>
                  <a:gd name="T28" fmla="*/ 22 w 71"/>
                  <a:gd name="T29" fmla="*/ 60 h 96"/>
                  <a:gd name="T30" fmla="*/ 31 w 71"/>
                  <a:gd name="T31" fmla="*/ 65 h 96"/>
                  <a:gd name="T32" fmla="*/ 47 w 71"/>
                  <a:gd name="T33" fmla="*/ 96 h 96"/>
                  <a:gd name="T34" fmla="*/ 71 w 71"/>
                  <a:gd name="T35" fmla="*/ 96 h 96"/>
                  <a:gd name="T36" fmla="*/ 57 w 71"/>
                  <a:gd name="T37" fmla="*/ 69 h 96"/>
                  <a:gd name="T38" fmla="*/ 44 w 71"/>
                  <a:gd name="T39" fmla="*/ 55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96">
                    <a:moveTo>
                      <a:pt x="29" y="44"/>
                    </a:moveTo>
                    <a:lnTo>
                      <a:pt x="21" y="44"/>
                    </a:lnTo>
                    <a:lnTo>
                      <a:pt x="21" y="17"/>
                    </a:lnTo>
                    <a:lnTo>
                      <a:pt x="29" y="17"/>
                    </a:lnTo>
                    <a:cubicBezTo>
                      <a:pt x="38" y="17"/>
                      <a:pt x="43" y="21"/>
                      <a:pt x="43" y="30"/>
                    </a:cubicBezTo>
                    <a:cubicBezTo>
                      <a:pt x="43" y="39"/>
                      <a:pt x="40" y="44"/>
                      <a:pt x="29" y="44"/>
                    </a:cubicBezTo>
                    <a:close/>
                    <a:moveTo>
                      <a:pt x="44" y="55"/>
                    </a:moveTo>
                    <a:lnTo>
                      <a:pt x="44" y="55"/>
                    </a:lnTo>
                    <a:cubicBezTo>
                      <a:pt x="55" y="53"/>
                      <a:pt x="64" y="45"/>
                      <a:pt x="64" y="28"/>
                    </a:cubicBezTo>
                    <a:cubicBezTo>
                      <a:pt x="64" y="8"/>
                      <a:pt x="52" y="0"/>
                      <a:pt x="31" y="0"/>
                    </a:cubicBez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0"/>
                    </a:lnTo>
                    <a:lnTo>
                      <a:pt x="22" y="60"/>
                    </a:lnTo>
                    <a:cubicBezTo>
                      <a:pt x="26" y="60"/>
                      <a:pt x="29" y="61"/>
                      <a:pt x="31" y="65"/>
                    </a:cubicBezTo>
                    <a:lnTo>
                      <a:pt x="47" y="96"/>
                    </a:lnTo>
                    <a:lnTo>
                      <a:pt x="71" y="96"/>
                    </a:lnTo>
                    <a:lnTo>
                      <a:pt x="57" y="69"/>
                    </a:lnTo>
                    <a:cubicBezTo>
                      <a:pt x="52" y="61"/>
                      <a:pt x="49" y="58"/>
                      <a:pt x="44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3" name="Freeform 60">
                <a:extLst>
                  <a:ext uri="{FF2B5EF4-FFF2-40B4-BE49-F238E27FC236}">
                    <a16:creationId xmlns:a16="http://schemas.microsoft.com/office/drawing/2014/main" id="{6C9D3E94-8240-5E7C-3FF7-0E3B273149A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8138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3 w 87"/>
                  <a:gd name="T7" fmla="*/ 15 h 96"/>
                  <a:gd name="T8" fmla="*/ 51 w 87"/>
                  <a:gd name="T9" fmla="*/ 43 h 96"/>
                  <a:gd name="T10" fmla="*/ 54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1" y="23"/>
                      <a:pt x="43" y="15"/>
                    </a:cubicBezTo>
                    <a:lnTo>
                      <a:pt x="43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4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4" name="Freeform 61">
                <a:extLst>
                  <a:ext uri="{FF2B5EF4-FFF2-40B4-BE49-F238E27FC236}">
                    <a16:creationId xmlns:a16="http://schemas.microsoft.com/office/drawing/2014/main" id="{0F17F7EB-46EF-1DC9-6A59-544A82E9A8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89516" y="4104138"/>
                <a:ext cx="32577" cy="39816"/>
              </a:xfrm>
              <a:custGeom>
                <a:avLst/>
                <a:gdLst>
                  <a:gd name="T0" fmla="*/ 40 w 79"/>
                  <a:gd name="T1" fmla="*/ 81 h 98"/>
                  <a:gd name="T2" fmla="*/ 21 w 79"/>
                  <a:gd name="T3" fmla="*/ 48 h 98"/>
                  <a:gd name="T4" fmla="*/ 39 w 79"/>
                  <a:gd name="T5" fmla="*/ 17 h 98"/>
                  <a:gd name="T6" fmla="*/ 57 w 79"/>
                  <a:gd name="T7" fmla="*/ 49 h 98"/>
                  <a:gd name="T8" fmla="*/ 40 w 79"/>
                  <a:gd name="T9" fmla="*/ 81 h 98"/>
                  <a:gd name="T10" fmla="*/ 40 w 79"/>
                  <a:gd name="T11" fmla="*/ 0 h 98"/>
                  <a:gd name="T12" fmla="*/ 0 w 79"/>
                  <a:gd name="T13" fmla="*/ 50 h 98"/>
                  <a:gd name="T14" fmla="*/ 39 w 79"/>
                  <a:gd name="T15" fmla="*/ 98 h 98"/>
                  <a:gd name="T16" fmla="*/ 79 w 79"/>
                  <a:gd name="T17" fmla="*/ 48 h 98"/>
                  <a:gd name="T18" fmla="*/ 40 w 79"/>
                  <a:gd name="T19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98">
                    <a:moveTo>
                      <a:pt x="40" y="81"/>
                    </a:moveTo>
                    <a:cubicBezTo>
                      <a:pt x="28" y="81"/>
                      <a:pt x="21" y="72"/>
                      <a:pt x="21" y="48"/>
                    </a:cubicBezTo>
                    <a:cubicBezTo>
                      <a:pt x="21" y="25"/>
                      <a:pt x="28" y="17"/>
                      <a:pt x="39" y="17"/>
                    </a:cubicBezTo>
                    <a:cubicBezTo>
                      <a:pt x="50" y="17"/>
                      <a:pt x="57" y="26"/>
                      <a:pt x="57" y="49"/>
                    </a:cubicBezTo>
                    <a:cubicBezTo>
                      <a:pt x="57" y="73"/>
                      <a:pt x="51" y="81"/>
                      <a:pt x="40" y="81"/>
                    </a:cubicBezTo>
                    <a:close/>
                    <a:moveTo>
                      <a:pt x="40" y="0"/>
                    </a:moveTo>
                    <a:cubicBezTo>
                      <a:pt x="17" y="0"/>
                      <a:pt x="0" y="15"/>
                      <a:pt x="0" y="50"/>
                    </a:cubicBezTo>
                    <a:cubicBezTo>
                      <a:pt x="0" y="85"/>
                      <a:pt x="15" y="98"/>
                      <a:pt x="39" y="98"/>
                    </a:cubicBezTo>
                    <a:cubicBezTo>
                      <a:pt x="62" y="98"/>
                      <a:pt x="79" y="83"/>
                      <a:pt x="79" y="48"/>
                    </a:cubicBezTo>
                    <a:cubicBezTo>
                      <a:pt x="79" y="13"/>
                      <a:pt x="64" y="0"/>
                      <a:pt x="4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5" name="Freeform 62">
                <a:extLst>
                  <a:ext uri="{FF2B5EF4-FFF2-40B4-BE49-F238E27FC236}">
                    <a16:creationId xmlns:a16="http://schemas.microsoft.com/office/drawing/2014/main" id="{DDF503F3-293B-CECE-929F-ACC97FDD43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04455" y="4104138"/>
                <a:ext cx="23528" cy="39816"/>
              </a:xfrm>
              <a:custGeom>
                <a:avLst/>
                <a:gdLst>
                  <a:gd name="T0" fmla="*/ 0 w 58"/>
                  <a:gd name="T1" fmla="*/ 0 h 96"/>
                  <a:gd name="T2" fmla="*/ 0 w 58"/>
                  <a:gd name="T3" fmla="*/ 96 h 96"/>
                  <a:gd name="T4" fmla="*/ 58 w 58"/>
                  <a:gd name="T5" fmla="*/ 96 h 96"/>
                  <a:gd name="T6" fmla="*/ 58 w 58"/>
                  <a:gd name="T7" fmla="*/ 79 h 96"/>
                  <a:gd name="T8" fmla="*/ 20 w 58"/>
                  <a:gd name="T9" fmla="*/ 79 h 96"/>
                  <a:gd name="T10" fmla="*/ 20 w 58"/>
                  <a:gd name="T11" fmla="*/ 56 h 96"/>
                  <a:gd name="T12" fmla="*/ 51 w 58"/>
                  <a:gd name="T13" fmla="*/ 56 h 96"/>
                  <a:gd name="T14" fmla="*/ 51 w 58"/>
                  <a:gd name="T15" fmla="*/ 39 h 96"/>
                  <a:gd name="T16" fmla="*/ 20 w 58"/>
                  <a:gd name="T17" fmla="*/ 39 h 96"/>
                  <a:gd name="T18" fmla="*/ 20 w 58"/>
                  <a:gd name="T19" fmla="*/ 17 h 96"/>
                  <a:gd name="T20" fmla="*/ 56 w 58"/>
                  <a:gd name="T21" fmla="*/ 17 h 96"/>
                  <a:gd name="T22" fmla="*/ 56 w 58"/>
                  <a:gd name="T23" fmla="*/ 0 h 96"/>
                  <a:gd name="T24" fmla="*/ 0 w 58"/>
                  <a:gd name="T25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" h="96">
                    <a:moveTo>
                      <a:pt x="0" y="0"/>
                    </a:moveTo>
                    <a:lnTo>
                      <a:pt x="0" y="96"/>
                    </a:lnTo>
                    <a:lnTo>
                      <a:pt x="58" y="96"/>
                    </a:lnTo>
                    <a:lnTo>
                      <a:pt x="58" y="79"/>
                    </a:lnTo>
                    <a:lnTo>
                      <a:pt x="20" y="79"/>
                    </a:lnTo>
                    <a:lnTo>
                      <a:pt x="20" y="56"/>
                    </a:lnTo>
                    <a:lnTo>
                      <a:pt x="51" y="56"/>
                    </a:lnTo>
                    <a:lnTo>
                      <a:pt x="51" y="39"/>
                    </a:lnTo>
                    <a:lnTo>
                      <a:pt x="20" y="39"/>
                    </a:lnTo>
                    <a:lnTo>
                      <a:pt x="20" y="17"/>
                    </a:lnTo>
                    <a:lnTo>
                      <a:pt x="56" y="17"/>
                    </a:lnTo>
                    <a:lnTo>
                      <a:pt x="5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6" name="Freeform 63">
                <a:extLst>
                  <a:ext uri="{FF2B5EF4-FFF2-40B4-BE49-F238E27FC236}">
                    <a16:creationId xmlns:a16="http://schemas.microsoft.com/office/drawing/2014/main" id="{96336945-B614-23A3-4628-9049D7D00E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3320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7" name="Freeform 64">
                <a:extLst>
                  <a:ext uri="{FF2B5EF4-FFF2-40B4-BE49-F238E27FC236}">
                    <a16:creationId xmlns:a16="http://schemas.microsoft.com/office/drawing/2014/main" id="{68C171AE-89C5-26AC-0B39-4EC1B1CA59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6356" y="4004596"/>
                <a:ext cx="101351" cy="74204"/>
              </a:xfrm>
              <a:custGeom>
                <a:avLst/>
                <a:gdLst>
                  <a:gd name="T0" fmla="*/ 188 w 246"/>
                  <a:gd name="T1" fmla="*/ 77 h 181"/>
                  <a:gd name="T2" fmla="*/ 178 w 246"/>
                  <a:gd name="T3" fmla="*/ 137 h 181"/>
                  <a:gd name="T4" fmla="*/ 177 w 246"/>
                  <a:gd name="T5" fmla="*/ 137 h 181"/>
                  <a:gd name="T6" fmla="*/ 168 w 246"/>
                  <a:gd name="T7" fmla="*/ 88 h 181"/>
                  <a:gd name="T8" fmla="*/ 148 w 246"/>
                  <a:gd name="T9" fmla="*/ 0 h 181"/>
                  <a:gd name="T10" fmla="*/ 101 w 246"/>
                  <a:gd name="T11" fmla="*/ 0 h 181"/>
                  <a:gd name="T12" fmla="*/ 81 w 246"/>
                  <a:gd name="T13" fmla="*/ 89 h 181"/>
                  <a:gd name="T14" fmla="*/ 73 w 246"/>
                  <a:gd name="T15" fmla="*/ 137 h 181"/>
                  <a:gd name="T16" fmla="*/ 72 w 246"/>
                  <a:gd name="T17" fmla="*/ 137 h 181"/>
                  <a:gd name="T18" fmla="*/ 61 w 246"/>
                  <a:gd name="T19" fmla="*/ 73 h 181"/>
                  <a:gd name="T20" fmla="*/ 43 w 246"/>
                  <a:gd name="T21" fmla="*/ 0 h 181"/>
                  <a:gd name="T22" fmla="*/ 0 w 246"/>
                  <a:gd name="T23" fmla="*/ 0 h 181"/>
                  <a:gd name="T24" fmla="*/ 46 w 246"/>
                  <a:gd name="T25" fmla="*/ 181 h 181"/>
                  <a:gd name="T26" fmla="*/ 93 w 246"/>
                  <a:gd name="T27" fmla="*/ 181 h 181"/>
                  <a:gd name="T28" fmla="*/ 114 w 246"/>
                  <a:gd name="T29" fmla="*/ 93 h 181"/>
                  <a:gd name="T30" fmla="*/ 123 w 246"/>
                  <a:gd name="T31" fmla="*/ 44 h 181"/>
                  <a:gd name="T32" fmla="*/ 124 w 246"/>
                  <a:gd name="T33" fmla="*/ 44 h 181"/>
                  <a:gd name="T34" fmla="*/ 134 w 246"/>
                  <a:gd name="T35" fmla="*/ 101 h 181"/>
                  <a:gd name="T36" fmla="*/ 153 w 246"/>
                  <a:gd name="T37" fmla="*/ 181 h 181"/>
                  <a:gd name="T38" fmla="*/ 199 w 246"/>
                  <a:gd name="T39" fmla="*/ 181 h 181"/>
                  <a:gd name="T40" fmla="*/ 246 w 246"/>
                  <a:gd name="T41" fmla="*/ 0 h 181"/>
                  <a:gd name="T42" fmla="*/ 206 w 246"/>
                  <a:gd name="T43" fmla="*/ 0 h 181"/>
                  <a:gd name="T44" fmla="*/ 188 w 246"/>
                  <a:gd name="T45" fmla="*/ 77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6" h="181">
                    <a:moveTo>
                      <a:pt x="188" y="77"/>
                    </a:moveTo>
                    <a:cubicBezTo>
                      <a:pt x="183" y="100"/>
                      <a:pt x="179" y="121"/>
                      <a:pt x="178" y="137"/>
                    </a:cubicBezTo>
                    <a:lnTo>
                      <a:pt x="177" y="137"/>
                    </a:lnTo>
                    <a:cubicBezTo>
                      <a:pt x="175" y="120"/>
                      <a:pt x="173" y="108"/>
                      <a:pt x="168" y="88"/>
                    </a:cubicBezTo>
                    <a:lnTo>
                      <a:pt x="148" y="0"/>
                    </a:lnTo>
                    <a:lnTo>
                      <a:pt x="101" y="0"/>
                    </a:lnTo>
                    <a:lnTo>
                      <a:pt x="81" y="89"/>
                    </a:lnTo>
                    <a:cubicBezTo>
                      <a:pt x="78" y="106"/>
                      <a:pt x="75" y="116"/>
                      <a:pt x="73" y="137"/>
                    </a:cubicBezTo>
                    <a:lnTo>
                      <a:pt x="72" y="137"/>
                    </a:lnTo>
                    <a:cubicBezTo>
                      <a:pt x="71" y="118"/>
                      <a:pt x="66" y="93"/>
                      <a:pt x="61" y="73"/>
                    </a:cubicBezTo>
                    <a:lnTo>
                      <a:pt x="43" y="0"/>
                    </a:lnTo>
                    <a:lnTo>
                      <a:pt x="0" y="0"/>
                    </a:lnTo>
                    <a:lnTo>
                      <a:pt x="46" y="181"/>
                    </a:lnTo>
                    <a:lnTo>
                      <a:pt x="93" y="181"/>
                    </a:lnTo>
                    <a:lnTo>
                      <a:pt x="114" y="93"/>
                    </a:lnTo>
                    <a:cubicBezTo>
                      <a:pt x="118" y="77"/>
                      <a:pt x="120" y="63"/>
                      <a:pt x="123" y="44"/>
                    </a:cubicBezTo>
                    <a:lnTo>
                      <a:pt x="124" y="44"/>
                    </a:lnTo>
                    <a:cubicBezTo>
                      <a:pt x="126" y="62"/>
                      <a:pt x="129" y="76"/>
                      <a:pt x="134" y="101"/>
                    </a:cubicBezTo>
                    <a:lnTo>
                      <a:pt x="153" y="181"/>
                    </a:lnTo>
                    <a:lnTo>
                      <a:pt x="199" y="181"/>
                    </a:lnTo>
                    <a:lnTo>
                      <a:pt x="246" y="0"/>
                    </a:lnTo>
                    <a:lnTo>
                      <a:pt x="206" y="0"/>
                    </a:lnTo>
                    <a:lnTo>
                      <a:pt x="188" y="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8" name="Freeform 65">
                <a:extLst>
                  <a:ext uri="{FF2B5EF4-FFF2-40B4-BE49-F238E27FC236}">
                    <a16:creationId xmlns:a16="http://schemas.microsoft.com/office/drawing/2014/main" id="{716BF435-0864-3C11-4C7C-49E2E5F0D4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6815" y="3935822"/>
                <a:ext cx="3620" cy="5430"/>
              </a:xfrm>
              <a:custGeom>
                <a:avLst/>
                <a:gdLst>
                  <a:gd name="T0" fmla="*/ 2 w 7"/>
                  <a:gd name="T1" fmla="*/ 11 h 12"/>
                  <a:gd name="T2" fmla="*/ 3 w 7"/>
                  <a:gd name="T3" fmla="*/ 12 h 12"/>
                  <a:gd name="T4" fmla="*/ 7 w 7"/>
                  <a:gd name="T5" fmla="*/ 0 h 12"/>
                  <a:gd name="T6" fmla="*/ 0 w 7"/>
                  <a:gd name="T7" fmla="*/ 4 h 12"/>
                  <a:gd name="T8" fmla="*/ 2 w 7"/>
                  <a:gd name="T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2" y="11"/>
                    </a:moveTo>
                    <a:cubicBezTo>
                      <a:pt x="2" y="11"/>
                      <a:pt x="2" y="12"/>
                      <a:pt x="3" y="12"/>
                    </a:cubicBezTo>
                    <a:cubicBezTo>
                      <a:pt x="3" y="9"/>
                      <a:pt x="5" y="5"/>
                      <a:pt x="7" y="0"/>
                    </a:cubicBezTo>
                    <a:cubicBezTo>
                      <a:pt x="5" y="2"/>
                      <a:pt x="3" y="3"/>
                      <a:pt x="0" y="4"/>
                    </a:cubicBezTo>
                    <a:cubicBezTo>
                      <a:pt x="1" y="6"/>
                      <a:pt x="2" y="6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9" name="Freeform 66">
                <a:extLst>
                  <a:ext uri="{FF2B5EF4-FFF2-40B4-BE49-F238E27FC236}">
                    <a16:creationId xmlns:a16="http://schemas.microsoft.com/office/drawing/2014/main" id="{BE07557B-A83C-771C-B0DE-43C0DDF100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1386" y="3941252"/>
                <a:ext cx="0" cy="0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0" name="Freeform 67">
                <a:extLst>
                  <a:ext uri="{FF2B5EF4-FFF2-40B4-BE49-F238E27FC236}">
                    <a16:creationId xmlns:a16="http://schemas.microsoft.com/office/drawing/2014/main" id="{D9D128CF-3700-9D38-AB3D-DF24E35C7C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8992" y="3937633"/>
                <a:ext cx="0" cy="5430"/>
              </a:xfrm>
              <a:custGeom>
                <a:avLst/>
                <a:gdLst>
                  <a:gd name="T0" fmla="*/ 1 w 2"/>
                  <a:gd name="T1" fmla="*/ 0 h 14"/>
                  <a:gd name="T2" fmla="*/ 1 w 2"/>
                  <a:gd name="T3" fmla="*/ 11 h 14"/>
                  <a:gd name="T4" fmla="*/ 2 w 2"/>
                  <a:gd name="T5" fmla="*/ 14 h 14"/>
                  <a:gd name="T6" fmla="*/ 1 w 2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4">
                    <a:moveTo>
                      <a:pt x="1" y="0"/>
                    </a:moveTo>
                    <a:cubicBezTo>
                      <a:pt x="0" y="4"/>
                      <a:pt x="1" y="8"/>
                      <a:pt x="1" y="11"/>
                    </a:cubicBezTo>
                    <a:cubicBezTo>
                      <a:pt x="1" y="12"/>
                      <a:pt x="2" y="13"/>
                      <a:pt x="2" y="14"/>
                    </a:cubicBezTo>
                    <a:cubicBezTo>
                      <a:pt x="2" y="9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1" name="Freeform 68">
                <a:extLst>
                  <a:ext uri="{FF2B5EF4-FFF2-40B4-BE49-F238E27FC236}">
                    <a16:creationId xmlns:a16="http://schemas.microsoft.com/office/drawing/2014/main" id="{04677334-B32C-D78F-CCF6-75E41199CC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6907" y="3926774"/>
                <a:ext cx="7239" cy="16289"/>
              </a:xfrm>
              <a:custGeom>
                <a:avLst/>
                <a:gdLst>
                  <a:gd name="T0" fmla="*/ 6 w 19"/>
                  <a:gd name="T1" fmla="*/ 26 h 42"/>
                  <a:gd name="T2" fmla="*/ 13 w 19"/>
                  <a:gd name="T3" fmla="*/ 34 h 42"/>
                  <a:gd name="T4" fmla="*/ 15 w 19"/>
                  <a:gd name="T5" fmla="*/ 23 h 42"/>
                  <a:gd name="T6" fmla="*/ 19 w 19"/>
                  <a:gd name="T7" fmla="*/ 27 h 42"/>
                  <a:gd name="T8" fmla="*/ 19 w 19"/>
                  <a:gd name="T9" fmla="*/ 25 h 42"/>
                  <a:gd name="T10" fmla="*/ 13 w 19"/>
                  <a:gd name="T11" fmla="*/ 0 h 42"/>
                  <a:gd name="T12" fmla="*/ 4 w 19"/>
                  <a:gd name="T13" fmla="*/ 8 h 42"/>
                  <a:gd name="T14" fmla="*/ 0 w 19"/>
                  <a:gd name="T15" fmla="*/ 25 h 42"/>
                  <a:gd name="T16" fmla="*/ 4 w 19"/>
                  <a:gd name="T17" fmla="*/ 42 h 42"/>
                  <a:gd name="T18" fmla="*/ 7 w 19"/>
                  <a:gd name="T19" fmla="*/ 40 h 42"/>
                  <a:gd name="T20" fmla="*/ 7 w 19"/>
                  <a:gd name="T21" fmla="*/ 39 h 42"/>
                  <a:gd name="T22" fmla="*/ 3 w 19"/>
                  <a:gd name="T23" fmla="*/ 26 h 42"/>
                  <a:gd name="T24" fmla="*/ 3 w 19"/>
                  <a:gd name="T25" fmla="*/ 20 h 42"/>
                  <a:gd name="T26" fmla="*/ 6 w 19"/>
                  <a:gd name="T27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42">
                    <a:moveTo>
                      <a:pt x="6" y="26"/>
                    </a:moveTo>
                    <a:cubicBezTo>
                      <a:pt x="8" y="28"/>
                      <a:pt x="10" y="30"/>
                      <a:pt x="13" y="34"/>
                    </a:cubicBezTo>
                    <a:cubicBezTo>
                      <a:pt x="14" y="31"/>
                      <a:pt x="15" y="26"/>
                      <a:pt x="15" y="23"/>
                    </a:cubicBezTo>
                    <a:cubicBezTo>
                      <a:pt x="16" y="24"/>
                      <a:pt x="18" y="25"/>
                      <a:pt x="19" y="27"/>
                    </a:cubicBezTo>
                    <a:lnTo>
                      <a:pt x="19" y="25"/>
                    </a:lnTo>
                    <a:cubicBezTo>
                      <a:pt x="19" y="17"/>
                      <a:pt x="15" y="8"/>
                      <a:pt x="13" y="0"/>
                    </a:cubicBezTo>
                    <a:cubicBezTo>
                      <a:pt x="10" y="3"/>
                      <a:pt x="5" y="5"/>
                      <a:pt x="4" y="8"/>
                    </a:cubicBezTo>
                    <a:cubicBezTo>
                      <a:pt x="2" y="13"/>
                      <a:pt x="1" y="19"/>
                      <a:pt x="0" y="25"/>
                    </a:cubicBezTo>
                    <a:cubicBezTo>
                      <a:pt x="0" y="31"/>
                      <a:pt x="1" y="37"/>
                      <a:pt x="4" y="42"/>
                    </a:cubicBezTo>
                    <a:cubicBezTo>
                      <a:pt x="5" y="42"/>
                      <a:pt x="6" y="41"/>
                      <a:pt x="7" y="40"/>
                    </a:cubicBezTo>
                    <a:cubicBezTo>
                      <a:pt x="7" y="40"/>
                      <a:pt x="7" y="40"/>
                      <a:pt x="7" y="39"/>
                    </a:cubicBezTo>
                    <a:cubicBezTo>
                      <a:pt x="6" y="35"/>
                      <a:pt x="4" y="30"/>
                      <a:pt x="3" y="26"/>
                    </a:cubicBezTo>
                    <a:cubicBezTo>
                      <a:pt x="3" y="23"/>
                      <a:pt x="2" y="25"/>
                      <a:pt x="3" y="20"/>
                    </a:cubicBezTo>
                    <a:cubicBezTo>
                      <a:pt x="2" y="22"/>
                      <a:pt x="4" y="25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2" name="Freeform 69">
                <a:extLst>
                  <a:ext uri="{FF2B5EF4-FFF2-40B4-BE49-F238E27FC236}">
                    <a16:creationId xmlns:a16="http://schemas.microsoft.com/office/drawing/2014/main" id="{BC8EE769-7F69-68E6-4E0F-74D048F0A2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98133" y="3785607"/>
                <a:ext cx="18098" cy="9050"/>
              </a:xfrm>
              <a:custGeom>
                <a:avLst/>
                <a:gdLst>
                  <a:gd name="T0" fmla="*/ 36 w 44"/>
                  <a:gd name="T1" fmla="*/ 20 h 25"/>
                  <a:gd name="T2" fmla="*/ 22 w 44"/>
                  <a:gd name="T3" fmla="*/ 3 h 25"/>
                  <a:gd name="T4" fmla="*/ 1 w 44"/>
                  <a:gd name="T5" fmla="*/ 10 h 25"/>
                  <a:gd name="T6" fmla="*/ 36 w 44"/>
                  <a:gd name="T7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25">
                    <a:moveTo>
                      <a:pt x="36" y="20"/>
                    </a:moveTo>
                    <a:cubicBezTo>
                      <a:pt x="27" y="12"/>
                      <a:pt x="32" y="6"/>
                      <a:pt x="22" y="3"/>
                    </a:cubicBezTo>
                    <a:cubicBezTo>
                      <a:pt x="12" y="0"/>
                      <a:pt x="0" y="4"/>
                      <a:pt x="1" y="10"/>
                    </a:cubicBezTo>
                    <a:cubicBezTo>
                      <a:pt x="3" y="19"/>
                      <a:pt x="44" y="25"/>
                      <a:pt x="3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3" name="Freeform 70">
                <a:extLst>
                  <a:ext uri="{FF2B5EF4-FFF2-40B4-BE49-F238E27FC236}">
                    <a16:creationId xmlns:a16="http://schemas.microsoft.com/office/drawing/2014/main" id="{E55442D0-DA80-D289-C156-8BDD56CCAE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9451" y="3628150"/>
                <a:ext cx="217180" cy="322151"/>
              </a:xfrm>
              <a:custGeom>
                <a:avLst/>
                <a:gdLst>
                  <a:gd name="T0" fmla="*/ 357 w 531"/>
                  <a:gd name="T1" fmla="*/ 727 h 784"/>
                  <a:gd name="T2" fmla="*/ 383 w 531"/>
                  <a:gd name="T3" fmla="*/ 715 h 784"/>
                  <a:gd name="T4" fmla="*/ 380 w 531"/>
                  <a:gd name="T5" fmla="*/ 734 h 784"/>
                  <a:gd name="T6" fmla="*/ 400 w 531"/>
                  <a:gd name="T7" fmla="*/ 720 h 784"/>
                  <a:gd name="T8" fmla="*/ 413 w 531"/>
                  <a:gd name="T9" fmla="*/ 743 h 784"/>
                  <a:gd name="T10" fmla="*/ 421 w 531"/>
                  <a:gd name="T11" fmla="*/ 759 h 784"/>
                  <a:gd name="T12" fmla="*/ 420 w 531"/>
                  <a:gd name="T13" fmla="*/ 690 h 784"/>
                  <a:gd name="T14" fmla="*/ 431 w 531"/>
                  <a:gd name="T15" fmla="*/ 748 h 784"/>
                  <a:gd name="T16" fmla="*/ 440 w 531"/>
                  <a:gd name="T17" fmla="*/ 746 h 784"/>
                  <a:gd name="T18" fmla="*/ 449 w 531"/>
                  <a:gd name="T19" fmla="*/ 731 h 784"/>
                  <a:gd name="T20" fmla="*/ 465 w 531"/>
                  <a:gd name="T21" fmla="*/ 727 h 784"/>
                  <a:gd name="T22" fmla="*/ 501 w 531"/>
                  <a:gd name="T23" fmla="*/ 448 h 784"/>
                  <a:gd name="T24" fmla="*/ 455 w 531"/>
                  <a:gd name="T25" fmla="*/ 349 h 784"/>
                  <a:gd name="T26" fmla="*/ 463 w 531"/>
                  <a:gd name="T27" fmla="*/ 58 h 784"/>
                  <a:gd name="T28" fmla="*/ 0 w 531"/>
                  <a:gd name="T29" fmla="*/ 0 h 784"/>
                  <a:gd name="T30" fmla="*/ 203 w 531"/>
                  <a:gd name="T31" fmla="*/ 234 h 784"/>
                  <a:gd name="T32" fmla="*/ 274 w 531"/>
                  <a:gd name="T33" fmla="*/ 227 h 784"/>
                  <a:gd name="T34" fmla="*/ 341 w 531"/>
                  <a:gd name="T35" fmla="*/ 226 h 784"/>
                  <a:gd name="T36" fmla="*/ 269 w 531"/>
                  <a:gd name="T37" fmla="*/ 284 h 784"/>
                  <a:gd name="T38" fmla="*/ 321 w 531"/>
                  <a:gd name="T39" fmla="*/ 312 h 784"/>
                  <a:gd name="T40" fmla="*/ 362 w 531"/>
                  <a:gd name="T41" fmla="*/ 425 h 784"/>
                  <a:gd name="T42" fmla="*/ 99 w 531"/>
                  <a:gd name="T43" fmla="*/ 574 h 784"/>
                  <a:gd name="T44" fmla="*/ 65 w 531"/>
                  <a:gd name="T45" fmla="*/ 605 h 784"/>
                  <a:gd name="T46" fmla="*/ 63 w 531"/>
                  <a:gd name="T47" fmla="*/ 728 h 784"/>
                  <a:gd name="T48" fmla="*/ 151 w 531"/>
                  <a:gd name="T49" fmla="*/ 776 h 784"/>
                  <a:gd name="T50" fmla="*/ 158 w 531"/>
                  <a:gd name="T51" fmla="*/ 772 h 784"/>
                  <a:gd name="T52" fmla="*/ 160 w 531"/>
                  <a:gd name="T53" fmla="*/ 753 h 784"/>
                  <a:gd name="T54" fmla="*/ 171 w 531"/>
                  <a:gd name="T55" fmla="*/ 751 h 784"/>
                  <a:gd name="T56" fmla="*/ 172 w 531"/>
                  <a:gd name="T57" fmla="*/ 754 h 784"/>
                  <a:gd name="T58" fmla="*/ 181 w 531"/>
                  <a:gd name="T59" fmla="*/ 763 h 784"/>
                  <a:gd name="T60" fmla="*/ 190 w 531"/>
                  <a:gd name="T61" fmla="*/ 747 h 784"/>
                  <a:gd name="T62" fmla="*/ 196 w 531"/>
                  <a:gd name="T63" fmla="*/ 750 h 784"/>
                  <a:gd name="T64" fmla="*/ 202 w 531"/>
                  <a:gd name="T65" fmla="*/ 756 h 784"/>
                  <a:gd name="T66" fmla="*/ 211 w 531"/>
                  <a:gd name="T67" fmla="*/ 760 h 784"/>
                  <a:gd name="T68" fmla="*/ 217 w 531"/>
                  <a:gd name="T69" fmla="*/ 746 h 784"/>
                  <a:gd name="T70" fmla="*/ 221 w 531"/>
                  <a:gd name="T71" fmla="*/ 735 h 784"/>
                  <a:gd name="T72" fmla="*/ 229 w 531"/>
                  <a:gd name="T73" fmla="*/ 733 h 784"/>
                  <a:gd name="T74" fmla="*/ 237 w 531"/>
                  <a:gd name="T75" fmla="*/ 770 h 784"/>
                  <a:gd name="T76" fmla="*/ 247 w 531"/>
                  <a:gd name="T77" fmla="*/ 754 h 784"/>
                  <a:gd name="T78" fmla="*/ 253 w 531"/>
                  <a:gd name="T79" fmla="*/ 769 h 784"/>
                  <a:gd name="T80" fmla="*/ 256 w 531"/>
                  <a:gd name="T81" fmla="*/ 753 h 784"/>
                  <a:gd name="T82" fmla="*/ 264 w 531"/>
                  <a:gd name="T83" fmla="*/ 753 h 784"/>
                  <a:gd name="T84" fmla="*/ 267 w 531"/>
                  <a:gd name="T85" fmla="*/ 774 h 784"/>
                  <a:gd name="T86" fmla="*/ 266 w 531"/>
                  <a:gd name="T87" fmla="*/ 726 h 784"/>
                  <a:gd name="T88" fmla="*/ 280 w 531"/>
                  <a:gd name="T89" fmla="*/ 761 h 784"/>
                  <a:gd name="T90" fmla="*/ 286 w 531"/>
                  <a:gd name="T91" fmla="*/ 763 h 784"/>
                  <a:gd name="T92" fmla="*/ 289 w 531"/>
                  <a:gd name="T93" fmla="*/ 753 h 784"/>
                  <a:gd name="T94" fmla="*/ 298 w 531"/>
                  <a:gd name="T95" fmla="*/ 760 h 784"/>
                  <a:gd name="T96" fmla="*/ 299 w 531"/>
                  <a:gd name="T97" fmla="*/ 724 h 784"/>
                  <a:gd name="T98" fmla="*/ 316 w 531"/>
                  <a:gd name="T99" fmla="*/ 730 h 784"/>
                  <a:gd name="T100" fmla="*/ 324 w 531"/>
                  <a:gd name="T101" fmla="*/ 745 h 784"/>
                  <a:gd name="T102" fmla="*/ 334 w 531"/>
                  <a:gd name="T103" fmla="*/ 725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31" h="784">
                    <a:moveTo>
                      <a:pt x="349" y="756"/>
                    </a:moveTo>
                    <a:cubicBezTo>
                      <a:pt x="349" y="754"/>
                      <a:pt x="350" y="748"/>
                      <a:pt x="351" y="746"/>
                    </a:cubicBezTo>
                    <a:cubicBezTo>
                      <a:pt x="354" y="741"/>
                      <a:pt x="355" y="732"/>
                      <a:pt x="356" y="726"/>
                    </a:cubicBezTo>
                    <a:cubicBezTo>
                      <a:pt x="356" y="726"/>
                      <a:pt x="356" y="727"/>
                      <a:pt x="357" y="727"/>
                    </a:cubicBezTo>
                    <a:cubicBezTo>
                      <a:pt x="359" y="736"/>
                      <a:pt x="360" y="742"/>
                      <a:pt x="363" y="753"/>
                    </a:cubicBezTo>
                    <a:cubicBezTo>
                      <a:pt x="364" y="742"/>
                      <a:pt x="368" y="732"/>
                      <a:pt x="373" y="723"/>
                    </a:cubicBezTo>
                    <a:cubicBezTo>
                      <a:pt x="378" y="714"/>
                      <a:pt x="384" y="705"/>
                      <a:pt x="388" y="694"/>
                    </a:cubicBezTo>
                    <a:cubicBezTo>
                      <a:pt x="387" y="702"/>
                      <a:pt x="388" y="708"/>
                      <a:pt x="383" y="715"/>
                    </a:cubicBezTo>
                    <a:cubicBezTo>
                      <a:pt x="379" y="722"/>
                      <a:pt x="377" y="725"/>
                      <a:pt x="376" y="730"/>
                    </a:cubicBezTo>
                    <a:cubicBezTo>
                      <a:pt x="375" y="734"/>
                      <a:pt x="374" y="740"/>
                      <a:pt x="371" y="751"/>
                    </a:cubicBezTo>
                    <a:cubicBezTo>
                      <a:pt x="371" y="750"/>
                      <a:pt x="374" y="747"/>
                      <a:pt x="374" y="745"/>
                    </a:cubicBezTo>
                    <a:cubicBezTo>
                      <a:pt x="375" y="741"/>
                      <a:pt x="378" y="737"/>
                      <a:pt x="380" y="734"/>
                    </a:cubicBezTo>
                    <a:cubicBezTo>
                      <a:pt x="384" y="727"/>
                      <a:pt x="390" y="723"/>
                      <a:pt x="396" y="721"/>
                    </a:cubicBezTo>
                    <a:cubicBezTo>
                      <a:pt x="396" y="721"/>
                      <a:pt x="396" y="720"/>
                      <a:pt x="395" y="720"/>
                    </a:cubicBezTo>
                    <a:cubicBezTo>
                      <a:pt x="396" y="720"/>
                      <a:pt x="396" y="720"/>
                      <a:pt x="397" y="721"/>
                    </a:cubicBezTo>
                    <a:cubicBezTo>
                      <a:pt x="398" y="720"/>
                      <a:pt x="399" y="720"/>
                      <a:pt x="400" y="720"/>
                    </a:cubicBezTo>
                    <a:cubicBezTo>
                      <a:pt x="399" y="721"/>
                      <a:pt x="399" y="722"/>
                      <a:pt x="398" y="722"/>
                    </a:cubicBezTo>
                    <a:cubicBezTo>
                      <a:pt x="400" y="725"/>
                      <a:pt x="403" y="730"/>
                      <a:pt x="405" y="735"/>
                    </a:cubicBezTo>
                    <a:cubicBezTo>
                      <a:pt x="407" y="741"/>
                      <a:pt x="410" y="747"/>
                      <a:pt x="412" y="753"/>
                    </a:cubicBezTo>
                    <a:cubicBezTo>
                      <a:pt x="412" y="750"/>
                      <a:pt x="413" y="746"/>
                      <a:pt x="413" y="743"/>
                    </a:cubicBezTo>
                    <a:cubicBezTo>
                      <a:pt x="413" y="736"/>
                      <a:pt x="411" y="731"/>
                      <a:pt x="407" y="727"/>
                    </a:cubicBezTo>
                    <a:cubicBezTo>
                      <a:pt x="408" y="727"/>
                      <a:pt x="413" y="734"/>
                      <a:pt x="413" y="735"/>
                    </a:cubicBezTo>
                    <a:cubicBezTo>
                      <a:pt x="418" y="741"/>
                      <a:pt x="419" y="751"/>
                      <a:pt x="421" y="759"/>
                    </a:cubicBezTo>
                    <a:cubicBezTo>
                      <a:pt x="421" y="759"/>
                      <a:pt x="421" y="759"/>
                      <a:pt x="421" y="759"/>
                    </a:cubicBezTo>
                    <a:cubicBezTo>
                      <a:pt x="421" y="755"/>
                      <a:pt x="421" y="751"/>
                      <a:pt x="421" y="747"/>
                    </a:cubicBezTo>
                    <a:cubicBezTo>
                      <a:pt x="420" y="742"/>
                      <a:pt x="419" y="737"/>
                      <a:pt x="419" y="731"/>
                    </a:cubicBezTo>
                    <a:cubicBezTo>
                      <a:pt x="418" y="725"/>
                      <a:pt x="418" y="718"/>
                      <a:pt x="418" y="711"/>
                    </a:cubicBezTo>
                    <a:cubicBezTo>
                      <a:pt x="418" y="704"/>
                      <a:pt x="419" y="697"/>
                      <a:pt x="420" y="690"/>
                    </a:cubicBezTo>
                    <a:cubicBezTo>
                      <a:pt x="419" y="699"/>
                      <a:pt x="420" y="709"/>
                      <a:pt x="422" y="718"/>
                    </a:cubicBezTo>
                    <a:cubicBezTo>
                      <a:pt x="424" y="727"/>
                      <a:pt x="427" y="736"/>
                      <a:pt x="429" y="744"/>
                    </a:cubicBezTo>
                    <a:cubicBezTo>
                      <a:pt x="430" y="743"/>
                      <a:pt x="431" y="740"/>
                      <a:pt x="432" y="739"/>
                    </a:cubicBezTo>
                    <a:cubicBezTo>
                      <a:pt x="431" y="742"/>
                      <a:pt x="431" y="745"/>
                      <a:pt x="431" y="748"/>
                    </a:cubicBezTo>
                    <a:cubicBezTo>
                      <a:pt x="431" y="748"/>
                      <a:pt x="431" y="748"/>
                      <a:pt x="431" y="749"/>
                    </a:cubicBezTo>
                    <a:cubicBezTo>
                      <a:pt x="432" y="751"/>
                      <a:pt x="432" y="752"/>
                      <a:pt x="433" y="752"/>
                    </a:cubicBezTo>
                    <a:cubicBezTo>
                      <a:pt x="435" y="751"/>
                      <a:pt x="437" y="750"/>
                      <a:pt x="439" y="748"/>
                    </a:cubicBezTo>
                    <a:cubicBezTo>
                      <a:pt x="439" y="747"/>
                      <a:pt x="440" y="747"/>
                      <a:pt x="440" y="746"/>
                    </a:cubicBezTo>
                    <a:cubicBezTo>
                      <a:pt x="440" y="743"/>
                      <a:pt x="439" y="739"/>
                      <a:pt x="439" y="736"/>
                    </a:cubicBezTo>
                    <a:cubicBezTo>
                      <a:pt x="439" y="736"/>
                      <a:pt x="440" y="738"/>
                      <a:pt x="441" y="738"/>
                    </a:cubicBezTo>
                    <a:cubicBezTo>
                      <a:pt x="441" y="739"/>
                      <a:pt x="442" y="740"/>
                      <a:pt x="442" y="742"/>
                    </a:cubicBezTo>
                    <a:cubicBezTo>
                      <a:pt x="445" y="738"/>
                      <a:pt x="447" y="734"/>
                      <a:pt x="449" y="731"/>
                    </a:cubicBezTo>
                    <a:cubicBezTo>
                      <a:pt x="454" y="724"/>
                      <a:pt x="465" y="714"/>
                      <a:pt x="466" y="703"/>
                    </a:cubicBezTo>
                    <a:cubicBezTo>
                      <a:pt x="465" y="712"/>
                      <a:pt x="461" y="720"/>
                      <a:pt x="457" y="728"/>
                    </a:cubicBezTo>
                    <a:cubicBezTo>
                      <a:pt x="455" y="731"/>
                      <a:pt x="452" y="736"/>
                      <a:pt x="451" y="739"/>
                    </a:cubicBezTo>
                    <a:cubicBezTo>
                      <a:pt x="455" y="736"/>
                      <a:pt x="460" y="731"/>
                      <a:pt x="465" y="727"/>
                    </a:cubicBezTo>
                    <a:cubicBezTo>
                      <a:pt x="465" y="726"/>
                      <a:pt x="466" y="726"/>
                      <a:pt x="466" y="725"/>
                    </a:cubicBezTo>
                    <a:cubicBezTo>
                      <a:pt x="468" y="724"/>
                      <a:pt x="469" y="723"/>
                      <a:pt x="470" y="722"/>
                    </a:cubicBezTo>
                    <a:cubicBezTo>
                      <a:pt x="510" y="683"/>
                      <a:pt x="530" y="629"/>
                      <a:pt x="531" y="561"/>
                    </a:cubicBezTo>
                    <a:cubicBezTo>
                      <a:pt x="531" y="520"/>
                      <a:pt x="521" y="482"/>
                      <a:pt x="501" y="448"/>
                    </a:cubicBezTo>
                    <a:cubicBezTo>
                      <a:pt x="489" y="429"/>
                      <a:pt x="473" y="413"/>
                      <a:pt x="455" y="401"/>
                    </a:cubicBezTo>
                    <a:lnTo>
                      <a:pt x="407" y="381"/>
                    </a:lnTo>
                    <a:lnTo>
                      <a:pt x="407" y="378"/>
                    </a:lnTo>
                    <a:cubicBezTo>
                      <a:pt x="426" y="369"/>
                      <a:pt x="441" y="360"/>
                      <a:pt x="455" y="349"/>
                    </a:cubicBezTo>
                    <a:cubicBezTo>
                      <a:pt x="457" y="347"/>
                      <a:pt x="460" y="345"/>
                      <a:pt x="463" y="343"/>
                    </a:cubicBezTo>
                    <a:cubicBezTo>
                      <a:pt x="477" y="330"/>
                      <a:pt x="489" y="317"/>
                      <a:pt x="497" y="303"/>
                    </a:cubicBezTo>
                    <a:cubicBezTo>
                      <a:pt x="512" y="273"/>
                      <a:pt x="520" y="242"/>
                      <a:pt x="519" y="210"/>
                    </a:cubicBezTo>
                    <a:cubicBezTo>
                      <a:pt x="519" y="147"/>
                      <a:pt x="500" y="96"/>
                      <a:pt x="463" y="58"/>
                    </a:cubicBezTo>
                    <a:cubicBezTo>
                      <a:pt x="460" y="56"/>
                      <a:pt x="457" y="53"/>
                      <a:pt x="455" y="51"/>
                    </a:cubicBezTo>
                    <a:cubicBezTo>
                      <a:pt x="448" y="45"/>
                      <a:pt x="442" y="40"/>
                      <a:pt x="434" y="36"/>
                    </a:cubicBezTo>
                    <a:cubicBezTo>
                      <a:pt x="399" y="13"/>
                      <a:pt x="352" y="0"/>
                      <a:pt x="294" y="0"/>
                    </a:cubicBezTo>
                    <a:lnTo>
                      <a:pt x="0" y="0"/>
                    </a:lnTo>
                    <a:lnTo>
                      <a:pt x="0" y="275"/>
                    </a:lnTo>
                    <a:cubicBezTo>
                      <a:pt x="70" y="281"/>
                      <a:pt x="147" y="280"/>
                      <a:pt x="168" y="249"/>
                    </a:cubicBezTo>
                    <a:cubicBezTo>
                      <a:pt x="172" y="244"/>
                      <a:pt x="173" y="231"/>
                      <a:pt x="193" y="233"/>
                    </a:cubicBezTo>
                    <a:cubicBezTo>
                      <a:pt x="195" y="233"/>
                      <a:pt x="199" y="233"/>
                      <a:pt x="203" y="234"/>
                    </a:cubicBezTo>
                    <a:cubicBezTo>
                      <a:pt x="205" y="234"/>
                      <a:pt x="207" y="234"/>
                      <a:pt x="209" y="234"/>
                    </a:cubicBezTo>
                    <a:cubicBezTo>
                      <a:pt x="225" y="234"/>
                      <a:pt x="246" y="233"/>
                      <a:pt x="269" y="229"/>
                    </a:cubicBezTo>
                    <a:cubicBezTo>
                      <a:pt x="270" y="228"/>
                      <a:pt x="272" y="228"/>
                      <a:pt x="273" y="228"/>
                    </a:cubicBezTo>
                    <a:cubicBezTo>
                      <a:pt x="273" y="227"/>
                      <a:pt x="273" y="227"/>
                      <a:pt x="274" y="227"/>
                    </a:cubicBezTo>
                    <a:cubicBezTo>
                      <a:pt x="282" y="225"/>
                      <a:pt x="290" y="223"/>
                      <a:pt x="298" y="220"/>
                    </a:cubicBezTo>
                    <a:cubicBezTo>
                      <a:pt x="303" y="218"/>
                      <a:pt x="309" y="215"/>
                      <a:pt x="314" y="212"/>
                    </a:cubicBezTo>
                    <a:cubicBezTo>
                      <a:pt x="357" y="188"/>
                      <a:pt x="379" y="160"/>
                      <a:pt x="379" y="160"/>
                    </a:cubicBezTo>
                    <a:cubicBezTo>
                      <a:pt x="379" y="160"/>
                      <a:pt x="366" y="196"/>
                      <a:pt x="341" y="226"/>
                    </a:cubicBezTo>
                    <a:cubicBezTo>
                      <a:pt x="326" y="245"/>
                      <a:pt x="311" y="259"/>
                      <a:pt x="295" y="270"/>
                    </a:cubicBezTo>
                    <a:cubicBezTo>
                      <a:pt x="288" y="275"/>
                      <a:pt x="280" y="279"/>
                      <a:pt x="273" y="282"/>
                    </a:cubicBezTo>
                    <a:cubicBezTo>
                      <a:pt x="272" y="283"/>
                      <a:pt x="271" y="283"/>
                      <a:pt x="270" y="284"/>
                    </a:cubicBezTo>
                    <a:cubicBezTo>
                      <a:pt x="270" y="284"/>
                      <a:pt x="270" y="284"/>
                      <a:pt x="269" y="284"/>
                    </a:cubicBezTo>
                    <a:cubicBezTo>
                      <a:pt x="232" y="301"/>
                      <a:pt x="203" y="299"/>
                      <a:pt x="203" y="299"/>
                    </a:cubicBezTo>
                    <a:cubicBezTo>
                      <a:pt x="244" y="303"/>
                      <a:pt x="282" y="299"/>
                      <a:pt x="319" y="280"/>
                    </a:cubicBezTo>
                    <a:cubicBezTo>
                      <a:pt x="352" y="264"/>
                      <a:pt x="361" y="248"/>
                      <a:pt x="363" y="244"/>
                    </a:cubicBezTo>
                    <a:cubicBezTo>
                      <a:pt x="360" y="251"/>
                      <a:pt x="339" y="297"/>
                      <a:pt x="321" y="312"/>
                    </a:cubicBezTo>
                    <a:lnTo>
                      <a:pt x="302" y="329"/>
                    </a:lnTo>
                    <a:lnTo>
                      <a:pt x="288" y="340"/>
                    </a:lnTo>
                    <a:cubicBezTo>
                      <a:pt x="288" y="340"/>
                      <a:pt x="284" y="352"/>
                      <a:pt x="314" y="383"/>
                    </a:cubicBezTo>
                    <a:cubicBezTo>
                      <a:pt x="326" y="394"/>
                      <a:pt x="345" y="411"/>
                      <a:pt x="362" y="425"/>
                    </a:cubicBezTo>
                    <a:cubicBezTo>
                      <a:pt x="371" y="433"/>
                      <a:pt x="379" y="440"/>
                      <a:pt x="385" y="446"/>
                    </a:cubicBezTo>
                    <a:cubicBezTo>
                      <a:pt x="418" y="478"/>
                      <a:pt x="348" y="531"/>
                      <a:pt x="304" y="504"/>
                    </a:cubicBezTo>
                    <a:cubicBezTo>
                      <a:pt x="282" y="491"/>
                      <a:pt x="211" y="521"/>
                      <a:pt x="167" y="515"/>
                    </a:cubicBezTo>
                    <a:cubicBezTo>
                      <a:pt x="111" y="508"/>
                      <a:pt x="121" y="546"/>
                      <a:pt x="99" y="574"/>
                    </a:cubicBezTo>
                    <a:cubicBezTo>
                      <a:pt x="68" y="614"/>
                      <a:pt x="45" y="559"/>
                      <a:pt x="42" y="540"/>
                    </a:cubicBezTo>
                    <a:cubicBezTo>
                      <a:pt x="38" y="513"/>
                      <a:pt x="28" y="484"/>
                      <a:pt x="0" y="472"/>
                    </a:cubicBezTo>
                    <a:lnTo>
                      <a:pt x="0" y="474"/>
                    </a:lnTo>
                    <a:cubicBezTo>
                      <a:pt x="50" y="501"/>
                      <a:pt x="11" y="562"/>
                      <a:pt x="65" y="605"/>
                    </a:cubicBezTo>
                    <a:cubicBezTo>
                      <a:pt x="58" y="622"/>
                      <a:pt x="49" y="636"/>
                      <a:pt x="45" y="650"/>
                    </a:cubicBezTo>
                    <a:cubicBezTo>
                      <a:pt x="46" y="653"/>
                      <a:pt x="48" y="655"/>
                      <a:pt x="49" y="657"/>
                    </a:cubicBezTo>
                    <a:cubicBezTo>
                      <a:pt x="54" y="665"/>
                      <a:pt x="69" y="666"/>
                      <a:pt x="69" y="675"/>
                    </a:cubicBezTo>
                    <a:cubicBezTo>
                      <a:pt x="70" y="683"/>
                      <a:pt x="68" y="722"/>
                      <a:pt x="63" y="728"/>
                    </a:cubicBezTo>
                    <a:cubicBezTo>
                      <a:pt x="59" y="733"/>
                      <a:pt x="60" y="761"/>
                      <a:pt x="41" y="784"/>
                    </a:cubicBezTo>
                    <a:lnTo>
                      <a:pt x="129" y="784"/>
                    </a:lnTo>
                    <a:cubicBezTo>
                      <a:pt x="136" y="782"/>
                      <a:pt x="143" y="779"/>
                      <a:pt x="151" y="777"/>
                    </a:cubicBezTo>
                    <a:cubicBezTo>
                      <a:pt x="151" y="777"/>
                      <a:pt x="151" y="776"/>
                      <a:pt x="151" y="776"/>
                    </a:cubicBezTo>
                    <a:cubicBezTo>
                      <a:pt x="153" y="768"/>
                      <a:pt x="150" y="762"/>
                      <a:pt x="146" y="756"/>
                    </a:cubicBezTo>
                    <a:cubicBezTo>
                      <a:pt x="143" y="749"/>
                      <a:pt x="139" y="743"/>
                      <a:pt x="138" y="736"/>
                    </a:cubicBezTo>
                    <a:cubicBezTo>
                      <a:pt x="139" y="743"/>
                      <a:pt x="146" y="749"/>
                      <a:pt x="149" y="754"/>
                    </a:cubicBezTo>
                    <a:cubicBezTo>
                      <a:pt x="152" y="758"/>
                      <a:pt x="158" y="767"/>
                      <a:pt x="158" y="772"/>
                    </a:cubicBezTo>
                    <a:cubicBezTo>
                      <a:pt x="159" y="770"/>
                      <a:pt x="161" y="767"/>
                      <a:pt x="161" y="765"/>
                    </a:cubicBezTo>
                    <a:lnTo>
                      <a:pt x="161" y="762"/>
                    </a:lnTo>
                    <a:cubicBezTo>
                      <a:pt x="161" y="761"/>
                      <a:pt x="161" y="760"/>
                      <a:pt x="161" y="759"/>
                    </a:cubicBezTo>
                    <a:cubicBezTo>
                      <a:pt x="161" y="757"/>
                      <a:pt x="160" y="755"/>
                      <a:pt x="160" y="753"/>
                    </a:cubicBezTo>
                    <a:cubicBezTo>
                      <a:pt x="161" y="756"/>
                      <a:pt x="162" y="758"/>
                      <a:pt x="163" y="761"/>
                    </a:cubicBezTo>
                    <a:cubicBezTo>
                      <a:pt x="164" y="763"/>
                      <a:pt x="166" y="766"/>
                      <a:pt x="166" y="769"/>
                    </a:cubicBezTo>
                    <a:cubicBezTo>
                      <a:pt x="167" y="764"/>
                      <a:pt x="168" y="759"/>
                      <a:pt x="170" y="755"/>
                    </a:cubicBezTo>
                    <a:cubicBezTo>
                      <a:pt x="170" y="753"/>
                      <a:pt x="171" y="752"/>
                      <a:pt x="171" y="751"/>
                    </a:cubicBezTo>
                    <a:cubicBezTo>
                      <a:pt x="171" y="751"/>
                      <a:pt x="171" y="752"/>
                      <a:pt x="171" y="752"/>
                    </a:cubicBezTo>
                    <a:cubicBezTo>
                      <a:pt x="171" y="752"/>
                      <a:pt x="171" y="751"/>
                      <a:pt x="172" y="751"/>
                    </a:cubicBezTo>
                    <a:cubicBezTo>
                      <a:pt x="172" y="750"/>
                      <a:pt x="175" y="747"/>
                      <a:pt x="176" y="747"/>
                    </a:cubicBezTo>
                    <a:cubicBezTo>
                      <a:pt x="173" y="749"/>
                      <a:pt x="172" y="751"/>
                      <a:pt x="172" y="754"/>
                    </a:cubicBezTo>
                    <a:cubicBezTo>
                      <a:pt x="173" y="756"/>
                      <a:pt x="174" y="757"/>
                      <a:pt x="175" y="758"/>
                    </a:cubicBezTo>
                    <a:cubicBezTo>
                      <a:pt x="175" y="759"/>
                      <a:pt x="177" y="760"/>
                      <a:pt x="179" y="761"/>
                    </a:cubicBezTo>
                    <a:cubicBezTo>
                      <a:pt x="179" y="760"/>
                      <a:pt x="180" y="760"/>
                      <a:pt x="181" y="759"/>
                    </a:cubicBezTo>
                    <a:cubicBezTo>
                      <a:pt x="181" y="760"/>
                      <a:pt x="181" y="761"/>
                      <a:pt x="181" y="763"/>
                    </a:cubicBezTo>
                    <a:cubicBezTo>
                      <a:pt x="184" y="764"/>
                      <a:pt x="187" y="765"/>
                      <a:pt x="190" y="765"/>
                    </a:cubicBezTo>
                    <a:cubicBezTo>
                      <a:pt x="191" y="760"/>
                      <a:pt x="189" y="754"/>
                      <a:pt x="188" y="750"/>
                    </a:cubicBezTo>
                    <a:cubicBezTo>
                      <a:pt x="187" y="747"/>
                      <a:pt x="181" y="745"/>
                      <a:pt x="180" y="742"/>
                    </a:cubicBezTo>
                    <a:cubicBezTo>
                      <a:pt x="184" y="743"/>
                      <a:pt x="187" y="745"/>
                      <a:pt x="190" y="747"/>
                    </a:cubicBezTo>
                    <a:cubicBezTo>
                      <a:pt x="189" y="747"/>
                      <a:pt x="189" y="746"/>
                      <a:pt x="189" y="746"/>
                    </a:cubicBezTo>
                    <a:cubicBezTo>
                      <a:pt x="189" y="744"/>
                      <a:pt x="189" y="745"/>
                      <a:pt x="189" y="741"/>
                    </a:cubicBezTo>
                    <a:cubicBezTo>
                      <a:pt x="189" y="742"/>
                      <a:pt x="191" y="746"/>
                      <a:pt x="192" y="746"/>
                    </a:cubicBezTo>
                    <a:cubicBezTo>
                      <a:pt x="193" y="747"/>
                      <a:pt x="194" y="748"/>
                      <a:pt x="196" y="750"/>
                    </a:cubicBezTo>
                    <a:cubicBezTo>
                      <a:pt x="195" y="746"/>
                      <a:pt x="193" y="744"/>
                      <a:pt x="191" y="739"/>
                    </a:cubicBezTo>
                    <a:cubicBezTo>
                      <a:pt x="188" y="735"/>
                      <a:pt x="188" y="731"/>
                      <a:pt x="188" y="726"/>
                    </a:cubicBezTo>
                    <a:cubicBezTo>
                      <a:pt x="190" y="732"/>
                      <a:pt x="193" y="737"/>
                      <a:pt x="195" y="741"/>
                    </a:cubicBezTo>
                    <a:cubicBezTo>
                      <a:pt x="198" y="746"/>
                      <a:pt x="200" y="751"/>
                      <a:pt x="202" y="756"/>
                    </a:cubicBezTo>
                    <a:cubicBezTo>
                      <a:pt x="203" y="757"/>
                      <a:pt x="204" y="758"/>
                      <a:pt x="205" y="759"/>
                    </a:cubicBezTo>
                    <a:cubicBezTo>
                      <a:pt x="206" y="755"/>
                      <a:pt x="207" y="752"/>
                      <a:pt x="208" y="748"/>
                    </a:cubicBezTo>
                    <a:cubicBezTo>
                      <a:pt x="208" y="748"/>
                      <a:pt x="208" y="747"/>
                      <a:pt x="208" y="747"/>
                    </a:cubicBezTo>
                    <a:cubicBezTo>
                      <a:pt x="209" y="751"/>
                      <a:pt x="209" y="756"/>
                      <a:pt x="211" y="760"/>
                    </a:cubicBezTo>
                    <a:lnTo>
                      <a:pt x="211" y="760"/>
                    </a:lnTo>
                    <a:cubicBezTo>
                      <a:pt x="212" y="757"/>
                      <a:pt x="212" y="754"/>
                      <a:pt x="212" y="751"/>
                    </a:cubicBezTo>
                    <a:cubicBezTo>
                      <a:pt x="214" y="740"/>
                      <a:pt x="206" y="737"/>
                      <a:pt x="199" y="729"/>
                    </a:cubicBezTo>
                    <a:cubicBezTo>
                      <a:pt x="204" y="728"/>
                      <a:pt x="213" y="736"/>
                      <a:pt x="217" y="746"/>
                    </a:cubicBezTo>
                    <a:cubicBezTo>
                      <a:pt x="219" y="749"/>
                      <a:pt x="220" y="753"/>
                      <a:pt x="221" y="757"/>
                    </a:cubicBezTo>
                    <a:cubicBezTo>
                      <a:pt x="222" y="753"/>
                      <a:pt x="222" y="750"/>
                      <a:pt x="222" y="747"/>
                    </a:cubicBezTo>
                    <a:cubicBezTo>
                      <a:pt x="223" y="749"/>
                      <a:pt x="223" y="751"/>
                      <a:pt x="224" y="753"/>
                    </a:cubicBezTo>
                    <a:cubicBezTo>
                      <a:pt x="223" y="748"/>
                      <a:pt x="222" y="742"/>
                      <a:pt x="221" y="735"/>
                    </a:cubicBezTo>
                    <a:cubicBezTo>
                      <a:pt x="219" y="727"/>
                      <a:pt x="220" y="721"/>
                      <a:pt x="223" y="716"/>
                    </a:cubicBezTo>
                    <a:cubicBezTo>
                      <a:pt x="225" y="711"/>
                      <a:pt x="229" y="708"/>
                      <a:pt x="231" y="704"/>
                    </a:cubicBezTo>
                    <a:cubicBezTo>
                      <a:pt x="229" y="711"/>
                      <a:pt x="228" y="715"/>
                      <a:pt x="228" y="720"/>
                    </a:cubicBezTo>
                    <a:cubicBezTo>
                      <a:pt x="227" y="724"/>
                      <a:pt x="228" y="728"/>
                      <a:pt x="229" y="733"/>
                    </a:cubicBezTo>
                    <a:cubicBezTo>
                      <a:pt x="230" y="732"/>
                      <a:pt x="231" y="731"/>
                      <a:pt x="232" y="731"/>
                    </a:cubicBezTo>
                    <a:cubicBezTo>
                      <a:pt x="231" y="733"/>
                      <a:pt x="231" y="734"/>
                      <a:pt x="230" y="736"/>
                    </a:cubicBezTo>
                    <a:cubicBezTo>
                      <a:pt x="231" y="739"/>
                      <a:pt x="232" y="742"/>
                      <a:pt x="233" y="746"/>
                    </a:cubicBezTo>
                    <a:cubicBezTo>
                      <a:pt x="236" y="752"/>
                      <a:pt x="236" y="761"/>
                      <a:pt x="237" y="770"/>
                    </a:cubicBezTo>
                    <a:cubicBezTo>
                      <a:pt x="237" y="763"/>
                      <a:pt x="237" y="755"/>
                      <a:pt x="242" y="749"/>
                    </a:cubicBezTo>
                    <a:cubicBezTo>
                      <a:pt x="242" y="747"/>
                      <a:pt x="242" y="744"/>
                      <a:pt x="241" y="742"/>
                    </a:cubicBezTo>
                    <a:cubicBezTo>
                      <a:pt x="241" y="743"/>
                      <a:pt x="243" y="744"/>
                      <a:pt x="243" y="745"/>
                    </a:cubicBezTo>
                    <a:cubicBezTo>
                      <a:pt x="245" y="747"/>
                      <a:pt x="247" y="752"/>
                      <a:pt x="247" y="754"/>
                    </a:cubicBezTo>
                    <a:cubicBezTo>
                      <a:pt x="248" y="758"/>
                      <a:pt x="250" y="762"/>
                      <a:pt x="251" y="765"/>
                    </a:cubicBezTo>
                    <a:cubicBezTo>
                      <a:pt x="252" y="764"/>
                      <a:pt x="253" y="762"/>
                      <a:pt x="253" y="760"/>
                    </a:cubicBezTo>
                    <a:cubicBezTo>
                      <a:pt x="253" y="763"/>
                      <a:pt x="253" y="766"/>
                      <a:pt x="253" y="769"/>
                    </a:cubicBezTo>
                    <a:lnTo>
                      <a:pt x="253" y="769"/>
                    </a:lnTo>
                    <a:cubicBezTo>
                      <a:pt x="253" y="770"/>
                      <a:pt x="254" y="771"/>
                      <a:pt x="254" y="772"/>
                    </a:cubicBezTo>
                    <a:cubicBezTo>
                      <a:pt x="254" y="772"/>
                      <a:pt x="255" y="772"/>
                      <a:pt x="255" y="771"/>
                    </a:cubicBezTo>
                    <a:cubicBezTo>
                      <a:pt x="256" y="768"/>
                      <a:pt x="256" y="765"/>
                      <a:pt x="256" y="762"/>
                    </a:cubicBezTo>
                    <a:cubicBezTo>
                      <a:pt x="256" y="759"/>
                      <a:pt x="256" y="756"/>
                      <a:pt x="256" y="753"/>
                    </a:cubicBezTo>
                    <a:cubicBezTo>
                      <a:pt x="256" y="751"/>
                      <a:pt x="258" y="747"/>
                      <a:pt x="259" y="744"/>
                    </a:cubicBezTo>
                    <a:cubicBezTo>
                      <a:pt x="258" y="749"/>
                      <a:pt x="259" y="755"/>
                      <a:pt x="261" y="760"/>
                    </a:cubicBezTo>
                    <a:cubicBezTo>
                      <a:pt x="261" y="760"/>
                      <a:pt x="261" y="760"/>
                      <a:pt x="261" y="759"/>
                    </a:cubicBezTo>
                    <a:cubicBezTo>
                      <a:pt x="261" y="758"/>
                      <a:pt x="263" y="754"/>
                      <a:pt x="264" y="753"/>
                    </a:cubicBezTo>
                    <a:cubicBezTo>
                      <a:pt x="264" y="752"/>
                      <a:pt x="266" y="750"/>
                      <a:pt x="266" y="749"/>
                    </a:cubicBezTo>
                    <a:cubicBezTo>
                      <a:pt x="264" y="754"/>
                      <a:pt x="263" y="760"/>
                      <a:pt x="263" y="765"/>
                    </a:cubicBezTo>
                    <a:cubicBezTo>
                      <a:pt x="264" y="768"/>
                      <a:pt x="265" y="770"/>
                      <a:pt x="266" y="772"/>
                    </a:cubicBezTo>
                    <a:cubicBezTo>
                      <a:pt x="267" y="773"/>
                      <a:pt x="267" y="774"/>
                      <a:pt x="267" y="774"/>
                    </a:cubicBezTo>
                    <a:cubicBezTo>
                      <a:pt x="269" y="770"/>
                      <a:pt x="270" y="765"/>
                      <a:pt x="270" y="761"/>
                    </a:cubicBezTo>
                    <a:cubicBezTo>
                      <a:pt x="270" y="762"/>
                      <a:pt x="271" y="763"/>
                      <a:pt x="271" y="764"/>
                    </a:cubicBezTo>
                    <a:cubicBezTo>
                      <a:pt x="271" y="758"/>
                      <a:pt x="270" y="751"/>
                      <a:pt x="269" y="745"/>
                    </a:cubicBezTo>
                    <a:cubicBezTo>
                      <a:pt x="269" y="739"/>
                      <a:pt x="267" y="733"/>
                      <a:pt x="266" y="726"/>
                    </a:cubicBezTo>
                    <a:cubicBezTo>
                      <a:pt x="266" y="728"/>
                      <a:pt x="268" y="731"/>
                      <a:pt x="269" y="731"/>
                    </a:cubicBezTo>
                    <a:cubicBezTo>
                      <a:pt x="270" y="734"/>
                      <a:pt x="272" y="739"/>
                      <a:pt x="273" y="743"/>
                    </a:cubicBezTo>
                    <a:cubicBezTo>
                      <a:pt x="274" y="747"/>
                      <a:pt x="277" y="754"/>
                      <a:pt x="279" y="759"/>
                    </a:cubicBezTo>
                    <a:cubicBezTo>
                      <a:pt x="279" y="760"/>
                      <a:pt x="280" y="760"/>
                      <a:pt x="280" y="761"/>
                    </a:cubicBezTo>
                    <a:cubicBezTo>
                      <a:pt x="281" y="761"/>
                      <a:pt x="281" y="760"/>
                      <a:pt x="281" y="760"/>
                    </a:cubicBezTo>
                    <a:lnTo>
                      <a:pt x="281" y="761"/>
                    </a:lnTo>
                    <a:cubicBezTo>
                      <a:pt x="282" y="762"/>
                      <a:pt x="284" y="763"/>
                      <a:pt x="286" y="763"/>
                    </a:cubicBezTo>
                    <a:cubicBezTo>
                      <a:pt x="286" y="763"/>
                      <a:pt x="286" y="763"/>
                      <a:pt x="286" y="763"/>
                    </a:cubicBezTo>
                    <a:cubicBezTo>
                      <a:pt x="286" y="762"/>
                      <a:pt x="286" y="762"/>
                      <a:pt x="286" y="762"/>
                    </a:cubicBezTo>
                    <a:cubicBezTo>
                      <a:pt x="286" y="760"/>
                      <a:pt x="286" y="758"/>
                      <a:pt x="286" y="758"/>
                    </a:cubicBezTo>
                    <a:cubicBezTo>
                      <a:pt x="286" y="753"/>
                      <a:pt x="285" y="748"/>
                      <a:pt x="285" y="743"/>
                    </a:cubicBezTo>
                    <a:cubicBezTo>
                      <a:pt x="285" y="747"/>
                      <a:pt x="287" y="750"/>
                      <a:pt x="289" y="753"/>
                    </a:cubicBezTo>
                    <a:cubicBezTo>
                      <a:pt x="290" y="748"/>
                      <a:pt x="290" y="744"/>
                      <a:pt x="287" y="736"/>
                    </a:cubicBezTo>
                    <a:cubicBezTo>
                      <a:pt x="290" y="740"/>
                      <a:pt x="297" y="746"/>
                      <a:pt x="294" y="756"/>
                    </a:cubicBezTo>
                    <a:cubicBezTo>
                      <a:pt x="294" y="757"/>
                      <a:pt x="294" y="757"/>
                      <a:pt x="294" y="758"/>
                    </a:cubicBezTo>
                    <a:cubicBezTo>
                      <a:pt x="295" y="759"/>
                      <a:pt x="297" y="760"/>
                      <a:pt x="298" y="760"/>
                    </a:cubicBezTo>
                    <a:cubicBezTo>
                      <a:pt x="299" y="759"/>
                      <a:pt x="300" y="758"/>
                      <a:pt x="300" y="757"/>
                    </a:cubicBezTo>
                    <a:cubicBezTo>
                      <a:pt x="300" y="757"/>
                      <a:pt x="300" y="756"/>
                      <a:pt x="300" y="756"/>
                    </a:cubicBezTo>
                    <a:cubicBezTo>
                      <a:pt x="301" y="754"/>
                      <a:pt x="302" y="750"/>
                      <a:pt x="303" y="748"/>
                    </a:cubicBezTo>
                    <a:cubicBezTo>
                      <a:pt x="303" y="740"/>
                      <a:pt x="304" y="730"/>
                      <a:pt x="299" y="724"/>
                    </a:cubicBezTo>
                    <a:cubicBezTo>
                      <a:pt x="305" y="729"/>
                      <a:pt x="307" y="735"/>
                      <a:pt x="309" y="741"/>
                    </a:cubicBezTo>
                    <a:cubicBezTo>
                      <a:pt x="310" y="748"/>
                      <a:pt x="310" y="754"/>
                      <a:pt x="311" y="761"/>
                    </a:cubicBezTo>
                    <a:cubicBezTo>
                      <a:pt x="311" y="755"/>
                      <a:pt x="312" y="750"/>
                      <a:pt x="313" y="745"/>
                    </a:cubicBezTo>
                    <a:cubicBezTo>
                      <a:pt x="313" y="741"/>
                      <a:pt x="315" y="736"/>
                      <a:pt x="316" y="730"/>
                    </a:cubicBezTo>
                    <a:cubicBezTo>
                      <a:pt x="319" y="724"/>
                      <a:pt x="320" y="718"/>
                      <a:pt x="321" y="713"/>
                    </a:cubicBezTo>
                    <a:cubicBezTo>
                      <a:pt x="322" y="708"/>
                      <a:pt x="321" y="704"/>
                      <a:pt x="318" y="700"/>
                    </a:cubicBezTo>
                    <a:cubicBezTo>
                      <a:pt x="330" y="700"/>
                      <a:pt x="327" y="720"/>
                      <a:pt x="326" y="728"/>
                    </a:cubicBezTo>
                    <a:cubicBezTo>
                      <a:pt x="325" y="735"/>
                      <a:pt x="324" y="741"/>
                      <a:pt x="324" y="745"/>
                    </a:cubicBezTo>
                    <a:cubicBezTo>
                      <a:pt x="324" y="750"/>
                      <a:pt x="325" y="754"/>
                      <a:pt x="330" y="759"/>
                    </a:cubicBezTo>
                    <a:cubicBezTo>
                      <a:pt x="330" y="758"/>
                      <a:pt x="330" y="756"/>
                      <a:pt x="330" y="754"/>
                    </a:cubicBezTo>
                    <a:cubicBezTo>
                      <a:pt x="329" y="749"/>
                      <a:pt x="330" y="744"/>
                      <a:pt x="330" y="740"/>
                    </a:cubicBezTo>
                    <a:cubicBezTo>
                      <a:pt x="331" y="736"/>
                      <a:pt x="333" y="731"/>
                      <a:pt x="334" y="725"/>
                    </a:cubicBezTo>
                    <a:cubicBezTo>
                      <a:pt x="334" y="730"/>
                      <a:pt x="335" y="738"/>
                      <a:pt x="338" y="744"/>
                    </a:cubicBezTo>
                    <a:cubicBezTo>
                      <a:pt x="340" y="750"/>
                      <a:pt x="344" y="755"/>
                      <a:pt x="349" y="7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4" name="Freeform 71">
                <a:extLst>
                  <a:ext uri="{FF2B5EF4-FFF2-40B4-BE49-F238E27FC236}">
                    <a16:creationId xmlns:a16="http://schemas.microsoft.com/office/drawing/2014/main" id="{4AC9149E-97D6-07CE-70D4-EC5FD689F1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9851" y="3743980"/>
                <a:ext cx="1810" cy="1810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1 w 4"/>
                  <a:gd name="T5" fmla="*/ 2 h 2"/>
                  <a:gd name="T6" fmla="*/ 4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cubicBezTo>
                      <a:pt x="3" y="1"/>
                      <a:pt x="2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3" y="1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15" name="Line 72">
              <a:extLst>
                <a:ext uri="{FF2B5EF4-FFF2-40B4-BE49-F238E27FC236}">
                  <a16:creationId xmlns:a16="http://schemas.microsoft.com/office/drawing/2014/main" id="{234250B4-4ECD-3DC7-2DB7-C0ACCE30B05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228600" y="3438118"/>
              <a:ext cx="2880000" cy="0"/>
            </a:xfrm>
            <a:prstGeom prst="line">
              <a:avLst/>
            </a:prstGeom>
            <a:grp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868BD23-9AC6-2EA4-7E80-AE4071CB8F6A}"/>
                </a:ext>
              </a:extLst>
            </p:cNvPr>
            <p:cNvGrpSpPr/>
            <p:nvPr userDrawn="1"/>
          </p:nvGrpSpPr>
          <p:grpSpPr>
            <a:xfrm>
              <a:off x="230912" y="2150376"/>
              <a:ext cx="2904030" cy="1130935"/>
              <a:chOff x="230912" y="1828800"/>
              <a:chExt cx="2904030" cy="1130935"/>
            </a:xfrm>
            <a:grpFill/>
          </p:grpSpPr>
          <p:sp>
            <p:nvSpPr>
              <p:cNvPr id="117" name="Freeform 5">
                <a:extLst>
                  <a:ext uri="{FF2B5EF4-FFF2-40B4-BE49-F238E27FC236}">
                    <a16:creationId xmlns:a16="http://schemas.microsoft.com/office/drawing/2014/main" id="{710D7C26-FC26-F26E-2791-673B32C20D5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62437" y="2629387"/>
                <a:ext cx="333719" cy="330348"/>
              </a:xfrm>
              <a:custGeom>
                <a:avLst/>
                <a:gdLst>
                  <a:gd name="T0" fmla="*/ 864 w 870"/>
                  <a:gd name="T1" fmla="*/ 406 h 856"/>
                  <a:gd name="T2" fmla="*/ 435 w 870"/>
                  <a:gd name="T3" fmla="*/ 0 h 856"/>
                  <a:gd name="T4" fmla="*/ 0 w 870"/>
                  <a:gd name="T5" fmla="*/ 430 h 856"/>
                  <a:gd name="T6" fmla="*/ 432 w 870"/>
                  <a:gd name="T7" fmla="*/ 856 h 856"/>
                  <a:gd name="T8" fmla="*/ 735 w 870"/>
                  <a:gd name="T9" fmla="*/ 744 h 856"/>
                  <a:gd name="T10" fmla="*/ 864 w 870"/>
                  <a:gd name="T11" fmla="*/ 406 h 856"/>
                  <a:gd name="T12" fmla="*/ 665 w 870"/>
                  <a:gd name="T13" fmla="*/ 684 h 856"/>
                  <a:gd name="T14" fmla="*/ 434 w 870"/>
                  <a:gd name="T15" fmla="*/ 808 h 856"/>
                  <a:gd name="T16" fmla="*/ 148 w 870"/>
                  <a:gd name="T17" fmla="*/ 553 h 856"/>
                  <a:gd name="T18" fmla="*/ 136 w 870"/>
                  <a:gd name="T19" fmla="*/ 422 h 856"/>
                  <a:gd name="T20" fmla="*/ 304 w 870"/>
                  <a:gd name="T21" fmla="*/ 77 h 856"/>
                  <a:gd name="T22" fmla="*/ 431 w 870"/>
                  <a:gd name="T23" fmla="*/ 48 h 856"/>
                  <a:gd name="T24" fmla="*/ 655 w 870"/>
                  <a:gd name="T25" fmla="*/ 159 h 856"/>
                  <a:gd name="T26" fmla="*/ 727 w 870"/>
                  <a:gd name="T27" fmla="*/ 412 h 856"/>
                  <a:gd name="T28" fmla="*/ 665 w 870"/>
                  <a:gd name="T29" fmla="*/ 68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0" h="856">
                    <a:moveTo>
                      <a:pt x="864" y="406"/>
                    </a:moveTo>
                    <a:cubicBezTo>
                      <a:pt x="854" y="204"/>
                      <a:pt x="717" y="0"/>
                      <a:pt x="435" y="0"/>
                    </a:cubicBezTo>
                    <a:cubicBezTo>
                      <a:pt x="175" y="0"/>
                      <a:pt x="0" y="173"/>
                      <a:pt x="0" y="430"/>
                    </a:cubicBezTo>
                    <a:cubicBezTo>
                      <a:pt x="0" y="724"/>
                      <a:pt x="217" y="856"/>
                      <a:pt x="432" y="856"/>
                    </a:cubicBezTo>
                    <a:cubicBezTo>
                      <a:pt x="552" y="856"/>
                      <a:pt x="657" y="817"/>
                      <a:pt x="735" y="744"/>
                    </a:cubicBezTo>
                    <a:cubicBezTo>
                      <a:pt x="825" y="661"/>
                      <a:pt x="870" y="541"/>
                      <a:pt x="864" y="406"/>
                    </a:cubicBezTo>
                    <a:close/>
                    <a:moveTo>
                      <a:pt x="665" y="684"/>
                    </a:moveTo>
                    <a:cubicBezTo>
                      <a:pt x="590" y="796"/>
                      <a:pt x="478" y="808"/>
                      <a:pt x="434" y="808"/>
                    </a:cubicBezTo>
                    <a:cubicBezTo>
                      <a:pt x="395" y="808"/>
                      <a:pt x="199" y="796"/>
                      <a:pt x="148" y="553"/>
                    </a:cubicBezTo>
                    <a:cubicBezTo>
                      <a:pt x="140" y="514"/>
                      <a:pt x="136" y="471"/>
                      <a:pt x="136" y="422"/>
                    </a:cubicBezTo>
                    <a:cubicBezTo>
                      <a:pt x="136" y="249"/>
                      <a:pt x="193" y="133"/>
                      <a:pt x="304" y="77"/>
                    </a:cubicBezTo>
                    <a:cubicBezTo>
                      <a:pt x="341" y="58"/>
                      <a:pt x="386" y="48"/>
                      <a:pt x="431" y="48"/>
                    </a:cubicBezTo>
                    <a:cubicBezTo>
                      <a:pt x="546" y="48"/>
                      <a:pt x="617" y="109"/>
                      <a:pt x="655" y="159"/>
                    </a:cubicBezTo>
                    <a:cubicBezTo>
                      <a:pt x="717" y="243"/>
                      <a:pt x="726" y="344"/>
                      <a:pt x="727" y="412"/>
                    </a:cubicBezTo>
                    <a:cubicBezTo>
                      <a:pt x="729" y="526"/>
                      <a:pt x="708" y="617"/>
                      <a:pt x="665" y="6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6">
                <a:extLst>
                  <a:ext uri="{FF2B5EF4-FFF2-40B4-BE49-F238E27FC236}">
                    <a16:creationId xmlns:a16="http://schemas.microsoft.com/office/drawing/2014/main" id="{538F93D2-D74F-0A2D-003A-0A4A737A3E5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97293" y="2632758"/>
                <a:ext cx="237649" cy="321921"/>
              </a:xfrm>
              <a:custGeom>
                <a:avLst/>
                <a:gdLst>
                  <a:gd name="T0" fmla="*/ 0 w 619"/>
                  <a:gd name="T1" fmla="*/ 839 h 839"/>
                  <a:gd name="T2" fmla="*/ 0 w 619"/>
                  <a:gd name="T3" fmla="*/ 0 h 839"/>
                  <a:gd name="T4" fmla="*/ 239 w 619"/>
                  <a:gd name="T5" fmla="*/ 0 h 839"/>
                  <a:gd name="T6" fmla="*/ 619 w 619"/>
                  <a:gd name="T7" fmla="*/ 230 h 839"/>
                  <a:gd name="T8" fmla="*/ 243 w 619"/>
                  <a:gd name="T9" fmla="*/ 461 h 839"/>
                  <a:gd name="T10" fmla="*/ 122 w 619"/>
                  <a:gd name="T11" fmla="*/ 461 h 839"/>
                  <a:gd name="T12" fmla="*/ 122 w 619"/>
                  <a:gd name="T13" fmla="*/ 839 h 839"/>
                  <a:gd name="T14" fmla="*/ 0 w 619"/>
                  <a:gd name="T15" fmla="*/ 839 h 839"/>
                  <a:gd name="T16" fmla="*/ 227 w 619"/>
                  <a:gd name="T17" fmla="*/ 40 h 839"/>
                  <a:gd name="T18" fmla="*/ 122 w 619"/>
                  <a:gd name="T19" fmla="*/ 49 h 839"/>
                  <a:gd name="T20" fmla="*/ 122 w 619"/>
                  <a:gd name="T21" fmla="*/ 412 h 839"/>
                  <a:gd name="T22" fmla="*/ 218 w 619"/>
                  <a:gd name="T23" fmla="*/ 412 h 839"/>
                  <a:gd name="T24" fmla="*/ 487 w 619"/>
                  <a:gd name="T25" fmla="*/ 231 h 839"/>
                  <a:gd name="T26" fmla="*/ 227 w 619"/>
                  <a:gd name="T27" fmla="*/ 4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9" h="839">
                    <a:moveTo>
                      <a:pt x="0" y="839"/>
                    </a:moveTo>
                    <a:lnTo>
                      <a:pt x="0" y="0"/>
                    </a:lnTo>
                    <a:lnTo>
                      <a:pt x="239" y="0"/>
                    </a:lnTo>
                    <a:cubicBezTo>
                      <a:pt x="494" y="0"/>
                      <a:pt x="619" y="76"/>
                      <a:pt x="619" y="230"/>
                    </a:cubicBezTo>
                    <a:cubicBezTo>
                      <a:pt x="619" y="446"/>
                      <a:pt x="356" y="461"/>
                      <a:pt x="243" y="461"/>
                    </a:cubicBezTo>
                    <a:lnTo>
                      <a:pt x="122" y="461"/>
                    </a:lnTo>
                    <a:lnTo>
                      <a:pt x="122" y="839"/>
                    </a:lnTo>
                    <a:lnTo>
                      <a:pt x="0" y="839"/>
                    </a:lnTo>
                    <a:close/>
                    <a:moveTo>
                      <a:pt x="227" y="40"/>
                    </a:moveTo>
                    <a:cubicBezTo>
                      <a:pt x="165" y="40"/>
                      <a:pt x="122" y="49"/>
                      <a:pt x="122" y="49"/>
                    </a:cubicBezTo>
                    <a:lnTo>
                      <a:pt x="122" y="412"/>
                    </a:lnTo>
                    <a:lnTo>
                      <a:pt x="218" y="412"/>
                    </a:lnTo>
                    <a:cubicBezTo>
                      <a:pt x="397" y="412"/>
                      <a:pt x="487" y="368"/>
                      <a:pt x="487" y="231"/>
                    </a:cubicBezTo>
                    <a:cubicBezTo>
                      <a:pt x="487" y="140"/>
                      <a:pt x="442" y="40"/>
                      <a:pt x="227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7">
                <a:extLst>
                  <a:ext uri="{FF2B5EF4-FFF2-40B4-BE49-F238E27FC236}">
                    <a16:creationId xmlns:a16="http://schemas.microsoft.com/office/drawing/2014/main" id="{A01F8BB3-B00E-2B3B-89D7-262C85C8E1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70316" y="2632758"/>
                <a:ext cx="242705" cy="326977"/>
              </a:xfrm>
              <a:custGeom>
                <a:avLst/>
                <a:gdLst>
                  <a:gd name="T0" fmla="*/ 336 w 631"/>
                  <a:gd name="T1" fmla="*/ 848 h 848"/>
                  <a:gd name="T2" fmla="*/ 29 w 631"/>
                  <a:gd name="T3" fmla="*/ 729 h 848"/>
                  <a:gd name="T4" fmla="*/ 0 w 631"/>
                  <a:gd name="T5" fmla="*/ 593 h 848"/>
                  <a:gd name="T6" fmla="*/ 0 w 631"/>
                  <a:gd name="T7" fmla="*/ 0 h 848"/>
                  <a:gd name="T8" fmla="*/ 122 w 631"/>
                  <a:gd name="T9" fmla="*/ 0 h 848"/>
                  <a:gd name="T10" fmla="*/ 122 w 631"/>
                  <a:gd name="T11" fmla="*/ 588 h 848"/>
                  <a:gd name="T12" fmla="*/ 336 w 631"/>
                  <a:gd name="T13" fmla="*/ 800 h 848"/>
                  <a:gd name="T14" fmla="*/ 545 w 631"/>
                  <a:gd name="T15" fmla="*/ 601 h 848"/>
                  <a:gd name="T16" fmla="*/ 545 w 631"/>
                  <a:gd name="T17" fmla="*/ 0 h 848"/>
                  <a:gd name="T18" fmla="*/ 631 w 631"/>
                  <a:gd name="T19" fmla="*/ 0 h 848"/>
                  <a:gd name="T20" fmla="*/ 631 w 631"/>
                  <a:gd name="T21" fmla="*/ 609 h 848"/>
                  <a:gd name="T22" fmla="*/ 604 w 631"/>
                  <a:gd name="T23" fmla="*/ 726 h 848"/>
                  <a:gd name="T24" fmla="*/ 336 w 631"/>
                  <a:gd name="T25" fmla="*/ 848 h 8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1" h="848">
                    <a:moveTo>
                      <a:pt x="336" y="848"/>
                    </a:moveTo>
                    <a:cubicBezTo>
                      <a:pt x="236" y="848"/>
                      <a:pt x="88" y="835"/>
                      <a:pt x="29" y="729"/>
                    </a:cubicBezTo>
                    <a:cubicBezTo>
                      <a:pt x="11" y="697"/>
                      <a:pt x="0" y="651"/>
                      <a:pt x="0" y="593"/>
                    </a:cubicBezTo>
                    <a:lnTo>
                      <a:pt x="0" y="0"/>
                    </a:lnTo>
                    <a:lnTo>
                      <a:pt x="122" y="0"/>
                    </a:lnTo>
                    <a:lnTo>
                      <a:pt x="122" y="588"/>
                    </a:lnTo>
                    <a:cubicBezTo>
                      <a:pt x="123" y="641"/>
                      <a:pt x="128" y="800"/>
                      <a:pt x="336" y="800"/>
                    </a:cubicBezTo>
                    <a:cubicBezTo>
                      <a:pt x="399" y="800"/>
                      <a:pt x="545" y="780"/>
                      <a:pt x="545" y="601"/>
                    </a:cubicBezTo>
                    <a:lnTo>
                      <a:pt x="545" y="0"/>
                    </a:lnTo>
                    <a:lnTo>
                      <a:pt x="631" y="0"/>
                    </a:lnTo>
                    <a:lnTo>
                      <a:pt x="631" y="609"/>
                    </a:lnTo>
                    <a:cubicBezTo>
                      <a:pt x="629" y="645"/>
                      <a:pt x="628" y="686"/>
                      <a:pt x="604" y="726"/>
                    </a:cubicBezTo>
                    <a:cubicBezTo>
                      <a:pt x="579" y="771"/>
                      <a:pt x="529" y="848"/>
                      <a:pt x="336" y="8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8">
                <a:extLst>
                  <a:ext uri="{FF2B5EF4-FFF2-40B4-BE49-F238E27FC236}">
                    <a16:creationId xmlns:a16="http://schemas.microsoft.com/office/drawing/2014/main" id="{5F1544A6-66A1-10BB-0575-4A8183369B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83200" y="2629387"/>
                <a:ext cx="294954" cy="330348"/>
              </a:xfrm>
              <a:custGeom>
                <a:avLst/>
                <a:gdLst>
                  <a:gd name="T0" fmla="*/ 457 w 767"/>
                  <a:gd name="T1" fmla="*/ 856 h 856"/>
                  <a:gd name="T2" fmla="*/ 0 w 767"/>
                  <a:gd name="T3" fmla="*/ 428 h 856"/>
                  <a:gd name="T4" fmla="*/ 443 w 767"/>
                  <a:gd name="T5" fmla="*/ 0 h 856"/>
                  <a:gd name="T6" fmla="*/ 767 w 767"/>
                  <a:gd name="T7" fmla="*/ 156 h 856"/>
                  <a:gd name="T8" fmla="*/ 717 w 767"/>
                  <a:gd name="T9" fmla="*/ 208 h 856"/>
                  <a:gd name="T10" fmla="*/ 651 w 767"/>
                  <a:gd name="T11" fmla="*/ 163 h 856"/>
                  <a:gd name="T12" fmla="*/ 441 w 767"/>
                  <a:gd name="T13" fmla="*/ 48 h 856"/>
                  <a:gd name="T14" fmla="*/ 142 w 767"/>
                  <a:gd name="T15" fmla="*/ 407 h 856"/>
                  <a:gd name="T16" fmla="*/ 471 w 767"/>
                  <a:gd name="T17" fmla="*/ 808 h 856"/>
                  <a:gd name="T18" fmla="*/ 600 w 767"/>
                  <a:gd name="T19" fmla="*/ 779 h 856"/>
                  <a:gd name="T20" fmla="*/ 650 w 767"/>
                  <a:gd name="T21" fmla="*/ 668 h 856"/>
                  <a:gd name="T22" fmla="*/ 650 w 767"/>
                  <a:gd name="T23" fmla="*/ 469 h 856"/>
                  <a:gd name="T24" fmla="*/ 543 w 767"/>
                  <a:gd name="T25" fmla="*/ 469 h 856"/>
                  <a:gd name="T26" fmla="*/ 585 w 767"/>
                  <a:gd name="T27" fmla="*/ 420 h 856"/>
                  <a:gd name="T28" fmla="*/ 766 w 767"/>
                  <a:gd name="T29" fmla="*/ 420 h 856"/>
                  <a:gd name="T30" fmla="*/ 766 w 767"/>
                  <a:gd name="T31" fmla="*/ 746 h 856"/>
                  <a:gd name="T32" fmla="*/ 721 w 767"/>
                  <a:gd name="T33" fmla="*/ 788 h 856"/>
                  <a:gd name="T34" fmla="*/ 457 w 767"/>
                  <a:gd name="T35" fmla="*/ 856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67" h="856">
                    <a:moveTo>
                      <a:pt x="457" y="856"/>
                    </a:moveTo>
                    <a:cubicBezTo>
                      <a:pt x="33" y="856"/>
                      <a:pt x="0" y="529"/>
                      <a:pt x="0" y="428"/>
                    </a:cubicBezTo>
                    <a:cubicBezTo>
                      <a:pt x="0" y="172"/>
                      <a:pt x="178" y="0"/>
                      <a:pt x="443" y="0"/>
                    </a:cubicBezTo>
                    <a:cubicBezTo>
                      <a:pt x="671" y="0"/>
                      <a:pt x="767" y="112"/>
                      <a:pt x="767" y="156"/>
                    </a:cubicBezTo>
                    <a:cubicBezTo>
                      <a:pt x="767" y="182"/>
                      <a:pt x="741" y="208"/>
                      <a:pt x="717" y="208"/>
                    </a:cubicBezTo>
                    <a:cubicBezTo>
                      <a:pt x="686" y="208"/>
                      <a:pt x="673" y="193"/>
                      <a:pt x="651" y="163"/>
                    </a:cubicBezTo>
                    <a:cubicBezTo>
                      <a:pt x="619" y="120"/>
                      <a:pt x="565" y="48"/>
                      <a:pt x="441" y="48"/>
                    </a:cubicBezTo>
                    <a:cubicBezTo>
                      <a:pt x="259" y="48"/>
                      <a:pt x="142" y="182"/>
                      <a:pt x="142" y="407"/>
                    </a:cubicBezTo>
                    <a:cubicBezTo>
                      <a:pt x="142" y="654"/>
                      <a:pt x="268" y="808"/>
                      <a:pt x="471" y="808"/>
                    </a:cubicBezTo>
                    <a:cubicBezTo>
                      <a:pt x="521" y="808"/>
                      <a:pt x="569" y="797"/>
                      <a:pt x="600" y="779"/>
                    </a:cubicBezTo>
                    <a:cubicBezTo>
                      <a:pt x="650" y="748"/>
                      <a:pt x="650" y="706"/>
                      <a:pt x="650" y="668"/>
                    </a:cubicBezTo>
                    <a:lnTo>
                      <a:pt x="650" y="469"/>
                    </a:lnTo>
                    <a:lnTo>
                      <a:pt x="543" y="469"/>
                    </a:lnTo>
                    <a:lnTo>
                      <a:pt x="585" y="420"/>
                    </a:lnTo>
                    <a:lnTo>
                      <a:pt x="766" y="420"/>
                    </a:lnTo>
                    <a:lnTo>
                      <a:pt x="766" y="746"/>
                    </a:lnTo>
                    <a:cubicBezTo>
                      <a:pt x="756" y="759"/>
                      <a:pt x="741" y="773"/>
                      <a:pt x="721" y="788"/>
                    </a:cubicBezTo>
                    <a:cubicBezTo>
                      <a:pt x="682" y="817"/>
                      <a:pt x="613" y="856"/>
                      <a:pt x="457" y="8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9">
                <a:extLst>
                  <a:ext uri="{FF2B5EF4-FFF2-40B4-BE49-F238E27FC236}">
                    <a16:creationId xmlns:a16="http://schemas.microsoft.com/office/drawing/2014/main" id="{535441DB-04F2-E539-E4A6-E441D25468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70854" y="2632758"/>
                <a:ext cx="247762" cy="321921"/>
              </a:xfrm>
              <a:custGeom>
                <a:avLst/>
                <a:gdLst>
                  <a:gd name="T0" fmla="*/ 646 w 646"/>
                  <a:gd name="T1" fmla="*/ 839 h 839"/>
                  <a:gd name="T2" fmla="*/ 358 w 646"/>
                  <a:gd name="T3" fmla="*/ 451 h 839"/>
                  <a:gd name="T4" fmla="*/ 410 w 646"/>
                  <a:gd name="T5" fmla="*/ 440 h 839"/>
                  <a:gd name="T6" fmla="*/ 601 w 646"/>
                  <a:gd name="T7" fmla="*/ 230 h 839"/>
                  <a:gd name="T8" fmla="*/ 514 w 646"/>
                  <a:gd name="T9" fmla="*/ 58 h 839"/>
                  <a:gd name="T10" fmla="*/ 231 w 646"/>
                  <a:gd name="T11" fmla="*/ 0 h 839"/>
                  <a:gd name="T12" fmla="*/ 0 w 646"/>
                  <a:gd name="T13" fmla="*/ 0 h 839"/>
                  <a:gd name="T14" fmla="*/ 0 w 646"/>
                  <a:gd name="T15" fmla="*/ 839 h 839"/>
                  <a:gd name="T16" fmla="*/ 121 w 646"/>
                  <a:gd name="T17" fmla="*/ 839 h 839"/>
                  <a:gd name="T18" fmla="*/ 121 w 646"/>
                  <a:gd name="T19" fmla="*/ 527 h 839"/>
                  <a:gd name="T20" fmla="*/ 196 w 646"/>
                  <a:gd name="T21" fmla="*/ 461 h 839"/>
                  <a:gd name="T22" fmla="*/ 279 w 646"/>
                  <a:gd name="T23" fmla="*/ 508 h 839"/>
                  <a:gd name="T24" fmla="*/ 513 w 646"/>
                  <a:gd name="T25" fmla="*/ 839 h 839"/>
                  <a:gd name="T26" fmla="*/ 646 w 646"/>
                  <a:gd name="T27" fmla="*/ 839 h 839"/>
                  <a:gd name="T28" fmla="*/ 258 w 646"/>
                  <a:gd name="T29" fmla="*/ 410 h 839"/>
                  <a:gd name="T30" fmla="*/ 210 w 646"/>
                  <a:gd name="T31" fmla="*/ 412 h 839"/>
                  <a:gd name="T32" fmla="*/ 121 w 646"/>
                  <a:gd name="T33" fmla="*/ 412 h 839"/>
                  <a:gd name="T34" fmla="*/ 121 w 646"/>
                  <a:gd name="T35" fmla="*/ 49 h 839"/>
                  <a:gd name="T36" fmla="*/ 224 w 646"/>
                  <a:gd name="T37" fmla="*/ 40 h 839"/>
                  <a:gd name="T38" fmla="*/ 469 w 646"/>
                  <a:gd name="T39" fmla="*/ 234 h 839"/>
                  <a:gd name="T40" fmla="*/ 258 w 646"/>
                  <a:gd name="T41" fmla="*/ 41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6" h="839">
                    <a:moveTo>
                      <a:pt x="646" y="839"/>
                    </a:moveTo>
                    <a:lnTo>
                      <a:pt x="358" y="451"/>
                    </a:lnTo>
                    <a:cubicBezTo>
                      <a:pt x="358" y="451"/>
                      <a:pt x="398" y="443"/>
                      <a:pt x="410" y="440"/>
                    </a:cubicBezTo>
                    <a:cubicBezTo>
                      <a:pt x="458" y="427"/>
                      <a:pt x="601" y="390"/>
                      <a:pt x="601" y="230"/>
                    </a:cubicBezTo>
                    <a:cubicBezTo>
                      <a:pt x="601" y="153"/>
                      <a:pt x="566" y="94"/>
                      <a:pt x="514" y="58"/>
                    </a:cubicBezTo>
                    <a:cubicBezTo>
                      <a:pt x="440" y="8"/>
                      <a:pt x="330" y="0"/>
                      <a:pt x="231" y="0"/>
                    </a:cubicBezTo>
                    <a:lnTo>
                      <a:pt x="0" y="0"/>
                    </a:lnTo>
                    <a:lnTo>
                      <a:pt x="0" y="839"/>
                    </a:lnTo>
                    <a:lnTo>
                      <a:pt x="121" y="839"/>
                    </a:lnTo>
                    <a:lnTo>
                      <a:pt x="121" y="527"/>
                    </a:lnTo>
                    <a:cubicBezTo>
                      <a:pt x="121" y="474"/>
                      <a:pt x="153" y="461"/>
                      <a:pt x="196" y="461"/>
                    </a:cubicBezTo>
                    <a:cubicBezTo>
                      <a:pt x="220" y="461"/>
                      <a:pt x="254" y="469"/>
                      <a:pt x="279" y="508"/>
                    </a:cubicBezTo>
                    <a:lnTo>
                      <a:pt x="513" y="839"/>
                    </a:lnTo>
                    <a:lnTo>
                      <a:pt x="646" y="839"/>
                    </a:lnTo>
                    <a:close/>
                    <a:moveTo>
                      <a:pt x="258" y="410"/>
                    </a:moveTo>
                    <a:cubicBezTo>
                      <a:pt x="242" y="412"/>
                      <a:pt x="229" y="412"/>
                      <a:pt x="210" y="412"/>
                    </a:cubicBezTo>
                    <a:lnTo>
                      <a:pt x="121" y="412"/>
                    </a:lnTo>
                    <a:lnTo>
                      <a:pt x="121" y="49"/>
                    </a:lnTo>
                    <a:cubicBezTo>
                      <a:pt x="121" y="49"/>
                      <a:pt x="163" y="40"/>
                      <a:pt x="224" y="40"/>
                    </a:cubicBezTo>
                    <a:cubicBezTo>
                      <a:pt x="387" y="40"/>
                      <a:pt x="469" y="110"/>
                      <a:pt x="469" y="234"/>
                    </a:cubicBezTo>
                    <a:cubicBezTo>
                      <a:pt x="469" y="359"/>
                      <a:pt x="390" y="397"/>
                      <a:pt x="258" y="4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0">
                <a:extLst>
                  <a:ext uri="{FF2B5EF4-FFF2-40B4-BE49-F238E27FC236}">
                    <a16:creationId xmlns:a16="http://schemas.microsoft.com/office/drawing/2014/main" id="{2E365AA1-706B-61C6-8C29-4C980A28A1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8330" y="1828800"/>
                <a:ext cx="1324763" cy="571367"/>
              </a:xfrm>
              <a:custGeom>
                <a:avLst/>
                <a:gdLst>
                  <a:gd name="T0" fmla="*/ 3369 w 3451"/>
                  <a:gd name="T1" fmla="*/ 1140 h 1483"/>
                  <a:gd name="T2" fmla="*/ 3309 w 3451"/>
                  <a:gd name="T3" fmla="*/ 1133 h 1483"/>
                  <a:gd name="T4" fmla="*/ 3226 w 3451"/>
                  <a:gd name="T5" fmla="*/ 1142 h 1483"/>
                  <a:gd name="T6" fmla="*/ 3249 w 3451"/>
                  <a:gd name="T7" fmla="*/ 1310 h 1483"/>
                  <a:gd name="T8" fmla="*/ 2720 w 3451"/>
                  <a:gd name="T9" fmla="*/ 1296 h 1483"/>
                  <a:gd name="T10" fmla="*/ 1915 w 3451"/>
                  <a:gd name="T11" fmla="*/ 339 h 1483"/>
                  <a:gd name="T12" fmla="*/ 920 w 3451"/>
                  <a:gd name="T13" fmla="*/ 132 h 1483"/>
                  <a:gd name="T14" fmla="*/ 629 w 3451"/>
                  <a:gd name="T15" fmla="*/ 1140 h 1483"/>
                  <a:gd name="T16" fmla="*/ 477 w 3451"/>
                  <a:gd name="T17" fmla="*/ 602 h 1483"/>
                  <a:gd name="T18" fmla="*/ 432 w 3451"/>
                  <a:gd name="T19" fmla="*/ 614 h 1483"/>
                  <a:gd name="T20" fmla="*/ 1 w 3451"/>
                  <a:gd name="T21" fmla="*/ 502 h 1483"/>
                  <a:gd name="T22" fmla="*/ 1 w 3451"/>
                  <a:gd name="T23" fmla="*/ 508 h 1483"/>
                  <a:gd name="T24" fmla="*/ 318 w 3451"/>
                  <a:gd name="T25" fmla="*/ 709 h 1483"/>
                  <a:gd name="T26" fmla="*/ 783 w 3451"/>
                  <a:gd name="T27" fmla="*/ 1225 h 1483"/>
                  <a:gd name="T28" fmla="*/ 721 w 3451"/>
                  <a:gd name="T29" fmla="*/ 716 h 1483"/>
                  <a:gd name="T30" fmla="*/ 1302 w 3451"/>
                  <a:gd name="T31" fmla="*/ 155 h 1483"/>
                  <a:gd name="T32" fmla="*/ 2060 w 3451"/>
                  <a:gd name="T33" fmla="*/ 739 h 1483"/>
                  <a:gd name="T34" fmla="*/ 2831 w 3451"/>
                  <a:gd name="T35" fmla="*/ 1417 h 1483"/>
                  <a:gd name="T36" fmla="*/ 3332 w 3451"/>
                  <a:gd name="T37" fmla="*/ 1403 h 1483"/>
                  <a:gd name="T38" fmla="*/ 3369 w 3451"/>
                  <a:gd name="T39" fmla="*/ 1140 h 1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451" h="1483">
                    <a:moveTo>
                      <a:pt x="3369" y="1140"/>
                    </a:moveTo>
                    <a:cubicBezTo>
                      <a:pt x="3355" y="1137"/>
                      <a:pt x="3325" y="1134"/>
                      <a:pt x="3309" y="1133"/>
                    </a:cubicBezTo>
                    <a:cubicBezTo>
                      <a:pt x="3280" y="1132"/>
                      <a:pt x="3252" y="1136"/>
                      <a:pt x="3226" y="1142"/>
                    </a:cubicBezTo>
                    <a:cubicBezTo>
                      <a:pt x="3279" y="1188"/>
                      <a:pt x="3277" y="1256"/>
                      <a:pt x="3249" y="1310"/>
                    </a:cubicBezTo>
                    <a:cubicBezTo>
                      <a:pt x="3166" y="1476"/>
                      <a:pt x="2841" y="1377"/>
                      <a:pt x="2720" y="1296"/>
                    </a:cubicBezTo>
                    <a:cubicBezTo>
                      <a:pt x="2348" y="1048"/>
                      <a:pt x="2126" y="577"/>
                      <a:pt x="1915" y="339"/>
                    </a:cubicBezTo>
                    <a:cubicBezTo>
                      <a:pt x="1619" y="7"/>
                      <a:pt x="1185" y="0"/>
                      <a:pt x="920" y="132"/>
                    </a:cubicBezTo>
                    <a:cubicBezTo>
                      <a:pt x="590" y="296"/>
                      <a:pt x="509" y="754"/>
                      <a:pt x="629" y="1140"/>
                    </a:cubicBezTo>
                    <a:cubicBezTo>
                      <a:pt x="469" y="1092"/>
                      <a:pt x="401" y="783"/>
                      <a:pt x="477" y="602"/>
                    </a:cubicBezTo>
                    <a:cubicBezTo>
                      <a:pt x="463" y="606"/>
                      <a:pt x="448" y="610"/>
                      <a:pt x="432" y="614"/>
                    </a:cubicBezTo>
                    <a:cubicBezTo>
                      <a:pt x="262" y="653"/>
                      <a:pt x="95" y="605"/>
                      <a:pt x="1" y="502"/>
                    </a:cubicBezTo>
                    <a:cubicBezTo>
                      <a:pt x="0" y="504"/>
                      <a:pt x="0" y="506"/>
                      <a:pt x="1" y="508"/>
                    </a:cubicBezTo>
                    <a:cubicBezTo>
                      <a:pt x="54" y="629"/>
                      <a:pt x="163" y="706"/>
                      <a:pt x="318" y="709"/>
                    </a:cubicBezTo>
                    <a:cubicBezTo>
                      <a:pt x="308" y="1119"/>
                      <a:pt x="539" y="1245"/>
                      <a:pt x="783" y="1225"/>
                    </a:cubicBezTo>
                    <a:cubicBezTo>
                      <a:pt x="716" y="1100"/>
                      <a:pt x="698" y="880"/>
                      <a:pt x="721" y="716"/>
                    </a:cubicBezTo>
                    <a:cubicBezTo>
                      <a:pt x="743" y="563"/>
                      <a:pt x="878" y="167"/>
                      <a:pt x="1302" y="155"/>
                    </a:cubicBezTo>
                    <a:cubicBezTo>
                      <a:pt x="1710" y="143"/>
                      <a:pt x="1863" y="492"/>
                      <a:pt x="2060" y="739"/>
                    </a:cubicBezTo>
                    <a:cubicBezTo>
                      <a:pt x="2230" y="952"/>
                      <a:pt x="2501" y="1307"/>
                      <a:pt x="2831" y="1417"/>
                    </a:cubicBezTo>
                    <a:cubicBezTo>
                      <a:pt x="2984" y="1468"/>
                      <a:pt x="3195" y="1483"/>
                      <a:pt x="3332" y="1403"/>
                    </a:cubicBezTo>
                    <a:cubicBezTo>
                      <a:pt x="3417" y="1354"/>
                      <a:pt x="3451" y="1217"/>
                      <a:pt x="3369" y="11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1">
                <a:extLst>
                  <a:ext uri="{FF2B5EF4-FFF2-40B4-BE49-F238E27FC236}">
                    <a16:creationId xmlns:a16="http://schemas.microsoft.com/office/drawing/2014/main" id="{7AF94B6A-CDD1-EC11-3693-357572F6C6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8688" y="2273758"/>
                <a:ext cx="524175" cy="291583"/>
              </a:xfrm>
              <a:custGeom>
                <a:avLst/>
                <a:gdLst>
                  <a:gd name="T0" fmla="*/ 1257 w 1369"/>
                  <a:gd name="T1" fmla="*/ 706 h 756"/>
                  <a:gd name="T2" fmla="*/ 1001 w 1369"/>
                  <a:gd name="T3" fmla="*/ 535 h 756"/>
                  <a:gd name="T4" fmla="*/ 912 w 1369"/>
                  <a:gd name="T5" fmla="*/ 292 h 756"/>
                  <a:gd name="T6" fmla="*/ 915 w 1369"/>
                  <a:gd name="T7" fmla="*/ 255 h 756"/>
                  <a:gd name="T8" fmla="*/ 848 w 1369"/>
                  <a:gd name="T9" fmla="*/ 248 h 756"/>
                  <a:gd name="T10" fmla="*/ 764 w 1369"/>
                  <a:gd name="T11" fmla="*/ 257 h 756"/>
                  <a:gd name="T12" fmla="*/ 420 w 1369"/>
                  <a:gd name="T13" fmla="*/ 354 h 756"/>
                  <a:gd name="T14" fmla="*/ 134 w 1369"/>
                  <a:gd name="T15" fmla="*/ 21 h 756"/>
                  <a:gd name="T16" fmla="*/ 115 w 1369"/>
                  <a:gd name="T17" fmla="*/ 0 h 756"/>
                  <a:gd name="T18" fmla="*/ 0 w 1369"/>
                  <a:gd name="T19" fmla="*/ 38 h 756"/>
                  <a:gd name="T20" fmla="*/ 84 w 1369"/>
                  <a:gd name="T21" fmla="*/ 169 h 756"/>
                  <a:gd name="T22" fmla="*/ 380 w 1369"/>
                  <a:gd name="T23" fmla="*/ 391 h 756"/>
                  <a:gd name="T24" fmla="*/ 768 w 1369"/>
                  <a:gd name="T25" fmla="*/ 359 h 756"/>
                  <a:gd name="T26" fmla="*/ 876 w 1369"/>
                  <a:gd name="T27" fmla="*/ 567 h 756"/>
                  <a:gd name="T28" fmla="*/ 1158 w 1369"/>
                  <a:gd name="T29" fmla="*/ 732 h 756"/>
                  <a:gd name="T30" fmla="*/ 1369 w 1369"/>
                  <a:gd name="T31" fmla="*/ 735 h 756"/>
                  <a:gd name="T32" fmla="*/ 1257 w 1369"/>
                  <a:gd name="T33" fmla="*/ 706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69" h="756">
                    <a:moveTo>
                      <a:pt x="1257" y="706"/>
                    </a:moveTo>
                    <a:cubicBezTo>
                      <a:pt x="1149" y="670"/>
                      <a:pt x="1061" y="610"/>
                      <a:pt x="1001" y="535"/>
                    </a:cubicBezTo>
                    <a:cubicBezTo>
                      <a:pt x="944" y="465"/>
                      <a:pt x="911" y="375"/>
                      <a:pt x="912" y="292"/>
                    </a:cubicBezTo>
                    <a:cubicBezTo>
                      <a:pt x="912" y="279"/>
                      <a:pt x="915" y="255"/>
                      <a:pt x="915" y="255"/>
                    </a:cubicBezTo>
                    <a:cubicBezTo>
                      <a:pt x="915" y="255"/>
                      <a:pt x="883" y="248"/>
                      <a:pt x="848" y="248"/>
                    </a:cubicBezTo>
                    <a:cubicBezTo>
                      <a:pt x="791" y="248"/>
                      <a:pt x="764" y="257"/>
                      <a:pt x="764" y="257"/>
                    </a:cubicBezTo>
                    <a:cubicBezTo>
                      <a:pt x="764" y="257"/>
                      <a:pt x="631" y="406"/>
                      <a:pt x="420" y="354"/>
                    </a:cubicBezTo>
                    <a:cubicBezTo>
                      <a:pt x="219" y="304"/>
                      <a:pt x="225" y="126"/>
                      <a:pt x="134" y="21"/>
                    </a:cubicBezTo>
                    <a:cubicBezTo>
                      <a:pt x="128" y="13"/>
                      <a:pt x="122" y="7"/>
                      <a:pt x="115" y="0"/>
                    </a:cubicBezTo>
                    <a:lnTo>
                      <a:pt x="0" y="38"/>
                    </a:lnTo>
                    <a:cubicBezTo>
                      <a:pt x="28" y="69"/>
                      <a:pt x="57" y="111"/>
                      <a:pt x="84" y="169"/>
                    </a:cubicBezTo>
                    <a:cubicBezTo>
                      <a:pt x="123" y="256"/>
                      <a:pt x="214" y="355"/>
                      <a:pt x="380" y="391"/>
                    </a:cubicBezTo>
                    <a:cubicBezTo>
                      <a:pt x="503" y="418"/>
                      <a:pt x="639" y="411"/>
                      <a:pt x="768" y="359"/>
                    </a:cubicBezTo>
                    <a:cubicBezTo>
                      <a:pt x="782" y="433"/>
                      <a:pt x="820" y="506"/>
                      <a:pt x="876" y="567"/>
                    </a:cubicBezTo>
                    <a:cubicBezTo>
                      <a:pt x="942" y="639"/>
                      <a:pt x="1048" y="699"/>
                      <a:pt x="1158" y="732"/>
                    </a:cubicBezTo>
                    <a:cubicBezTo>
                      <a:pt x="1239" y="756"/>
                      <a:pt x="1330" y="754"/>
                      <a:pt x="1369" y="735"/>
                    </a:cubicBezTo>
                    <a:cubicBezTo>
                      <a:pt x="1331" y="728"/>
                      <a:pt x="1293" y="718"/>
                      <a:pt x="1257" y="7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2">
                <a:extLst>
                  <a:ext uri="{FF2B5EF4-FFF2-40B4-BE49-F238E27FC236}">
                    <a16:creationId xmlns:a16="http://schemas.microsoft.com/office/drawing/2014/main" id="{D1504049-4F71-2FB5-F9A5-E7CB3BB2AF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678" y="2074875"/>
                <a:ext cx="372485" cy="353944"/>
              </a:xfrm>
              <a:custGeom>
                <a:avLst/>
                <a:gdLst>
                  <a:gd name="T0" fmla="*/ 714 w 973"/>
                  <a:gd name="T1" fmla="*/ 43 h 919"/>
                  <a:gd name="T2" fmla="*/ 246 w 973"/>
                  <a:gd name="T3" fmla="*/ 151 h 919"/>
                  <a:gd name="T4" fmla="*/ 208 w 973"/>
                  <a:gd name="T5" fmla="*/ 877 h 919"/>
                  <a:gd name="T6" fmla="*/ 240 w 973"/>
                  <a:gd name="T7" fmla="*/ 912 h 919"/>
                  <a:gd name="T8" fmla="*/ 314 w 973"/>
                  <a:gd name="T9" fmla="*/ 912 h 919"/>
                  <a:gd name="T10" fmla="*/ 396 w 973"/>
                  <a:gd name="T11" fmla="*/ 879 h 919"/>
                  <a:gd name="T12" fmla="*/ 209 w 973"/>
                  <a:gd name="T13" fmla="*/ 575 h 919"/>
                  <a:gd name="T14" fmla="*/ 688 w 973"/>
                  <a:gd name="T15" fmla="*/ 98 h 919"/>
                  <a:gd name="T16" fmla="*/ 772 w 973"/>
                  <a:gd name="T17" fmla="*/ 320 h 919"/>
                  <a:gd name="T18" fmla="*/ 578 w 973"/>
                  <a:gd name="T19" fmla="*/ 371 h 919"/>
                  <a:gd name="T20" fmla="*/ 683 w 973"/>
                  <a:gd name="T21" fmla="*/ 473 h 919"/>
                  <a:gd name="T22" fmla="*/ 898 w 973"/>
                  <a:gd name="T23" fmla="*/ 348 h 919"/>
                  <a:gd name="T24" fmla="*/ 714 w 973"/>
                  <a:gd name="T25" fmla="*/ 43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73" h="919">
                    <a:moveTo>
                      <a:pt x="714" y="43"/>
                    </a:moveTo>
                    <a:cubicBezTo>
                      <a:pt x="514" y="0"/>
                      <a:pt x="346" y="70"/>
                      <a:pt x="246" y="151"/>
                    </a:cubicBezTo>
                    <a:cubicBezTo>
                      <a:pt x="0" y="348"/>
                      <a:pt x="25" y="659"/>
                      <a:pt x="208" y="877"/>
                    </a:cubicBezTo>
                    <a:cubicBezTo>
                      <a:pt x="218" y="889"/>
                      <a:pt x="240" y="912"/>
                      <a:pt x="240" y="912"/>
                    </a:cubicBezTo>
                    <a:cubicBezTo>
                      <a:pt x="240" y="912"/>
                      <a:pt x="266" y="919"/>
                      <a:pt x="314" y="912"/>
                    </a:cubicBezTo>
                    <a:cubicBezTo>
                      <a:pt x="348" y="907"/>
                      <a:pt x="396" y="879"/>
                      <a:pt x="396" y="879"/>
                    </a:cubicBezTo>
                    <a:cubicBezTo>
                      <a:pt x="396" y="879"/>
                      <a:pt x="245" y="761"/>
                      <a:pt x="209" y="575"/>
                    </a:cubicBezTo>
                    <a:cubicBezTo>
                      <a:pt x="145" y="243"/>
                      <a:pt x="437" y="52"/>
                      <a:pt x="688" y="98"/>
                    </a:cubicBezTo>
                    <a:cubicBezTo>
                      <a:pt x="831" y="124"/>
                      <a:pt x="842" y="257"/>
                      <a:pt x="772" y="320"/>
                    </a:cubicBezTo>
                    <a:cubicBezTo>
                      <a:pt x="708" y="377"/>
                      <a:pt x="622" y="376"/>
                      <a:pt x="578" y="371"/>
                    </a:cubicBezTo>
                    <a:cubicBezTo>
                      <a:pt x="616" y="392"/>
                      <a:pt x="653" y="427"/>
                      <a:pt x="683" y="473"/>
                    </a:cubicBezTo>
                    <a:cubicBezTo>
                      <a:pt x="683" y="473"/>
                      <a:pt x="819" y="458"/>
                      <a:pt x="898" y="348"/>
                    </a:cubicBezTo>
                    <a:cubicBezTo>
                      <a:pt x="973" y="245"/>
                      <a:pt x="913" y="86"/>
                      <a:pt x="71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0CAF858-3CA7-9454-1A14-9DC8C3C554F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89912" y="2632758"/>
                <a:ext cx="64047" cy="3219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4">
                <a:extLst>
                  <a:ext uri="{FF2B5EF4-FFF2-40B4-BE49-F238E27FC236}">
                    <a16:creationId xmlns:a16="http://schemas.microsoft.com/office/drawing/2014/main" id="{9633F193-F5B4-706B-C659-386F513E4D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4313" y="2632758"/>
                <a:ext cx="215738" cy="321921"/>
              </a:xfrm>
              <a:custGeom>
                <a:avLst/>
                <a:gdLst>
                  <a:gd name="T0" fmla="*/ 0 w 562"/>
                  <a:gd name="T1" fmla="*/ 839 h 839"/>
                  <a:gd name="T2" fmla="*/ 0 w 562"/>
                  <a:gd name="T3" fmla="*/ 0 h 839"/>
                  <a:gd name="T4" fmla="*/ 164 w 562"/>
                  <a:gd name="T5" fmla="*/ 0 h 839"/>
                  <a:gd name="T6" fmla="*/ 164 w 562"/>
                  <a:gd name="T7" fmla="*/ 756 h 839"/>
                  <a:gd name="T8" fmla="*/ 485 w 562"/>
                  <a:gd name="T9" fmla="*/ 756 h 839"/>
                  <a:gd name="T10" fmla="*/ 562 w 562"/>
                  <a:gd name="T11" fmla="*/ 839 h 839"/>
                  <a:gd name="T12" fmla="*/ 0 w 562"/>
                  <a:gd name="T13" fmla="*/ 839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2" h="839">
                    <a:moveTo>
                      <a:pt x="0" y="839"/>
                    </a:moveTo>
                    <a:lnTo>
                      <a:pt x="0" y="0"/>
                    </a:lnTo>
                    <a:lnTo>
                      <a:pt x="164" y="0"/>
                    </a:lnTo>
                    <a:lnTo>
                      <a:pt x="164" y="756"/>
                    </a:lnTo>
                    <a:lnTo>
                      <a:pt x="485" y="756"/>
                    </a:lnTo>
                    <a:lnTo>
                      <a:pt x="562" y="839"/>
                    </a:lnTo>
                    <a:lnTo>
                      <a:pt x="0" y="8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5">
                <a:extLst>
                  <a:ext uri="{FF2B5EF4-FFF2-40B4-BE49-F238E27FC236}">
                    <a16:creationId xmlns:a16="http://schemas.microsoft.com/office/drawing/2014/main" id="{FE808231-49D5-D802-D675-C6746713E4F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30912" y="2629387"/>
                <a:ext cx="267987" cy="330348"/>
              </a:xfrm>
              <a:custGeom>
                <a:avLst/>
                <a:gdLst>
                  <a:gd name="T0" fmla="*/ 0 w 698"/>
                  <a:gd name="T1" fmla="*/ 856 h 856"/>
                  <a:gd name="T2" fmla="*/ 0 w 698"/>
                  <a:gd name="T3" fmla="*/ 0 h 856"/>
                  <a:gd name="T4" fmla="*/ 250 w 698"/>
                  <a:gd name="T5" fmla="*/ 0 h 856"/>
                  <a:gd name="T6" fmla="*/ 537 w 698"/>
                  <a:gd name="T7" fmla="*/ 45 h 856"/>
                  <a:gd name="T8" fmla="*/ 641 w 698"/>
                  <a:gd name="T9" fmla="*/ 197 h 856"/>
                  <a:gd name="T10" fmla="*/ 488 w 698"/>
                  <a:gd name="T11" fmla="*/ 379 h 856"/>
                  <a:gd name="T12" fmla="*/ 443 w 698"/>
                  <a:gd name="T13" fmla="*/ 394 h 856"/>
                  <a:gd name="T14" fmla="*/ 501 w 698"/>
                  <a:gd name="T15" fmla="*/ 414 h 856"/>
                  <a:gd name="T16" fmla="*/ 698 w 698"/>
                  <a:gd name="T17" fmla="*/ 630 h 856"/>
                  <a:gd name="T18" fmla="*/ 541 w 698"/>
                  <a:gd name="T19" fmla="*/ 822 h 856"/>
                  <a:gd name="T20" fmla="*/ 250 w 698"/>
                  <a:gd name="T21" fmla="*/ 856 h 856"/>
                  <a:gd name="T22" fmla="*/ 0 w 698"/>
                  <a:gd name="T23" fmla="*/ 856 h 856"/>
                  <a:gd name="T24" fmla="*/ 161 w 698"/>
                  <a:gd name="T25" fmla="*/ 712 h 856"/>
                  <a:gd name="T26" fmla="*/ 177 w 698"/>
                  <a:gd name="T27" fmla="*/ 763 h 856"/>
                  <a:gd name="T28" fmla="*/ 277 w 698"/>
                  <a:gd name="T29" fmla="*/ 785 h 856"/>
                  <a:gd name="T30" fmla="*/ 528 w 698"/>
                  <a:gd name="T31" fmla="*/ 619 h 856"/>
                  <a:gd name="T32" fmla="*/ 267 w 698"/>
                  <a:gd name="T33" fmla="*/ 435 h 856"/>
                  <a:gd name="T34" fmla="*/ 251 w 698"/>
                  <a:gd name="T35" fmla="*/ 435 h 856"/>
                  <a:gd name="T36" fmla="*/ 161 w 698"/>
                  <a:gd name="T37" fmla="*/ 435 h 856"/>
                  <a:gd name="T38" fmla="*/ 161 w 698"/>
                  <a:gd name="T39" fmla="*/ 712 h 856"/>
                  <a:gd name="T40" fmla="*/ 296 w 698"/>
                  <a:gd name="T41" fmla="*/ 374 h 856"/>
                  <a:gd name="T42" fmla="*/ 479 w 698"/>
                  <a:gd name="T43" fmla="*/ 222 h 856"/>
                  <a:gd name="T44" fmla="*/ 260 w 698"/>
                  <a:gd name="T45" fmla="*/ 65 h 856"/>
                  <a:gd name="T46" fmla="*/ 177 w 698"/>
                  <a:gd name="T47" fmla="*/ 70 h 856"/>
                  <a:gd name="T48" fmla="*/ 161 w 698"/>
                  <a:gd name="T49" fmla="*/ 72 h 856"/>
                  <a:gd name="T50" fmla="*/ 161 w 698"/>
                  <a:gd name="T51" fmla="*/ 374 h 856"/>
                  <a:gd name="T52" fmla="*/ 296 w 698"/>
                  <a:gd name="T53" fmla="*/ 37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8" h="856">
                    <a:moveTo>
                      <a:pt x="0" y="856"/>
                    </a:moveTo>
                    <a:lnTo>
                      <a:pt x="0" y="0"/>
                    </a:lnTo>
                    <a:lnTo>
                      <a:pt x="250" y="0"/>
                    </a:lnTo>
                    <a:cubicBezTo>
                      <a:pt x="342" y="0"/>
                      <a:pt x="457" y="5"/>
                      <a:pt x="537" y="45"/>
                    </a:cubicBezTo>
                    <a:cubicBezTo>
                      <a:pt x="605" y="80"/>
                      <a:pt x="641" y="132"/>
                      <a:pt x="641" y="197"/>
                    </a:cubicBezTo>
                    <a:cubicBezTo>
                      <a:pt x="641" y="289"/>
                      <a:pt x="562" y="352"/>
                      <a:pt x="488" y="379"/>
                    </a:cubicBezTo>
                    <a:cubicBezTo>
                      <a:pt x="468" y="386"/>
                      <a:pt x="454" y="391"/>
                      <a:pt x="443" y="394"/>
                    </a:cubicBezTo>
                    <a:cubicBezTo>
                      <a:pt x="459" y="399"/>
                      <a:pt x="481" y="406"/>
                      <a:pt x="501" y="414"/>
                    </a:cubicBezTo>
                    <a:cubicBezTo>
                      <a:pt x="673" y="480"/>
                      <a:pt x="698" y="578"/>
                      <a:pt x="698" y="630"/>
                    </a:cubicBezTo>
                    <a:cubicBezTo>
                      <a:pt x="698" y="740"/>
                      <a:pt x="612" y="795"/>
                      <a:pt x="541" y="822"/>
                    </a:cubicBezTo>
                    <a:cubicBezTo>
                      <a:pt x="471" y="845"/>
                      <a:pt x="381" y="856"/>
                      <a:pt x="250" y="856"/>
                    </a:cubicBezTo>
                    <a:lnTo>
                      <a:pt x="0" y="856"/>
                    </a:lnTo>
                    <a:close/>
                    <a:moveTo>
                      <a:pt x="161" y="712"/>
                    </a:moveTo>
                    <a:cubicBezTo>
                      <a:pt x="161" y="728"/>
                      <a:pt x="160" y="748"/>
                      <a:pt x="177" y="763"/>
                    </a:cubicBezTo>
                    <a:cubicBezTo>
                      <a:pt x="194" y="779"/>
                      <a:pt x="225" y="785"/>
                      <a:pt x="277" y="785"/>
                    </a:cubicBezTo>
                    <a:cubicBezTo>
                      <a:pt x="439" y="785"/>
                      <a:pt x="528" y="726"/>
                      <a:pt x="528" y="619"/>
                    </a:cubicBezTo>
                    <a:cubicBezTo>
                      <a:pt x="528" y="505"/>
                      <a:pt x="440" y="443"/>
                      <a:pt x="267" y="435"/>
                    </a:cubicBezTo>
                    <a:cubicBezTo>
                      <a:pt x="266" y="435"/>
                      <a:pt x="252" y="435"/>
                      <a:pt x="251" y="435"/>
                    </a:cubicBezTo>
                    <a:lnTo>
                      <a:pt x="161" y="435"/>
                    </a:lnTo>
                    <a:lnTo>
                      <a:pt x="161" y="712"/>
                    </a:lnTo>
                    <a:close/>
                    <a:moveTo>
                      <a:pt x="296" y="374"/>
                    </a:moveTo>
                    <a:cubicBezTo>
                      <a:pt x="425" y="374"/>
                      <a:pt x="479" y="265"/>
                      <a:pt x="479" y="222"/>
                    </a:cubicBezTo>
                    <a:cubicBezTo>
                      <a:pt x="479" y="122"/>
                      <a:pt x="399" y="65"/>
                      <a:pt x="260" y="65"/>
                    </a:cubicBezTo>
                    <a:cubicBezTo>
                      <a:pt x="228" y="65"/>
                      <a:pt x="209" y="67"/>
                      <a:pt x="177" y="70"/>
                    </a:cubicBezTo>
                    <a:lnTo>
                      <a:pt x="161" y="72"/>
                    </a:lnTo>
                    <a:lnTo>
                      <a:pt x="161" y="374"/>
                    </a:lnTo>
                    <a:lnTo>
                      <a:pt x="296" y="3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6">
                <a:extLst>
                  <a:ext uri="{FF2B5EF4-FFF2-40B4-BE49-F238E27FC236}">
                    <a16:creationId xmlns:a16="http://schemas.microsoft.com/office/drawing/2014/main" id="{122A07AC-2CFD-E538-2F27-207CBAAC35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5086" y="2632758"/>
                <a:ext cx="276414" cy="321921"/>
              </a:xfrm>
              <a:custGeom>
                <a:avLst/>
                <a:gdLst>
                  <a:gd name="T0" fmla="*/ 558 w 723"/>
                  <a:gd name="T1" fmla="*/ 0 h 839"/>
                  <a:gd name="T2" fmla="*/ 558 w 723"/>
                  <a:gd name="T3" fmla="*/ 364 h 839"/>
                  <a:gd name="T4" fmla="*/ 165 w 723"/>
                  <a:gd name="T5" fmla="*/ 364 h 839"/>
                  <a:gd name="T6" fmla="*/ 165 w 723"/>
                  <a:gd name="T7" fmla="*/ 0 h 839"/>
                  <a:gd name="T8" fmla="*/ 0 w 723"/>
                  <a:gd name="T9" fmla="*/ 0 h 839"/>
                  <a:gd name="T10" fmla="*/ 0 w 723"/>
                  <a:gd name="T11" fmla="*/ 839 h 839"/>
                  <a:gd name="T12" fmla="*/ 165 w 723"/>
                  <a:gd name="T13" fmla="*/ 839 h 839"/>
                  <a:gd name="T14" fmla="*/ 165 w 723"/>
                  <a:gd name="T15" fmla="*/ 480 h 839"/>
                  <a:gd name="T16" fmla="*/ 212 w 723"/>
                  <a:gd name="T17" fmla="*/ 442 h 839"/>
                  <a:gd name="T18" fmla="*/ 512 w 723"/>
                  <a:gd name="T19" fmla="*/ 442 h 839"/>
                  <a:gd name="T20" fmla="*/ 558 w 723"/>
                  <a:gd name="T21" fmla="*/ 480 h 839"/>
                  <a:gd name="T22" fmla="*/ 558 w 723"/>
                  <a:gd name="T23" fmla="*/ 839 h 839"/>
                  <a:gd name="T24" fmla="*/ 723 w 723"/>
                  <a:gd name="T25" fmla="*/ 839 h 839"/>
                  <a:gd name="T26" fmla="*/ 723 w 723"/>
                  <a:gd name="T27" fmla="*/ 0 h 839"/>
                  <a:gd name="T28" fmla="*/ 558 w 723"/>
                  <a:gd name="T29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23" h="839">
                    <a:moveTo>
                      <a:pt x="558" y="0"/>
                    </a:moveTo>
                    <a:lnTo>
                      <a:pt x="558" y="364"/>
                    </a:lnTo>
                    <a:lnTo>
                      <a:pt x="165" y="364"/>
                    </a:lnTo>
                    <a:lnTo>
                      <a:pt x="165" y="0"/>
                    </a:lnTo>
                    <a:lnTo>
                      <a:pt x="0" y="0"/>
                    </a:lnTo>
                    <a:lnTo>
                      <a:pt x="0" y="839"/>
                    </a:lnTo>
                    <a:lnTo>
                      <a:pt x="165" y="839"/>
                    </a:lnTo>
                    <a:lnTo>
                      <a:pt x="165" y="480"/>
                    </a:lnTo>
                    <a:cubicBezTo>
                      <a:pt x="165" y="454"/>
                      <a:pt x="189" y="442"/>
                      <a:pt x="212" y="442"/>
                    </a:cubicBezTo>
                    <a:lnTo>
                      <a:pt x="512" y="442"/>
                    </a:lnTo>
                    <a:cubicBezTo>
                      <a:pt x="535" y="442"/>
                      <a:pt x="558" y="454"/>
                      <a:pt x="558" y="480"/>
                    </a:cubicBezTo>
                    <a:lnTo>
                      <a:pt x="558" y="839"/>
                    </a:lnTo>
                    <a:lnTo>
                      <a:pt x="723" y="839"/>
                    </a:lnTo>
                    <a:lnTo>
                      <a:pt x="723" y="0"/>
                    </a:lnTo>
                    <a:lnTo>
                      <a:pt x="55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DAFA1828-B7E3-CB9F-D8ED-EFEB5C6F68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6743" y="0"/>
            <a:ext cx="5443979" cy="1371600"/>
          </a:xfrm>
        </p:spPr>
        <p:txBody>
          <a:bodyPr vert="horz" lIns="0" tIns="0" anchor="b"/>
          <a:lstStyle>
            <a:lvl1pPr algn="l">
              <a:defRPr sz="54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D2032BF-A047-5E61-4F79-E8B522F0B0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5901" y="1676400"/>
            <a:ext cx="6410733" cy="46482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BBAD8C9-DFD0-1E34-92EB-F02B296545D7}"/>
              </a:ext>
            </a:extLst>
          </p:cNvPr>
          <p:cNvGrpSpPr/>
          <p:nvPr userDrawn="1"/>
        </p:nvGrpSpPr>
        <p:grpSpPr>
          <a:xfrm>
            <a:off x="7584141" y="0"/>
            <a:ext cx="4608607" cy="6848888"/>
            <a:chOff x="7584141" y="0"/>
            <a:chExt cx="4608607" cy="6848888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1C5719C6-C44D-4EBB-A372-2782FFCEE7A3}"/>
                </a:ext>
              </a:extLst>
            </p:cNvPr>
            <p:cNvSpPr/>
            <p:nvPr userDrawn="1"/>
          </p:nvSpPr>
          <p:spPr>
            <a:xfrm>
              <a:off x="9654853" y="2584007"/>
              <a:ext cx="2537895" cy="4264881"/>
            </a:xfrm>
            <a:custGeom>
              <a:avLst/>
              <a:gdLst>
                <a:gd name="connsiteX0" fmla="*/ 1385455 w 2476185"/>
                <a:gd name="connsiteY0" fmla="*/ 0 h 4161179"/>
                <a:gd name="connsiteX1" fmla="*/ 2476185 w 2476185"/>
                <a:gd name="connsiteY1" fmla="*/ 595841 h 4161179"/>
                <a:gd name="connsiteX2" fmla="*/ 2476185 w 2476185"/>
                <a:gd name="connsiteY2" fmla="*/ 1444835 h 4161179"/>
                <a:gd name="connsiteX3" fmla="*/ 1924321 w 2476185"/>
                <a:gd name="connsiteY3" fmla="*/ 1992573 h 4161179"/>
                <a:gd name="connsiteX4" fmla="*/ 2419629 w 2476185"/>
                <a:gd name="connsiteY4" fmla="*/ 2337016 h 4161179"/>
                <a:gd name="connsiteX5" fmla="*/ 2476185 w 2476185"/>
                <a:gd name="connsiteY5" fmla="*/ 2400568 h 4161179"/>
                <a:gd name="connsiteX6" fmla="*/ 2476185 w 2476185"/>
                <a:gd name="connsiteY6" fmla="*/ 4156841 h 4161179"/>
                <a:gd name="connsiteX7" fmla="*/ 2471905 w 2476185"/>
                <a:gd name="connsiteY7" fmla="*/ 4161179 h 4161179"/>
                <a:gd name="connsiteX8" fmla="*/ 187586 w 2476185"/>
                <a:gd name="connsiteY8" fmla="*/ 4161179 h 4161179"/>
                <a:gd name="connsiteX9" fmla="*/ 129842 w 2476185"/>
                <a:gd name="connsiteY9" fmla="*/ 4087145 h 4161179"/>
                <a:gd name="connsiteX10" fmla="*/ 0 w 2476185"/>
                <a:gd name="connsiteY10" fmla="*/ 3709171 h 4161179"/>
                <a:gd name="connsiteX11" fmla="*/ 344959 w 2476185"/>
                <a:gd name="connsiteY11" fmla="*/ 3339447 h 4161179"/>
                <a:gd name="connsiteX12" fmla="*/ 683243 w 2476185"/>
                <a:gd name="connsiteY12" fmla="*/ 3577503 h 4161179"/>
                <a:gd name="connsiteX13" fmla="*/ 1385455 w 2476185"/>
                <a:gd name="connsiteY13" fmla="*/ 4110143 h 4161179"/>
                <a:gd name="connsiteX14" fmla="*/ 2018465 w 2476185"/>
                <a:gd name="connsiteY14" fmla="*/ 3427226 h 4161179"/>
                <a:gd name="connsiteX15" fmla="*/ 1015556 w 2476185"/>
                <a:gd name="connsiteY15" fmla="*/ 2431115 h 4161179"/>
                <a:gd name="connsiteX16" fmla="*/ 814974 w 2476185"/>
                <a:gd name="connsiteY16" fmla="*/ 2242918 h 4161179"/>
                <a:gd name="connsiteX17" fmla="*/ 996586 w 2476185"/>
                <a:gd name="connsiteY17" fmla="*/ 2048752 h 4161179"/>
                <a:gd name="connsiteX18" fmla="*/ 1805237 w 2476185"/>
                <a:gd name="connsiteY18" fmla="*/ 1209238 h 4161179"/>
                <a:gd name="connsiteX19" fmla="*/ 1216137 w 2476185"/>
                <a:gd name="connsiteY19" fmla="*/ 607779 h 4161179"/>
                <a:gd name="connsiteX20" fmla="*/ 589100 w 2476185"/>
                <a:gd name="connsiteY20" fmla="*/ 1077570 h 4161179"/>
                <a:gd name="connsiteX21" fmla="*/ 338636 w 2476185"/>
                <a:gd name="connsiteY21" fmla="*/ 1321945 h 4161179"/>
                <a:gd name="connsiteX22" fmla="*/ 119085 w 2476185"/>
                <a:gd name="connsiteY22" fmla="*/ 1046321 h 4161179"/>
                <a:gd name="connsiteX23" fmla="*/ 1385455 w 2476185"/>
                <a:gd name="connsiteY23" fmla="*/ 0 h 416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76185" h="4161179">
                  <a:moveTo>
                    <a:pt x="1385455" y="0"/>
                  </a:moveTo>
                  <a:cubicBezTo>
                    <a:pt x="1911324" y="0"/>
                    <a:pt x="2305111" y="237704"/>
                    <a:pt x="2476185" y="595841"/>
                  </a:cubicBezTo>
                  <a:lnTo>
                    <a:pt x="2476185" y="1444835"/>
                  </a:lnTo>
                  <a:cubicBezTo>
                    <a:pt x="2333213" y="1742229"/>
                    <a:pt x="2063078" y="1907253"/>
                    <a:pt x="1924321" y="1992573"/>
                  </a:cubicBezTo>
                  <a:cubicBezTo>
                    <a:pt x="2043406" y="2048752"/>
                    <a:pt x="2225370" y="2136530"/>
                    <a:pt x="2419629" y="2337016"/>
                  </a:cubicBezTo>
                  <a:cubicBezTo>
                    <a:pt x="2439300" y="2358083"/>
                    <a:pt x="2458270" y="2379150"/>
                    <a:pt x="2476185" y="2400568"/>
                  </a:cubicBezTo>
                  <a:lnTo>
                    <a:pt x="2476185" y="4156841"/>
                  </a:lnTo>
                  <a:lnTo>
                    <a:pt x="2471905" y="4161179"/>
                  </a:lnTo>
                  <a:lnTo>
                    <a:pt x="187586" y="4161179"/>
                  </a:lnTo>
                  <a:lnTo>
                    <a:pt x="129842" y="4087145"/>
                  </a:lnTo>
                  <a:cubicBezTo>
                    <a:pt x="45315" y="3964079"/>
                    <a:pt x="0" y="3833114"/>
                    <a:pt x="0" y="3709171"/>
                  </a:cubicBezTo>
                  <a:cubicBezTo>
                    <a:pt x="0" y="3489724"/>
                    <a:pt x="169318" y="3339447"/>
                    <a:pt x="344959" y="3339447"/>
                  </a:cubicBezTo>
                  <a:cubicBezTo>
                    <a:pt x="539218" y="3339447"/>
                    <a:pt x="626687" y="3477435"/>
                    <a:pt x="683243" y="3577503"/>
                  </a:cubicBezTo>
                  <a:cubicBezTo>
                    <a:pt x="833592" y="3828198"/>
                    <a:pt x="990263" y="4110143"/>
                    <a:pt x="1385455" y="4110143"/>
                  </a:cubicBezTo>
                  <a:cubicBezTo>
                    <a:pt x="1780296" y="4110143"/>
                    <a:pt x="2018465" y="3796949"/>
                    <a:pt x="2018465" y="3427226"/>
                  </a:cubicBezTo>
                  <a:cubicBezTo>
                    <a:pt x="2018465" y="2888266"/>
                    <a:pt x="1592009" y="2600001"/>
                    <a:pt x="1015556" y="2431115"/>
                  </a:cubicBezTo>
                  <a:cubicBezTo>
                    <a:pt x="915089" y="2399515"/>
                    <a:pt x="814974" y="2368265"/>
                    <a:pt x="814974" y="2242918"/>
                  </a:cubicBezTo>
                  <a:cubicBezTo>
                    <a:pt x="814974" y="2130210"/>
                    <a:pt x="902794" y="2092641"/>
                    <a:pt x="996586" y="2048752"/>
                  </a:cubicBezTo>
                  <a:cubicBezTo>
                    <a:pt x="1335222" y="1911115"/>
                    <a:pt x="1805237" y="1722918"/>
                    <a:pt x="1805237" y="1209238"/>
                  </a:cubicBezTo>
                  <a:cubicBezTo>
                    <a:pt x="1805237" y="889724"/>
                    <a:pt x="1586037" y="607779"/>
                    <a:pt x="1216137" y="607779"/>
                  </a:cubicBezTo>
                  <a:cubicBezTo>
                    <a:pt x="821297" y="607779"/>
                    <a:pt x="683243" y="883404"/>
                    <a:pt x="589100" y="1077570"/>
                  </a:cubicBezTo>
                  <a:cubicBezTo>
                    <a:pt x="526571" y="1209238"/>
                    <a:pt x="476338" y="1321945"/>
                    <a:pt x="338636" y="1321945"/>
                  </a:cubicBezTo>
                  <a:cubicBezTo>
                    <a:pt x="231846" y="1321945"/>
                    <a:pt x="119085" y="1234167"/>
                    <a:pt x="119085" y="1046321"/>
                  </a:cubicBezTo>
                  <a:cubicBezTo>
                    <a:pt x="119085" y="632708"/>
                    <a:pt x="520248" y="0"/>
                    <a:pt x="138545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ABD8BF5-111B-8301-C6AE-77158104D17B}"/>
                </a:ext>
              </a:extLst>
            </p:cNvPr>
            <p:cNvSpPr/>
            <p:nvPr userDrawn="1"/>
          </p:nvSpPr>
          <p:spPr>
            <a:xfrm>
              <a:off x="7584141" y="0"/>
              <a:ext cx="2808370" cy="4011902"/>
            </a:xfrm>
            <a:custGeom>
              <a:avLst/>
              <a:gdLst>
                <a:gd name="connsiteX0" fmla="*/ 296230 w 2808370"/>
                <a:gd name="connsiteY0" fmla="*/ 0 h 4011902"/>
                <a:gd name="connsiteX1" fmla="*/ 2625421 w 2808370"/>
                <a:gd name="connsiteY1" fmla="*/ 0 h 4011902"/>
                <a:gd name="connsiteX2" fmla="*/ 2640373 w 2808370"/>
                <a:gd name="connsiteY2" fmla="*/ 24068 h 4011902"/>
                <a:gd name="connsiteX3" fmla="*/ 2769835 w 2808370"/>
                <a:gd name="connsiteY3" fmla="*/ 563988 h 4011902"/>
                <a:gd name="connsiteX4" fmla="*/ 2159398 w 2808370"/>
                <a:gd name="connsiteY4" fmla="*/ 1906162 h 4011902"/>
                <a:gd name="connsiteX5" fmla="*/ 1079699 w 2808370"/>
                <a:gd name="connsiteY5" fmla="*/ 3273526 h 4011902"/>
                <a:gd name="connsiteX6" fmla="*/ 2660353 w 2808370"/>
                <a:gd name="connsiteY6" fmla="*/ 3273526 h 4011902"/>
                <a:gd name="connsiteX7" fmla="*/ 2808370 w 2808370"/>
                <a:gd name="connsiteY7" fmla="*/ 3408463 h 4011902"/>
                <a:gd name="connsiteX8" fmla="*/ 2808370 w 2808370"/>
                <a:gd name="connsiteY8" fmla="*/ 3870848 h 4011902"/>
                <a:gd name="connsiteX9" fmla="*/ 2679800 w 2808370"/>
                <a:gd name="connsiteY9" fmla="*/ 4011902 h 4011902"/>
                <a:gd name="connsiteX10" fmla="*/ 192675 w 2808370"/>
                <a:gd name="connsiteY10" fmla="*/ 4011902 h 4011902"/>
                <a:gd name="connsiteX11" fmla="*/ 0 w 2808370"/>
                <a:gd name="connsiteY11" fmla="*/ 3864371 h 4011902"/>
                <a:gd name="connsiteX12" fmla="*/ 90036 w 2808370"/>
                <a:gd name="connsiteY12" fmla="*/ 3671861 h 4011902"/>
                <a:gd name="connsiteX13" fmla="*/ 1432996 w 2808370"/>
                <a:gd name="connsiteY13" fmla="*/ 1906162 h 4011902"/>
                <a:gd name="connsiteX14" fmla="*/ 1966363 w 2808370"/>
                <a:gd name="connsiteY14" fmla="*/ 775928 h 4011902"/>
                <a:gd name="connsiteX15" fmla="*/ 1310908 w 2808370"/>
                <a:gd name="connsiteY15" fmla="*/ 50506 h 4011902"/>
                <a:gd name="connsiteX16" fmla="*/ 616920 w 2808370"/>
                <a:gd name="connsiteY16" fmla="*/ 660423 h 4011902"/>
                <a:gd name="connsiteX17" fmla="*/ 353658 w 2808370"/>
                <a:gd name="connsiteY17" fmla="*/ 962321 h 4011902"/>
                <a:gd name="connsiteX18" fmla="*/ 109123 w 2808370"/>
                <a:gd name="connsiteY18" fmla="*/ 640991 h 4011902"/>
                <a:gd name="connsiteX19" fmla="*/ 251791 w 2808370"/>
                <a:gd name="connsiteY19" fmla="*/ 77313 h 4011902"/>
                <a:gd name="connsiteX20" fmla="*/ 296230 w 2808370"/>
                <a:gd name="connsiteY20" fmla="*/ 0 h 4011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808370" h="4011902">
                  <a:moveTo>
                    <a:pt x="296230" y="0"/>
                  </a:moveTo>
                  <a:lnTo>
                    <a:pt x="2625421" y="0"/>
                  </a:lnTo>
                  <a:lnTo>
                    <a:pt x="2640373" y="24068"/>
                  </a:lnTo>
                  <a:cubicBezTo>
                    <a:pt x="2725679" y="190259"/>
                    <a:pt x="2769835" y="375582"/>
                    <a:pt x="2769835" y="563988"/>
                  </a:cubicBezTo>
                  <a:cubicBezTo>
                    <a:pt x="2769835" y="1103376"/>
                    <a:pt x="2429143" y="1552807"/>
                    <a:pt x="2159398" y="1906162"/>
                  </a:cubicBezTo>
                  <a:lnTo>
                    <a:pt x="1079699" y="3273526"/>
                  </a:lnTo>
                  <a:lnTo>
                    <a:pt x="2660353" y="3273526"/>
                  </a:lnTo>
                  <a:cubicBezTo>
                    <a:pt x="2776318" y="3273526"/>
                    <a:pt x="2808370" y="3292957"/>
                    <a:pt x="2808370" y="3408463"/>
                  </a:cubicBezTo>
                  <a:lnTo>
                    <a:pt x="2808370" y="3870848"/>
                  </a:lnTo>
                  <a:cubicBezTo>
                    <a:pt x="2808370" y="3979877"/>
                    <a:pt x="2795405" y="4011902"/>
                    <a:pt x="2679800" y="4011902"/>
                  </a:cubicBezTo>
                  <a:lnTo>
                    <a:pt x="192675" y="4011902"/>
                  </a:lnTo>
                  <a:cubicBezTo>
                    <a:pt x="128570" y="4011902"/>
                    <a:pt x="0" y="4011902"/>
                    <a:pt x="0" y="3864371"/>
                  </a:cubicBezTo>
                  <a:cubicBezTo>
                    <a:pt x="0" y="3793844"/>
                    <a:pt x="45018" y="3735910"/>
                    <a:pt x="90036" y="3671861"/>
                  </a:cubicBezTo>
                  <a:lnTo>
                    <a:pt x="1432996" y="1906162"/>
                  </a:lnTo>
                  <a:cubicBezTo>
                    <a:pt x="1748118" y="1475803"/>
                    <a:pt x="1966363" y="1167786"/>
                    <a:pt x="1966363" y="775928"/>
                  </a:cubicBezTo>
                  <a:cubicBezTo>
                    <a:pt x="1966363" y="390548"/>
                    <a:pt x="1715706" y="50506"/>
                    <a:pt x="1310908" y="50506"/>
                  </a:cubicBezTo>
                  <a:cubicBezTo>
                    <a:pt x="931681" y="50506"/>
                    <a:pt x="719919" y="300950"/>
                    <a:pt x="616920" y="660423"/>
                  </a:cubicBezTo>
                  <a:cubicBezTo>
                    <a:pt x="578385" y="801476"/>
                    <a:pt x="533367" y="962321"/>
                    <a:pt x="353658" y="962321"/>
                  </a:cubicBezTo>
                  <a:cubicBezTo>
                    <a:pt x="218606" y="962321"/>
                    <a:pt x="109123" y="859410"/>
                    <a:pt x="109123" y="640991"/>
                  </a:cubicBezTo>
                  <a:cubicBezTo>
                    <a:pt x="109123" y="455621"/>
                    <a:pt x="156840" y="258945"/>
                    <a:pt x="251791" y="77313"/>
                  </a:cubicBezTo>
                  <a:lnTo>
                    <a:pt x="29623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650675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5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ECFB537-8442-FFC6-0350-9DE5F4D8A8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6375" y="1460440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C40A1D25-7252-7DB9-23AB-C05C4437B1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93975" y="1460440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8F8B2ACB-166C-2464-C86B-5BE496222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81575" y="1460440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23740353-5A67-D96D-F632-12E422E4B6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369175" y="1460440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95DACC40-3668-8E08-AD6D-0F23DA33F9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756775" y="1460440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E4483903-2B4E-9669-F08B-BB408E4FA22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9736" y="3930651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6CE27B4F-036B-93D5-3C01-C32A2493C5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587336" y="3930651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EC659C4F-8DAF-A7B9-E917-DC744070AE0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974936" y="3930651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18">
            <a:extLst>
              <a:ext uri="{FF2B5EF4-FFF2-40B4-BE49-F238E27FC236}">
                <a16:creationId xmlns:a16="http://schemas.microsoft.com/office/drawing/2014/main" id="{9BA5F448-8BAF-FF9E-6158-5F85B730F21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62536" y="3930651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1D68F6CB-757D-4C18-DE48-4FCB7BCD04B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756775" y="3930651"/>
            <a:ext cx="2206625" cy="2292410"/>
          </a:xfrm>
          <a:prstGeom prst="rect">
            <a:avLst/>
          </a:prstGeom>
          <a:solidFill>
            <a:srgbClr val="CAB9A7">
              <a:alpha val="50196"/>
            </a:srgbClr>
          </a:solidFill>
          <a:ln w="6350">
            <a:noFill/>
          </a:ln>
        </p:spPr>
        <p:txBody>
          <a:bodyPr tIns="180000"/>
          <a:lstStyle>
            <a:lvl1pPr algn="ctr">
              <a:spcBef>
                <a:spcPts val="1200"/>
              </a:spcBef>
              <a:spcAft>
                <a:spcPts val="1200"/>
              </a:spcAft>
              <a:defRPr sz="1600">
                <a:solidFill>
                  <a:schemeClr val="tx1"/>
                </a:solidFill>
              </a:defRPr>
            </a:lvl1pPr>
            <a:lvl2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2000" b="1">
                <a:solidFill>
                  <a:schemeClr val="accent5"/>
                </a:solidFill>
              </a:defRPr>
            </a:lvl2pPr>
            <a:lvl3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 sz="1800" b="1">
                <a:solidFill>
                  <a:schemeClr val="tx1"/>
                </a:solidFill>
              </a:defRPr>
            </a:lvl3pPr>
            <a:lvl4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ctr">
              <a:spcBef>
                <a:spcPts val="1200"/>
              </a:spcBef>
              <a:spcAft>
                <a:spcPts val="1200"/>
              </a:spcAft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76765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526">
          <p15:clr>
            <a:srgbClr val="FBAE40"/>
          </p15:clr>
        </p15:guide>
        <p15:guide id="5" pos="1640">
          <p15:clr>
            <a:srgbClr val="FBAE40"/>
          </p15:clr>
        </p15:guide>
        <p15:guide id="6" pos="3031">
          <p15:clr>
            <a:srgbClr val="FBAE40"/>
          </p15:clr>
        </p15:guide>
        <p15:guide id="7" pos="3144">
          <p15:clr>
            <a:srgbClr val="FBAE40"/>
          </p15:clr>
        </p15:guide>
        <p15:guide id="8" pos="4535">
          <p15:clr>
            <a:srgbClr val="FBAE40"/>
          </p15:clr>
        </p15:guide>
        <p15:guide id="9" pos="4648">
          <p15:clr>
            <a:srgbClr val="FBAE40"/>
          </p15:clr>
        </p15:guide>
        <p15:guide id="10" pos="6039">
          <p15:clr>
            <a:srgbClr val="FBAE40"/>
          </p15:clr>
        </p15:guide>
        <p15:guide id="11" pos="6153">
          <p15:clr>
            <a:srgbClr val="FBAE40"/>
          </p15:clr>
        </p15:guide>
        <p15:guide id="12" pos="7543">
          <p15:clr>
            <a:srgbClr val="FBAE40"/>
          </p15:clr>
        </p15:guide>
        <p15:guide id="13" orient="horz">
          <p15:clr>
            <a:srgbClr val="FBAE40"/>
          </p15:clr>
        </p15:guide>
        <p15:guide id="14" orient="horz" pos="4320">
          <p15:clr>
            <a:srgbClr val="FBAE40"/>
          </p15:clr>
        </p15:guide>
        <p15:guide id="15" orient="horz" pos="861">
          <p15:clr>
            <a:srgbClr val="FBAE40"/>
          </p15:clr>
        </p15:guide>
        <p15:guide id="16" orient="horz" pos="1296">
          <p15:clr>
            <a:srgbClr val="FBAE40"/>
          </p15:clr>
        </p15:guide>
        <p15:guide id="17" orient="horz" pos="1392">
          <p15:clr>
            <a:srgbClr val="FBAE40"/>
          </p15:clr>
        </p15:guide>
        <p15:guide id="18" orient="horz" pos="1824">
          <p15:clr>
            <a:srgbClr val="FBAE40"/>
          </p15:clr>
        </p15:guide>
        <p15:guide id="19" orient="horz" pos="1938">
          <p15:clr>
            <a:srgbClr val="FBAE40"/>
          </p15:clr>
        </p15:guide>
        <p15:guide id="20" orient="horz" pos="2364">
          <p15:clr>
            <a:srgbClr val="FBAE40"/>
          </p15:clr>
        </p15:guide>
        <p15:guide id="21" orient="horz" pos="2477">
          <p15:clr>
            <a:srgbClr val="FBAE40"/>
          </p15:clr>
        </p15:guide>
        <p15:guide id="22" orient="horz" pos="2902">
          <p15:clr>
            <a:srgbClr val="FBAE40"/>
          </p15:clr>
        </p15:guide>
        <p15:guide id="23" orient="horz" pos="3016">
          <p15:clr>
            <a:srgbClr val="FBAE40"/>
          </p15:clr>
        </p15:guide>
        <p15:guide id="24" orient="horz" pos="3441">
          <p15:clr>
            <a:srgbClr val="FBAE40"/>
          </p15:clr>
        </p15:guide>
        <p15:guide id="25" orient="horz" pos="3554">
          <p15:clr>
            <a:srgbClr val="FBAE40"/>
          </p15:clr>
        </p15:guide>
        <p15:guide id="26" orient="horz" pos="397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1524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85E0FE5F-2D22-EA56-69E0-797B2B307831}"/>
              </a:ext>
            </a:extLst>
          </p:cNvPr>
          <p:cNvGrpSpPr/>
          <p:nvPr userDrawn="1"/>
        </p:nvGrpSpPr>
        <p:grpSpPr>
          <a:xfrm>
            <a:off x="10290660" y="2213409"/>
            <a:ext cx="471843" cy="474435"/>
            <a:chOff x="331788" y="4432300"/>
            <a:chExt cx="288925" cy="290512"/>
          </a:xfrm>
          <a:solidFill>
            <a:schemeClr val="accent3"/>
          </a:solidFill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04FB872D-6101-3560-3027-AA18E84A9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" y="4470400"/>
              <a:ext cx="58738" cy="9525"/>
            </a:xfrm>
            <a:custGeom>
              <a:avLst/>
              <a:gdLst>
                <a:gd name="T0" fmla="*/ 163 w 163"/>
                <a:gd name="T1" fmla="*/ 12 h 24"/>
                <a:gd name="T2" fmla="*/ 152 w 163"/>
                <a:gd name="T3" fmla="*/ 0 h 24"/>
                <a:gd name="T4" fmla="*/ 15 w 163"/>
                <a:gd name="T5" fmla="*/ 0 h 24"/>
                <a:gd name="T6" fmla="*/ 15 w 163"/>
                <a:gd name="T7" fmla="*/ 24 h 24"/>
                <a:gd name="T8" fmla="*/ 152 w 163"/>
                <a:gd name="T9" fmla="*/ 24 h 24"/>
                <a:gd name="T10" fmla="*/ 163 w 163"/>
                <a:gd name="T1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3" h="24">
                  <a:moveTo>
                    <a:pt x="163" y="12"/>
                  </a:moveTo>
                  <a:cubicBezTo>
                    <a:pt x="163" y="5"/>
                    <a:pt x="158" y="0"/>
                    <a:pt x="152" y="0"/>
                  </a:cubicBezTo>
                  <a:lnTo>
                    <a:pt x="15" y="0"/>
                  </a:lnTo>
                  <a:cubicBezTo>
                    <a:pt x="1" y="0"/>
                    <a:pt x="0" y="24"/>
                    <a:pt x="15" y="24"/>
                  </a:cubicBezTo>
                  <a:lnTo>
                    <a:pt x="152" y="24"/>
                  </a:lnTo>
                  <a:cubicBezTo>
                    <a:pt x="158" y="24"/>
                    <a:pt x="163" y="18"/>
                    <a:pt x="16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">
              <a:extLst>
                <a:ext uri="{FF2B5EF4-FFF2-40B4-BE49-F238E27FC236}">
                  <a16:creationId xmlns:a16="http://schemas.microsoft.com/office/drawing/2014/main" id="{16468B09-5BD1-BF0D-5AB6-5B688401B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275" y="4500563"/>
              <a:ext cx="39688" cy="9525"/>
            </a:xfrm>
            <a:custGeom>
              <a:avLst/>
              <a:gdLst>
                <a:gd name="T0" fmla="*/ 15 w 111"/>
                <a:gd name="T1" fmla="*/ 0 h 24"/>
                <a:gd name="T2" fmla="*/ 15 w 111"/>
                <a:gd name="T3" fmla="*/ 24 h 24"/>
                <a:gd name="T4" fmla="*/ 96 w 111"/>
                <a:gd name="T5" fmla="*/ 24 h 24"/>
                <a:gd name="T6" fmla="*/ 96 w 111"/>
                <a:gd name="T7" fmla="*/ 0 h 24"/>
                <a:gd name="T8" fmla="*/ 15 w 11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">
                  <a:moveTo>
                    <a:pt x="15" y="0"/>
                  </a:moveTo>
                  <a:cubicBezTo>
                    <a:pt x="1" y="0"/>
                    <a:pt x="0" y="24"/>
                    <a:pt x="15" y="24"/>
                  </a:cubicBezTo>
                  <a:lnTo>
                    <a:pt x="96" y="24"/>
                  </a:lnTo>
                  <a:cubicBezTo>
                    <a:pt x="110" y="24"/>
                    <a:pt x="111" y="0"/>
                    <a:pt x="96" y="0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7">
              <a:extLst>
                <a:ext uri="{FF2B5EF4-FFF2-40B4-BE49-F238E27FC236}">
                  <a16:creationId xmlns:a16="http://schemas.microsoft.com/office/drawing/2014/main" id="{F5DA84C8-147E-2511-D113-84F5EB678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50" y="4640263"/>
              <a:ext cx="66675" cy="9525"/>
            </a:xfrm>
            <a:custGeom>
              <a:avLst/>
              <a:gdLst>
                <a:gd name="T0" fmla="*/ 170 w 185"/>
                <a:gd name="T1" fmla="*/ 24 h 24"/>
                <a:gd name="T2" fmla="*/ 170 w 185"/>
                <a:gd name="T3" fmla="*/ 0 h 24"/>
                <a:gd name="T4" fmla="*/ 16 w 185"/>
                <a:gd name="T5" fmla="*/ 0 h 24"/>
                <a:gd name="T6" fmla="*/ 16 w 185"/>
                <a:gd name="T7" fmla="*/ 24 h 24"/>
                <a:gd name="T8" fmla="*/ 170 w 185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24">
                  <a:moveTo>
                    <a:pt x="170" y="24"/>
                  </a:moveTo>
                  <a:cubicBezTo>
                    <a:pt x="184" y="24"/>
                    <a:pt x="185" y="0"/>
                    <a:pt x="170" y="0"/>
                  </a:cubicBezTo>
                  <a:lnTo>
                    <a:pt x="16" y="0"/>
                  </a:lnTo>
                  <a:cubicBezTo>
                    <a:pt x="1" y="0"/>
                    <a:pt x="0" y="24"/>
                    <a:pt x="16" y="24"/>
                  </a:cubicBezTo>
                  <a:lnTo>
                    <a:pt x="17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8">
              <a:extLst>
                <a:ext uri="{FF2B5EF4-FFF2-40B4-BE49-F238E27FC236}">
                  <a16:creationId xmlns:a16="http://schemas.microsoft.com/office/drawing/2014/main" id="{0BBEC1EB-106A-B37B-9BBC-3E6DAD149B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0363" y="4459288"/>
              <a:ext cx="46038" cy="87312"/>
            </a:xfrm>
            <a:custGeom>
              <a:avLst/>
              <a:gdLst>
                <a:gd name="T0" fmla="*/ 63 w 124"/>
                <a:gd name="T1" fmla="*/ 241 h 241"/>
                <a:gd name="T2" fmla="*/ 75 w 124"/>
                <a:gd name="T3" fmla="*/ 229 h 241"/>
                <a:gd name="T4" fmla="*/ 75 w 124"/>
                <a:gd name="T5" fmla="*/ 216 h 241"/>
                <a:gd name="T6" fmla="*/ 120 w 124"/>
                <a:gd name="T7" fmla="*/ 168 h 241"/>
                <a:gd name="T8" fmla="*/ 85 w 124"/>
                <a:gd name="T9" fmla="*/ 110 h 241"/>
                <a:gd name="T10" fmla="*/ 75 w 124"/>
                <a:gd name="T11" fmla="*/ 107 h 241"/>
                <a:gd name="T12" fmla="*/ 75 w 124"/>
                <a:gd name="T13" fmla="*/ 51 h 241"/>
                <a:gd name="T14" fmla="*/ 89 w 124"/>
                <a:gd name="T15" fmla="*/ 58 h 241"/>
                <a:gd name="T16" fmla="*/ 105 w 124"/>
                <a:gd name="T17" fmla="*/ 41 h 241"/>
                <a:gd name="T18" fmla="*/ 75 w 124"/>
                <a:gd name="T19" fmla="*/ 27 h 241"/>
                <a:gd name="T20" fmla="*/ 75 w 124"/>
                <a:gd name="T21" fmla="*/ 16 h 241"/>
                <a:gd name="T22" fmla="*/ 51 w 124"/>
                <a:gd name="T23" fmla="*/ 16 h 241"/>
                <a:gd name="T24" fmla="*/ 51 w 124"/>
                <a:gd name="T25" fmla="*/ 28 h 241"/>
                <a:gd name="T26" fmla="*/ 13 w 124"/>
                <a:gd name="T27" fmla="*/ 67 h 241"/>
                <a:gd name="T28" fmla="*/ 27 w 124"/>
                <a:gd name="T29" fmla="*/ 108 h 241"/>
                <a:gd name="T30" fmla="*/ 51 w 124"/>
                <a:gd name="T31" fmla="*/ 122 h 241"/>
                <a:gd name="T32" fmla="*/ 51 w 124"/>
                <a:gd name="T33" fmla="*/ 193 h 241"/>
                <a:gd name="T34" fmla="*/ 25 w 124"/>
                <a:gd name="T35" fmla="*/ 183 h 241"/>
                <a:gd name="T36" fmla="*/ 13 w 124"/>
                <a:gd name="T37" fmla="*/ 203 h 241"/>
                <a:gd name="T38" fmla="*/ 51 w 124"/>
                <a:gd name="T39" fmla="*/ 217 h 241"/>
                <a:gd name="T40" fmla="*/ 51 w 124"/>
                <a:gd name="T41" fmla="*/ 229 h 241"/>
                <a:gd name="T42" fmla="*/ 63 w 124"/>
                <a:gd name="T43" fmla="*/ 241 h 241"/>
                <a:gd name="T44" fmla="*/ 75 w 124"/>
                <a:gd name="T45" fmla="*/ 132 h 241"/>
                <a:gd name="T46" fmla="*/ 77 w 124"/>
                <a:gd name="T47" fmla="*/ 133 h 241"/>
                <a:gd name="T48" fmla="*/ 97 w 124"/>
                <a:gd name="T49" fmla="*/ 164 h 241"/>
                <a:gd name="T50" fmla="*/ 75 w 124"/>
                <a:gd name="T51" fmla="*/ 191 h 241"/>
                <a:gd name="T52" fmla="*/ 75 w 124"/>
                <a:gd name="T53" fmla="*/ 132 h 241"/>
                <a:gd name="T54" fmla="*/ 41 w 124"/>
                <a:gd name="T55" fmla="*/ 90 h 241"/>
                <a:gd name="T56" fmla="*/ 36 w 124"/>
                <a:gd name="T57" fmla="*/ 71 h 241"/>
                <a:gd name="T58" fmla="*/ 51 w 124"/>
                <a:gd name="T59" fmla="*/ 52 h 241"/>
                <a:gd name="T60" fmla="*/ 51 w 124"/>
                <a:gd name="T61" fmla="*/ 96 h 241"/>
                <a:gd name="T62" fmla="*/ 41 w 124"/>
                <a:gd name="T63" fmla="*/ 9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4" h="241">
                  <a:moveTo>
                    <a:pt x="63" y="241"/>
                  </a:moveTo>
                  <a:cubicBezTo>
                    <a:pt x="69" y="241"/>
                    <a:pt x="75" y="236"/>
                    <a:pt x="75" y="229"/>
                  </a:cubicBezTo>
                  <a:lnTo>
                    <a:pt x="75" y="216"/>
                  </a:lnTo>
                  <a:cubicBezTo>
                    <a:pt x="101" y="210"/>
                    <a:pt x="116" y="189"/>
                    <a:pt x="120" y="168"/>
                  </a:cubicBezTo>
                  <a:cubicBezTo>
                    <a:pt x="124" y="142"/>
                    <a:pt x="111" y="119"/>
                    <a:pt x="85" y="110"/>
                  </a:cubicBezTo>
                  <a:cubicBezTo>
                    <a:pt x="82" y="109"/>
                    <a:pt x="78" y="108"/>
                    <a:pt x="75" y="107"/>
                  </a:cubicBezTo>
                  <a:lnTo>
                    <a:pt x="75" y="51"/>
                  </a:lnTo>
                  <a:cubicBezTo>
                    <a:pt x="84" y="53"/>
                    <a:pt x="89" y="58"/>
                    <a:pt x="89" y="58"/>
                  </a:cubicBezTo>
                  <a:cubicBezTo>
                    <a:pt x="100" y="68"/>
                    <a:pt x="116" y="51"/>
                    <a:pt x="105" y="41"/>
                  </a:cubicBezTo>
                  <a:cubicBezTo>
                    <a:pt x="104" y="40"/>
                    <a:pt x="93" y="30"/>
                    <a:pt x="75" y="27"/>
                  </a:cubicBezTo>
                  <a:lnTo>
                    <a:pt x="75" y="16"/>
                  </a:lnTo>
                  <a:cubicBezTo>
                    <a:pt x="75" y="1"/>
                    <a:pt x="51" y="0"/>
                    <a:pt x="51" y="16"/>
                  </a:cubicBezTo>
                  <a:lnTo>
                    <a:pt x="51" y="28"/>
                  </a:lnTo>
                  <a:cubicBezTo>
                    <a:pt x="32" y="32"/>
                    <a:pt x="17" y="47"/>
                    <a:pt x="13" y="67"/>
                  </a:cubicBezTo>
                  <a:cubicBezTo>
                    <a:pt x="10" y="83"/>
                    <a:pt x="15" y="99"/>
                    <a:pt x="27" y="108"/>
                  </a:cubicBezTo>
                  <a:cubicBezTo>
                    <a:pt x="33" y="113"/>
                    <a:pt x="41" y="118"/>
                    <a:pt x="51" y="122"/>
                  </a:cubicBezTo>
                  <a:lnTo>
                    <a:pt x="51" y="193"/>
                  </a:lnTo>
                  <a:cubicBezTo>
                    <a:pt x="42" y="192"/>
                    <a:pt x="36" y="190"/>
                    <a:pt x="25" y="183"/>
                  </a:cubicBezTo>
                  <a:cubicBezTo>
                    <a:pt x="13" y="175"/>
                    <a:pt x="0" y="195"/>
                    <a:pt x="13" y="203"/>
                  </a:cubicBezTo>
                  <a:cubicBezTo>
                    <a:pt x="28" y="213"/>
                    <a:pt x="38" y="216"/>
                    <a:pt x="51" y="217"/>
                  </a:cubicBezTo>
                  <a:lnTo>
                    <a:pt x="51" y="229"/>
                  </a:lnTo>
                  <a:cubicBezTo>
                    <a:pt x="51" y="236"/>
                    <a:pt x="57" y="241"/>
                    <a:pt x="63" y="241"/>
                  </a:cubicBezTo>
                  <a:close/>
                  <a:moveTo>
                    <a:pt x="75" y="132"/>
                  </a:moveTo>
                  <a:cubicBezTo>
                    <a:pt x="76" y="132"/>
                    <a:pt x="76" y="132"/>
                    <a:pt x="77" y="133"/>
                  </a:cubicBezTo>
                  <a:cubicBezTo>
                    <a:pt x="99" y="140"/>
                    <a:pt x="98" y="159"/>
                    <a:pt x="97" y="164"/>
                  </a:cubicBezTo>
                  <a:cubicBezTo>
                    <a:pt x="95" y="175"/>
                    <a:pt x="87" y="187"/>
                    <a:pt x="75" y="191"/>
                  </a:cubicBezTo>
                  <a:lnTo>
                    <a:pt x="75" y="132"/>
                  </a:lnTo>
                  <a:close/>
                  <a:moveTo>
                    <a:pt x="41" y="90"/>
                  </a:moveTo>
                  <a:cubicBezTo>
                    <a:pt x="37" y="86"/>
                    <a:pt x="35" y="79"/>
                    <a:pt x="36" y="71"/>
                  </a:cubicBezTo>
                  <a:cubicBezTo>
                    <a:pt x="37" y="64"/>
                    <a:pt x="42" y="56"/>
                    <a:pt x="51" y="52"/>
                  </a:cubicBezTo>
                  <a:lnTo>
                    <a:pt x="51" y="96"/>
                  </a:lnTo>
                  <a:cubicBezTo>
                    <a:pt x="48" y="94"/>
                    <a:pt x="44" y="92"/>
                    <a:pt x="41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Freeform 9">
              <a:extLst>
                <a:ext uri="{FF2B5EF4-FFF2-40B4-BE49-F238E27FC236}">
                  <a16:creationId xmlns:a16="http://schemas.microsoft.com/office/drawing/2014/main" id="{16E0C0A0-B350-2C92-89BB-A227CD55EC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788" y="4432300"/>
              <a:ext cx="288925" cy="290512"/>
            </a:xfrm>
            <a:custGeom>
              <a:avLst/>
              <a:gdLst>
                <a:gd name="T0" fmla="*/ 663 w 800"/>
                <a:gd name="T1" fmla="*/ 496 h 800"/>
                <a:gd name="T2" fmla="*/ 594 w 800"/>
                <a:gd name="T3" fmla="*/ 419 h 800"/>
                <a:gd name="T4" fmla="*/ 513 w 800"/>
                <a:gd name="T5" fmla="*/ 339 h 800"/>
                <a:gd name="T6" fmla="*/ 490 w 800"/>
                <a:gd name="T7" fmla="*/ 339 h 800"/>
                <a:gd name="T8" fmla="*/ 340 w 800"/>
                <a:gd name="T9" fmla="*/ 406 h 800"/>
                <a:gd name="T10" fmla="*/ 340 w 800"/>
                <a:gd name="T11" fmla="*/ 430 h 800"/>
                <a:gd name="T12" fmla="*/ 102 w 800"/>
                <a:gd name="T13" fmla="*/ 514 h 800"/>
                <a:gd name="T14" fmla="*/ 27 w 800"/>
                <a:gd name="T15" fmla="*/ 691 h 800"/>
                <a:gd name="T16" fmla="*/ 27 w 800"/>
                <a:gd name="T17" fmla="*/ 24 h 800"/>
                <a:gd name="T18" fmla="*/ 490 w 800"/>
                <a:gd name="T19" fmla="*/ 125 h 800"/>
                <a:gd name="T20" fmla="*/ 486 w 800"/>
                <a:gd name="T21" fmla="*/ 0 h 800"/>
                <a:gd name="T22" fmla="*/ 0 w 800"/>
                <a:gd name="T23" fmla="*/ 687 h 800"/>
                <a:gd name="T24" fmla="*/ 340 w 800"/>
                <a:gd name="T25" fmla="*/ 721 h 800"/>
                <a:gd name="T26" fmla="*/ 689 w 800"/>
                <a:gd name="T27" fmla="*/ 800 h 800"/>
                <a:gd name="T28" fmla="*/ 663 w 800"/>
                <a:gd name="T29" fmla="*/ 749 h 800"/>
                <a:gd name="T30" fmla="*/ 773 w 800"/>
                <a:gd name="T31" fmla="*/ 777 h 800"/>
                <a:gd name="T32" fmla="*/ 773 w 800"/>
                <a:gd name="T33" fmla="*/ 800 h 800"/>
                <a:gd name="T34" fmla="*/ 773 w 800"/>
                <a:gd name="T35" fmla="*/ 623 h 800"/>
                <a:gd name="T36" fmla="*/ 571 w 800"/>
                <a:gd name="T37" fmla="*/ 406 h 800"/>
                <a:gd name="T38" fmla="*/ 363 w 800"/>
                <a:gd name="T39" fmla="*/ 367 h 800"/>
                <a:gd name="T40" fmla="*/ 363 w 800"/>
                <a:gd name="T41" fmla="*/ 406 h 800"/>
                <a:gd name="T42" fmla="*/ 363 w 800"/>
                <a:gd name="T43" fmla="*/ 773 h 800"/>
                <a:gd name="T44" fmla="*/ 367 w 800"/>
                <a:gd name="T45" fmla="*/ 777 h 800"/>
                <a:gd name="T46" fmla="*/ 419 w 800"/>
                <a:gd name="T47" fmla="*/ 570 h 800"/>
                <a:gd name="T48" fmla="*/ 503 w 800"/>
                <a:gd name="T49" fmla="*/ 602 h 800"/>
                <a:gd name="T50" fmla="*/ 503 w 800"/>
                <a:gd name="T51" fmla="*/ 496 h 800"/>
                <a:gd name="T52" fmla="*/ 395 w 800"/>
                <a:gd name="T53" fmla="*/ 570 h 800"/>
                <a:gd name="T54" fmla="*/ 503 w 800"/>
                <a:gd name="T55" fmla="*/ 777 h 800"/>
                <a:gd name="T56" fmla="*/ 363 w 800"/>
                <a:gd name="T57" fmla="*/ 429 h 800"/>
                <a:gd name="T58" fmla="*/ 571 w 800"/>
                <a:gd name="T59" fmla="*/ 429 h 800"/>
                <a:gd name="T60" fmla="*/ 503 w 800"/>
                <a:gd name="T61" fmla="*/ 496 h 800"/>
                <a:gd name="T62" fmla="*/ 526 w 800"/>
                <a:gd name="T63" fmla="*/ 773 h 800"/>
                <a:gd name="T64" fmla="*/ 640 w 800"/>
                <a:gd name="T65" fmla="*/ 777 h 800"/>
                <a:gd name="T66" fmla="*/ 526 w 800"/>
                <a:gd name="T67" fmla="*/ 697 h 800"/>
                <a:gd name="T68" fmla="*/ 640 w 800"/>
                <a:gd name="T69" fmla="*/ 674 h 800"/>
                <a:gd name="T70" fmla="*/ 640 w 800"/>
                <a:gd name="T71" fmla="*/ 646 h 800"/>
                <a:gd name="T72" fmla="*/ 526 w 800"/>
                <a:gd name="T73" fmla="*/ 623 h 800"/>
                <a:gd name="T74" fmla="*/ 640 w 800"/>
                <a:gd name="T75" fmla="*/ 623 h 800"/>
                <a:gd name="T76" fmla="*/ 526 w 800"/>
                <a:gd name="T77" fmla="*/ 543 h 800"/>
                <a:gd name="T78" fmla="*/ 640 w 800"/>
                <a:gd name="T79" fmla="*/ 520 h 800"/>
                <a:gd name="T80" fmla="*/ 530 w 800"/>
                <a:gd name="T81" fmla="*/ 492 h 800"/>
                <a:gd name="T82" fmla="*/ 640 w 800"/>
                <a:gd name="T83" fmla="*/ 520 h 800"/>
                <a:gd name="T84" fmla="*/ 663 w 800"/>
                <a:gd name="T85" fmla="*/ 697 h 800"/>
                <a:gd name="T86" fmla="*/ 777 w 800"/>
                <a:gd name="T87" fmla="*/ 674 h 800"/>
                <a:gd name="T88" fmla="*/ 773 w 800"/>
                <a:gd name="T89" fmla="*/ 646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00" h="800">
                  <a:moveTo>
                    <a:pt x="773" y="623"/>
                  </a:moveTo>
                  <a:lnTo>
                    <a:pt x="663" y="623"/>
                  </a:lnTo>
                  <a:lnTo>
                    <a:pt x="663" y="496"/>
                  </a:lnTo>
                  <a:cubicBezTo>
                    <a:pt x="663" y="481"/>
                    <a:pt x="651" y="468"/>
                    <a:pt x="636" y="468"/>
                  </a:cubicBezTo>
                  <a:lnTo>
                    <a:pt x="594" y="468"/>
                  </a:lnTo>
                  <a:lnTo>
                    <a:pt x="594" y="419"/>
                  </a:lnTo>
                  <a:lnTo>
                    <a:pt x="594" y="367"/>
                  </a:lnTo>
                  <a:cubicBezTo>
                    <a:pt x="594" y="352"/>
                    <a:pt x="582" y="339"/>
                    <a:pt x="567" y="339"/>
                  </a:cubicBezTo>
                  <a:lnTo>
                    <a:pt x="513" y="339"/>
                  </a:lnTo>
                  <a:lnTo>
                    <a:pt x="513" y="249"/>
                  </a:lnTo>
                  <a:cubicBezTo>
                    <a:pt x="513" y="234"/>
                    <a:pt x="490" y="233"/>
                    <a:pt x="490" y="249"/>
                  </a:cubicBezTo>
                  <a:lnTo>
                    <a:pt x="490" y="339"/>
                  </a:lnTo>
                  <a:lnTo>
                    <a:pt x="367" y="339"/>
                  </a:lnTo>
                  <a:cubicBezTo>
                    <a:pt x="352" y="339"/>
                    <a:pt x="340" y="352"/>
                    <a:pt x="340" y="367"/>
                  </a:cubicBezTo>
                  <a:lnTo>
                    <a:pt x="340" y="406"/>
                  </a:lnTo>
                  <a:lnTo>
                    <a:pt x="102" y="406"/>
                  </a:lnTo>
                  <a:cubicBezTo>
                    <a:pt x="87" y="406"/>
                    <a:pt x="86" y="430"/>
                    <a:pt x="102" y="430"/>
                  </a:cubicBezTo>
                  <a:lnTo>
                    <a:pt x="340" y="430"/>
                  </a:lnTo>
                  <a:lnTo>
                    <a:pt x="340" y="490"/>
                  </a:lnTo>
                  <a:lnTo>
                    <a:pt x="102" y="490"/>
                  </a:lnTo>
                  <a:cubicBezTo>
                    <a:pt x="87" y="490"/>
                    <a:pt x="86" y="514"/>
                    <a:pt x="102" y="514"/>
                  </a:cubicBezTo>
                  <a:lnTo>
                    <a:pt x="340" y="514"/>
                  </a:lnTo>
                  <a:lnTo>
                    <a:pt x="340" y="691"/>
                  </a:lnTo>
                  <a:lnTo>
                    <a:pt x="27" y="691"/>
                  </a:lnTo>
                  <a:cubicBezTo>
                    <a:pt x="25" y="691"/>
                    <a:pt x="24" y="689"/>
                    <a:pt x="24" y="687"/>
                  </a:cubicBezTo>
                  <a:lnTo>
                    <a:pt x="24" y="27"/>
                  </a:lnTo>
                  <a:cubicBezTo>
                    <a:pt x="24" y="25"/>
                    <a:pt x="25" y="24"/>
                    <a:pt x="27" y="24"/>
                  </a:cubicBezTo>
                  <a:lnTo>
                    <a:pt x="486" y="24"/>
                  </a:lnTo>
                  <a:cubicBezTo>
                    <a:pt x="488" y="24"/>
                    <a:pt x="490" y="25"/>
                    <a:pt x="490" y="27"/>
                  </a:cubicBezTo>
                  <a:lnTo>
                    <a:pt x="490" y="125"/>
                  </a:lnTo>
                  <a:cubicBezTo>
                    <a:pt x="490" y="139"/>
                    <a:pt x="513" y="140"/>
                    <a:pt x="513" y="125"/>
                  </a:cubicBezTo>
                  <a:lnTo>
                    <a:pt x="513" y="27"/>
                  </a:lnTo>
                  <a:cubicBezTo>
                    <a:pt x="513" y="12"/>
                    <a:pt x="501" y="0"/>
                    <a:pt x="486" y="0"/>
                  </a:cubicBezTo>
                  <a:lnTo>
                    <a:pt x="27" y="0"/>
                  </a:lnTo>
                  <a:cubicBezTo>
                    <a:pt x="12" y="0"/>
                    <a:pt x="0" y="12"/>
                    <a:pt x="0" y="27"/>
                  </a:cubicBezTo>
                  <a:lnTo>
                    <a:pt x="0" y="687"/>
                  </a:lnTo>
                  <a:cubicBezTo>
                    <a:pt x="0" y="702"/>
                    <a:pt x="12" y="714"/>
                    <a:pt x="27" y="714"/>
                  </a:cubicBezTo>
                  <a:lnTo>
                    <a:pt x="340" y="714"/>
                  </a:lnTo>
                  <a:lnTo>
                    <a:pt x="340" y="721"/>
                  </a:lnTo>
                  <a:lnTo>
                    <a:pt x="340" y="773"/>
                  </a:lnTo>
                  <a:cubicBezTo>
                    <a:pt x="340" y="788"/>
                    <a:pt x="352" y="800"/>
                    <a:pt x="367" y="800"/>
                  </a:cubicBezTo>
                  <a:lnTo>
                    <a:pt x="689" y="800"/>
                  </a:lnTo>
                  <a:cubicBezTo>
                    <a:pt x="703" y="800"/>
                    <a:pt x="704" y="777"/>
                    <a:pt x="689" y="777"/>
                  </a:cubicBezTo>
                  <a:lnTo>
                    <a:pt x="663" y="777"/>
                  </a:lnTo>
                  <a:lnTo>
                    <a:pt x="663" y="749"/>
                  </a:lnTo>
                  <a:lnTo>
                    <a:pt x="777" y="749"/>
                  </a:lnTo>
                  <a:lnTo>
                    <a:pt x="777" y="773"/>
                  </a:lnTo>
                  <a:cubicBezTo>
                    <a:pt x="777" y="775"/>
                    <a:pt x="775" y="777"/>
                    <a:pt x="773" y="777"/>
                  </a:cubicBezTo>
                  <a:lnTo>
                    <a:pt x="751" y="777"/>
                  </a:lnTo>
                  <a:cubicBezTo>
                    <a:pt x="736" y="777"/>
                    <a:pt x="736" y="800"/>
                    <a:pt x="751" y="800"/>
                  </a:cubicBezTo>
                  <a:lnTo>
                    <a:pt x="773" y="800"/>
                  </a:lnTo>
                  <a:cubicBezTo>
                    <a:pt x="788" y="800"/>
                    <a:pt x="800" y="788"/>
                    <a:pt x="800" y="773"/>
                  </a:cubicBezTo>
                  <a:lnTo>
                    <a:pt x="800" y="650"/>
                  </a:lnTo>
                  <a:cubicBezTo>
                    <a:pt x="800" y="635"/>
                    <a:pt x="788" y="623"/>
                    <a:pt x="773" y="623"/>
                  </a:cubicBezTo>
                  <a:close/>
                  <a:moveTo>
                    <a:pt x="567" y="363"/>
                  </a:moveTo>
                  <a:cubicBezTo>
                    <a:pt x="569" y="363"/>
                    <a:pt x="571" y="365"/>
                    <a:pt x="571" y="367"/>
                  </a:cubicBezTo>
                  <a:lnTo>
                    <a:pt x="571" y="406"/>
                  </a:lnTo>
                  <a:cubicBezTo>
                    <a:pt x="549" y="401"/>
                    <a:pt x="533" y="384"/>
                    <a:pt x="528" y="363"/>
                  </a:cubicBezTo>
                  <a:lnTo>
                    <a:pt x="567" y="363"/>
                  </a:lnTo>
                  <a:close/>
                  <a:moveTo>
                    <a:pt x="363" y="367"/>
                  </a:moveTo>
                  <a:cubicBezTo>
                    <a:pt x="363" y="365"/>
                    <a:pt x="365" y="363"/>
                    <a:pt x="367" y="363"/>
                  </a:cubicBezTo>
                  <a:lnTo>
                    <a:pt x="406" y="363"/>
                  </a:lnTo>
                  <a:cubicBezTo>
                    <a:pt x="401" y="384"/>
                    <a:pt x="385" y="401"/>
                    <a:pt x="363" y="406"/>
                  </a:cubicBezTo>
                  <a:lnTo>
                    <a:pt x="363" y="367"/>
                  </a:lnTo>
                  <a:close/>
                  <a:moveTo>
                    <a:pt x="367" y="777"/>
                  </a:moveTo>
                  <a:cubicBezTo>
                    <a:pt x="365" y="777"/>
                    <a:pt x="363" y="775"/>
                    <a:pt x="363" y="773"/>
                  </a:cubicBezTo>
                  <a:lnTo>
                    <a:pt x="363" y="734"/>
                  </a:lnTo>
                  <a:cubicBezTo>
                    <a:pt x="385" y="738"/>
                    <a:pt x="401" y="755"/>
                    <a:pt x="406" y="777"/>
                  </a:cubicBezTo>
                  <a:lnTo>
                    <a:pt x="367" y="777"/>
                  </a:lnTo>
                  <a:close/>
                  <a:moveTo>
                    <a:pt x="503" y="602"/>
                  </a:moveTo>
                  <a:cubicBezTo>
                    <a:pt x="494" y="612"/>
                    <a:pt x="481" y="618"/>
                    <a:pt x="467" y="618"/>
                  </a:cubicBezTo>
                  <a:cubicBezTo>
                    <a:pt x="440" y="618"/>
                    <a:pt x="419" y="596"/>
                    <a:pt x="419" y="570"/>
                  </a:cubicBezTo>
                  <a:cubicBezTo>
                    <a:pt x="419" y="543"/>
                    <a:pt x="440" y="522"/>
                    <a:pt x="467" y="522"/>
                  </a:cubicBezTo>
                  <a:cubicBezTo>
                    <a:pt x="481" y="522"/>
                    <a:pt x="494" y="528"/>
                    <a:pt x="503" y="538"/>
                  </a:cubicBezTo>
                  <a:lnTo>
                    <a:pt x="503" y="602"/>
                  </a:lnTo>
                  <a:close/>
                  <a:moveTo>
                    <a:pt x="503" y="777"/>
                  </a:moveTo>
                  <a:cubicBezTo>
                    <a:pt x="503" y="777"/>
                    <a:pt x="503" y="777"/>
                    <a:pt x="503" y="777"/>
                  </a:cubicBezTo>
                  <a:close/>
                  <a:moveTo>
                    <a:pt x="503" y="496"/>
                  </a:moveTo>
                  <a:lnTo>
                    <a:pt x="503" y="508"/>
                  </a:lnTo>
                  <a:cubicBezTo>
                    <a:pt x="492" y="502"/>
                    <a:pt x="480" y="498"/>
                    <a:pt x="467" y="498"/>
                  </a:cubicBezTo>
                  <a:cubicBezTo>
                    <a:pt x="428" y="498"/>
                    <a:pt x="395" y="530"/>
                    <a:pt x="395" y="570"/>
                  </a:cubicBezTo>
                  <a:cubicBezTo>
                    <a:pt x="395" y="609"/>
                    <a:pt x="428" y="641"/>
                    <a:pt x="467" y="641"/>
                  </a:cubicBezTo>
                  <a:cubicBezTo>
                    <a:pt x="480" y="641"/>
                    <a:pt x="492" y="638"/>
                    <a:pt x="503" y="632"/>
                  </a:cubicBezTo>
                  <a:lnTo>
                    <a:pt x="503" y="777"/>
                  </a:lnTo>
                  <a:lnTo>
                    <a:pt x="430" y="777"/>
                  </a:lnTo>
                  <a:cubicBezTo>
                    <a:pt x="425" y="742"/>
                    <a:pt x="398" y="715"/>
                    <a:pt x="363" y="710"/>
                  </a:cubicBezTo>
                  <a:lnTo>
                    <a:pt x="363" y="429"/>
                  </a:lnTo>
                  <a:cubicBezTo>
                    <a:pt x="398" y="424"/>
                    <a:pt x="425" y="397"/>
                    <a:pt x="430" y="363"/>
                  </a:cubicBezTo>
                  <a:lnTo>
                    <a:pt x="504" y="363"/>
                  </a:lnTo>
                  <a:cubicBezTo>
                    <a:pt x="509" y="397"/>
                    <a:pt x="537" y="424"/>
                    <a:pt x="571" y="429"/>
                  </a:cubicBezTo>
                  <a:lnTo>
                    <a:pt x="571" y="468"/>
                  </a:lnTo>
                  <a:lnTo>
                    <a:pt x="530" y="468"/>
                  </a:lnTo>
                  <a:cubicBezTo>
                    <a:pt x="515" y="468"/>
                    <a:pt x="503" y="481"/>
                    <a:pt x="503" y="496"/>
                  </a:cubicBezTo>
                  <a:close/>
                  <a:moveTo>
                    <a:pt x="640" y="777"/>
                  </a:moveTo>
                  <a:lnTo>
                    <a:pt x="530" y="777"/>
                  </a:lnTo>
                  <a:cubicBezTo>
                    <a:pt x="528" y="777"/>
                    <a:pt x="526" y="775"/>
                    <a:pt x="526" y="773"/>
                  </a:cubicBezTo>
                  <a:lnTo>
                    <a:pt x="526" y="749"/>
                  </a:lnTo>
                  <a:lnTo>
                    <a:pt x="640" y="749"/>
                  </a:lnTo>
                  <a:lnTo>
                    <a:pt x="640" y="777"/>
                  </a:lnTo>
                  <a:close/>
                  <a:moveTo>
                    <a:pt x="640" y="725"/>
                  </a:moveTo>
                  <a:lnTo>
                    <a:pt x="526" y="725"/>
                  </a:lnTo>
                  <a:lnTo>
                    <a:pt x="526" y="697"/>
                  </a:lnTo>
                  <a:lnTo>
                    <a:pt x="640" y="697"/>
                  </a:lnTo>
                  <a:lnTo>
                    <a:pt x="640" y="725"/>
                  </a:lnTo>
                  <a:close/>
                  <a:moveTo>
                    <a:pt x="640" y="674"/>
                  </a:moveTo>
                  <a:lnTo>
                    <a:pt x="526" y="674"/>
                  </a:lnTo>
                  <a:lnTo>
                    <a:pt x="526" y="646"/>
                  </a:lnTo>
                  <a:lnTo>
                    <a:pt x="640" y="646"/>
                  </a:lnTo>
                  <a:lnTo>
                    <a:pt x="640" y="674"/>
                  </a:lnTo>
                  <a:close/>
                  <a:moveTo>
                    <a:pt x="640" y="623"/>
                  </a:moveTo>
                  <a:lnTo>
                    <a:pt x="526" y="623"/>
                  </a:lnTo>
                  <a:lnTo>
                    <a:pt x="526" y="595"/>
                  </a:lnTo>
                  <a:lnTo>
                    <a:pt x="640" y="595"/>
                  </a:lnTo>
                  <a:lnTo>
                    <a:pt x="640" y="623"/>
                  </a:lnTo>
                  <a:close/>
                  <a:moveTo>
                    <a:pt x="640" y="571"/>
                  </a:moveTo>
                  <a:lnTo>
                    <a:pt x="526" y="571"/>
                  </a:lnTo>
                  <a:lnTo>
                    <a:pt x="526" y="543"/>
                  </a:lnTo>
                  <a:lnTo>
                    <a:pt x="640" y="543"/>
                  </a:lnTo>
                  <a:lnTo>
                    <a:pt x="640" y="571"/>
                  </a:lnTo>
                  <a:close/>
                  <a:moveTo>
                    <a:pt x="640" y="520"/>
                  </a:moveTo>
                  <a:lnTo>
                    <a:pt x="526" y="520"/>
                  </a:lnTo>
                  <a:lnTo>
                    <a:pt x="526" y="496"/>
                  </a:lnTo>
                  <a:cubicBezTo>
                    <a:pt x="526" y="494"/>
                    <a:pt x="528" y="492"/>
                    <a:pt x="530" y="492"/>
                  </a:cubicBezTo>
                  <a:lnTo>
                    <a:pt x="636" y="492"/>
                  </a:lnTo>
                  <a:cubicBezTo>
                    <a:pt x="638" y="492"/>
                    <a:pt x="640" y="494"/>
                    <a:pt x="640" y="496"/>
                  </a:cubicBezTo>
                  <a:lnTo>
                    <a:pt x="640" y="520"/>
                  </a:lnTo>
                  <a:close/>
                  <a:moveTo>
                    <a:pt x="777" y="725"/>
                  </a:moveTo>
                  <a:lnTo>
                    <a:pt x="663" y="725"/>
                  </a:lnTo>
                  <a:lnTo>
                    <a:pt x="663" y="697"/>
                  </a:lnTo>
                  <a:lnTo>
                    <a:pt x="777" y="697"/>
                  </a:lnTo>
                  <a:lnTo>
                    <a:pt x="777" y="725"/>
                  </a:lnTo>
                  <a:close/>
                  <a:moveTo>
                    <a:pt x="777" y="674"/>
                  </a:moveTo>
                  <a:lnTo>
                    <a:pt x="663" y="674"/>
                  </a:lnTo>
                  <a:lnTo>
                    <a:pt x="663" y="646"/>
                  </a:lnTo>
                  <a:lnTo>
                    <a:pt x="773" y="646"/>
                  </a:lnTo>
                  <a:cubicBezTo>
                    <a:pt x="775" y="646"/>
                    <a:pt x="777" y="648"/>
                    <a:pt x="777" y="650"/>
                  </a:cubicBezTo>
                  <a:lnTo>
                    <a:pt x="777" y="6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Freeform 10">
              <a:extLst>
                <a:ext uri="{FF2B5EF4-FFF2-40B4-BE49-F238E27FC236}">
                  <a16:creationId xmlns:a16="http://schemas.microsoft.com/office/drawing/2014/main" id="{C5428009-0EE6-14DF-251C-CBE43621A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838" y="4446588"/>
              <a:ext cx="138113" cy="87312"/>
            </a:xfrm>
            <a:custGeom>
              <a:avLst/>
              <a:gdLst>
                <a:gd name="T0" fmla="*/ 5 w 382"/>
                <a:gd name="T1" fmla="*/ 236 h 241"/>
                <a:gd name="T2" fmla="*/ 22 w 382"/>
                <a:gd name="T3" fmla="*/ 236 h 241"/>
                <a:gd name="T4" fmla="*/ 157 w 382"/>
                <a:gd name="T5" fmla="*/ 101 h 241"/>
                <a:gd name="T6" fmla="*/ 219 w 382"/>
                <a:gd name="T7" fmla="*/ 164 h 241"/>
                <a:gd name="T8" fmla="*/ 235 w 382"/>
                <a:gd name="T9" fmla="*/ 164 h 241"/>
                <a:gd name="T10" fmla="*/ 359 w 382"/>
                <a:gd name="T11" fmla="*/ 40 h 241"/>
                <a:gd name="T12" fmla="*/ 359 w 382"/>
                <a:gd name="T13" fmla="*/ 72 h 241"/>
                <a:gd name="T14" fmla="*/ 382 w 382"/>
                <a:gd name="T15" fmla="*/ 72 h 241"/>
                <a:gd name="T16" fmla="*/ 382 w 382"/>
                <a:gd name="T17" fmla="*/ 12 h 241"/>
                <a:gd name="T18" fmla="*/ 370 w 382"/>
                <a:gd name="T19" fmla="*/ 0 h 241"/>
                <a:gd name="T20" fmla="*/ 310 w 382"/>
                <a:gd name="T21" fmla="*/ 0 h 241"/>
                <a:gd name="T22" fmla="*/ 310 w 382"/>
                <a:gd name="T23" fmla="*/ 24 h 241"/>
                <a:gd name="T24" fmla="*/ 342 w 382"/>
                <a:gd name="T25" fmla="*/ 24 h 241"/>
                <a:gd name="T26" fmla="*/ 227 w 382"/>
                <a:gd name="T27" fmla="*/ 139 h 241"/>
                <a:gd name="T28" fmla="*/ 165 w 382"/>
                <a:gd name="T29" fmla="*/ 77 h 241"/>
                <a:gd name="T30" fmla="*/ 148 w 382"/>
                <a:gd name="T31" fmla="*/ 77 h 241"/>
                <a:gd name="T32" fmla="*/ 5 w 382"/>
                <a:gd name="T33" fmla="*/ 220 h 241"/>
                <a:gd name="T34" fmla="*/ 5 w 382"/>
                <a:gd name="T35" fmla="*/ 23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2" h="241">
                  <a:moveTo>
                    <a:pt x="5" y="236"/>
                  </a:moveTo>
                  <a:cubicBezTo>
                    <a:pt x="11" y="241"/>
                    <a:pt x="16" y="241"/>
                    <a:pt x="22" y="236"/>
                  </a:cubicBezTo>
                  <a:lnTo>
                    <a:pt x="157" y="101"/>
                  </a:lnTo>
                  <a:lnTo>
                    <a:pt x="219" y="164"/>
                  </a:lnTo>
                  <a:cubicBezTo>
                    <a:pt x="224" y="168"/>
                    <a:pt x="230" y="168"/>
                    <a:pt x="235" y="164"/>
                  </a:cubicBezTo>
                  <a:lnTo>
                    <a:pt x="359" y="40"/>
                  </a:lnTo>
                  <a:lnTo>
                    <a:pt x="359" y="72"/>
                  </a:lnTo>
                  <a:cubicBezTo>
                    <a:pt x="359" y="87"/>
                    <a:pt x="382" y="88"/>
                    <a:pt x="382" y="72"/>
                  </a:cubicBezTo>
                  <a:lnTo>
                    <a:pt x="382" y="12"/>
                  </a:lnTo>
                  <a:cubicBezTo>
                    <a:pt x="382" y="6"/>
                    <a:pt x="377" y="0"/>
                    <a:pt x="370" y="0"/>
                  </a:cubicBezTo>
                  <a:lnTo>
                    <a:pt x="310" y="0"/>
                  </a:lnTo>
                  <a:cubicBezTo>
                    <a:pt x="295" y="0"/>
                    <a:pt x="295" y="24"/>
                    <a:pt x="310" y="24"/>
                  </a:cubicBezTo>
                  <a:lnTo>
                    <a:pt x="342" y="24"/>
                  </a:lnTo>
                  <a:lnTo>
                    <a:pt x="227" y="139"/>
                  </a:lnTo>
                  <a:lnTo>
                    <a:pt x="165" y="77"/>
                  </a:lnTo>
                  <a:cubicBezTo>
                    <a:pt x="160" y="72"/>
                    <a:pt x="153" y="72"/>
                    <a:pt x="148" y="77"/>
                  </a:cubicBezTo>
                  <a:lnTo>
                    <a:pt x="5" y="220"/>
                  </a:lnTo>
                  <a:cubicBezTo>
                    <a:pt x="0" y="225"/>
                    <a:pt x="0" y="232"/>
                    <a:pt x="5" y="2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FD51CF7-4127-5A0B-932E-3571B05DC00D}"/>
              </a:ext>
            </a:extLst>
          </p:cNvPr>
          <p:cNvGrpSpPr/>
          <p:nvPr userDrawn="1"/>
        </p:nvGrpSpPr>
        <p:grpSpPr>
          <a:xfrm>
            <a:off x="2290763" y="4432300"/>
            <a:ext cx="288925" cy="304800"/>
            <a:chOff x="2290763" y="4432300"/>
            <a:chExt cx="288925" cy="304800"/>
          </a:xfrm>
        </p:grpSpPr>
        <p:sp>
          <p:nvSpPr>
            <p:cNvPr id="101" name="Freeform 13">
              <a:extLst>
                <a:ext uri="{FF2B5EF4-FFF2-40B4-BE49-F238E27FC236}">
                  <a16:creationId xmlns:a16="http://schemas.microsoft.com/office/drawing/2014/main" id="{B134B372-187B-43B5-F7CD-16CEAC26A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1725" y="4527550"/>
              <a:ext cx="36513" cy="57150"/>
            </a:xfrm>
            <a:custGeom>
              <a:avLst/>
              <a:gdLst>
                <a:gd name="T0" fmla="*/ 76 w 100"/>
                <a:gd name="T1" fmla="*/ 4 h 156"/>
                <a:gd name="T2" fmla="*/ 0 w 100"/>
                <a:gd name="T3" fmla="*/ 142 h 156"/>
                <a:gd name="T4" fmla="*/ 14 w 100"/>
                <a:gd name="T5" fmla="*/ 156 h 156"/>
                <a:gd name="T6" fmla="*/ 28 w 100"/>
                <a:gd name="T7" fmla="*/ 142 h 156"/>
                <a:gd name="T8" fmla="*/ 91 w 100"/>
                <a:gd name="T9" fmla="*/ 28 h 156"/>
                <a:gd name="T10" fmla="*/ 96 w 100"/>
                <a:gd name="T11" fmla="*/ 9 h 156"/>
                <a:gd name="T12" fmla="*/ 76 w 100"/>
                <a:gd name="T13" fmla="*/ 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156">
                  <a:moveTo>
                    <a:pt x="76" y="4"/>
                  </a:moveTo>
                  <a:cubicBezTo>
                    <a:pt x="29" y="34"/>
                    <a:pt x="1" y="86"/>
                    <a:pt x="0" y="142"/>
                  </a:cubicBezTo>
                  <a:cubicBezTo>
                    <a:pt x="0" y="150"/>
                    <a:pt x="6" y="156"/>
                    <a:pt x="14" y="156"/>
                  </a:cubicBezTo>
                  <a:cubicBezTo>
                    <a:pt x="21" y="156"/>
                    <a:pt x="28" y="150"/>
                    <a:pt x="28" y="142"/>
                  </a:cubicBezTo>
                  <a:cubicBezTo>
                    <a:pt x="29" y="96"/>
                    <a:pt x="52" y="53"/>
                    <a:pt x="91" y="28"/>
                  </a:cubicBezTo>
                  <a:cubicBezTo>
                    <a:pt x="97" y="24"/>
                    <a:pt x="100" y="15"/>
                    <a:pt x="96" y="9"/>
                  </a:cubicBezTo>
                  <a:cubicBezTo>
                    <a:pt x="92" y="2"/>
                    <a:pt x="83" y="0"/>
                    <a:pt x="76" y="4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14">
              <a:extLst>
                <a:ext uri="{FF2B5EF4-FFF2-40B4-BE49-F238E27FC236}">
                  <a16:creationId xmlns:a16="http://schemas.microsoft.com/office/drawing/2014/main" id="{8A55087D-D460-6A2C-26DD-44F78F3BFD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90763" y="4432300"/>
              <a:ext cx="288925" cy="304800"/>
            </a:xfrm>
            <a:custGeom>
              <a:avLst/>
              <a:gdLst>
                <a:gd name="T0" fmla="*/ 490 w 802"/>
                <a:gd name="T1" fmla="*/ 407 h 842"/>
                <a:gd name="T2" fmla="*/ 563 w 802"/>
                <a:gd name="T3" fmla="*/ 281 h 842"/>
                <a:gd name="T4" fmla="*/ 639 w 802"/>
                <a:gd name="T5" fmla="*/ 197 h 842"/>
                <a:gd name="T6" fmla="*/ 519 w 802"/>
                <a:gd name="T7" fmla="*/ 160 h 842"/>
                <a:gd name="T8" fmla="*/ 709 w 802"/>
                <a:gd name="T9" fmla="*/ 168 h 842"/>
                <a:gd name="T10" fmla="*/ 633 w 802"/>
                <a:gd name="T11" fmla="*/ 84 h 842"/>
                <a:gd name="T12" fmla="*/ 535 w 802"/>
                <a:gd name="T13" fmla="*/ 105 h 842"/>
                <a:gd name="T14" fmla="*/ 477 w 802"/>
                <a:gd name="T15" fmla="*/ 0 h 842"/>
                <a:gd name="T16" fmla="*/ 337 w 802"/>
                <a:gd name="T17" fmla="*/ 95 h 842"/>
                <a:gd name="T18" fmla="*/ 183 w 802"/>
                <a:gd name="T19" fmla="*/ 75 h 842"/>
                <a:gd name="T20" fmla="*/ 84 w 802"/>
                <a:gd name="T21" fmla="*/ 163 h 842"/>
                <a:gd name="T22" fmla="*/ 131 w 802"/>
                <a:gd name="T23" fmla="*/ 250 h 842"/>
                <a:gd name="T24" fmla="*/ 0 w 802"/>
                <a:gd name="T25" fmla="*/ 365 h 842"/>
                <a:gd name="T26" fmla="*/ 95 w 802"/>
                <a:gd name="T27" fmla="*/ 505 h 842"/>
                <a:gd name="T28" fmla="*/ 75 w 802"/>
                <a:gd name="T29" fmla="*/ 659 h 842"/>
                <a:gd name="T30" fmla="*/ 183 w 802"/>
                <a:gd name="T31" fmla="*/ 767 h 842"/>
                <a:gd name="T32" fmla="*/ 250 w 802"/>
                <a:gd name="T33" fmla="*/ 711 h 842"/>
                <a:gd name="T34" fmla="*/ 365 w 802"/>
                <a:gd name="T35" fmla="*/ 842 h 842"/>
                <a:gd name="T36" fmla="*/ 505 w 802"/>
                <a:gd name="T37" fmla="*/ 747 h 842"/>
                <a:gd name="T38" fmla="*/ 567 w 802"/>
                <a:gd name="T39" fmla="*/ 758 h 842"/>
                <a:gd name="T40" fmla="*/ 772 w 802"/>
                <a:gd name="T41" fmla="*/ 744 h 842"/>
                <a:gd name="T42" fmla="*/ 567 w 802"/>
                <a:gd name="T43" fmla="*/ 730 h 842"/>
                <a:gd name="T44" fmla="*/ 563 w 802"/>
                <a:gd name="T45" fmla="*/ 590 h 842"/>
                <a:gd name="T46" fmla="*/ 639 w 802"/>
                <a:gd name="T47" fmla="*/ 506 h 842"/>
                <a:gd name="T48" fmla="*/ 466 w 802"/>
                <a:gd name="T49" fmla="*/ 474 h 842"/>
                <a:gd name="T50" fmla="*/ 739 w 802"/>
                <a:gd name="T51" fmla="*/ 491 h 842"/>
                <a:gd name="T52" fmla="*/ 702 w 802"/>
                <a:gd name="T53" fmla="*/ 56 h 842"/>
                <a:gd name="T54" fmla="*/ 660 w 802"/>
                <a:gd name="T55" fmla="*/ 98 h 842"/>
                <a:gd name="T56" fmla="*/ 744 w 802"/>
                <a:gd name="T57" fmla="*/ 744 h 842"/>
                <a:gd name="T58" fmla="*/ 702 w 802"/>
                <a:gd name="T59" fmla="*/ 702 h 842"/>
                <a:gd name="T60" fmla="*/ 421 w 802"/>
                <a:gd name="T61" fmla="*/ 379 h 842"/>
                <a:gd name="T62" fmla="*/ 632 w 802"/>
                <a:gd name="T63" fmla="*/ 225 h 842"/>
                <a:gd name="T64" fmla="*/ 589 w 802"/>
                <a:gd name="T65" fmla="*/ 267 h 842"/>
                <a:gd name="T66" fmla="*/ 477 w 802"/>
                <a:gd name="T67" fmla="*/ 736 h 842"/>
                <a:gd name="T68" fmla="*/ 365 w 802"/>
                <a:gd name="T69" fmla="*/ 736 h 842"/>
                <a:gd name="T70" fmla="*/ 238 w 802"/>
                <a:gd name="T71" fmla="*/ 684 h 842"/>
                <a:gd name="T72" fmla="*/ 159 w 802"/>
                <a:gd name="T73" fmla="*/ 604 h 842"/>
                <a:gd name="T74" fmla="*/ 106 w 802"/>
                <a:gd name="T75" fmla="*/ 477 h 842"/>
                <a:gd name="T76" fmla="*/ 106 w 802"/>
                <a:gd name="T77" fmla="*/ 365 h 842"/>
                <a:gd name="T78" fmla="*/ 159 w 802"/>
                <a:gd name="T79" fmla="*/ 238 h 842"/>
                <a:gd name="T80" fmla="*/ 238 w 802"/>
                <a:gd name="T81" fmla="*/ 159 h 842"/>
                <a:gd name="T82" fmla="*/ 365 w 802"/>
                <a:gd name="T83" fmla="*/ 106 h 842"/>
                <a:gd name="T84" fmla="*/ 477 w 802"/>
                <a:gd name="T85" fmla="*/ 106 h 842"/>
                <a:gd name="T86" fmla="*/ 499 w 802"/>
                <a:gd name="T87" fmla="*/ 140 h 842"/>
                <a:gd name="T88" fmla="*/ 215 w 802"/>
                <a:gd name="T89" fmla="*/ 275 h 842"/>
                <a:gd name="T90" fmla="*/ 491 w 802"/>
                <a:gd name="T91" fmla="*/ 682 h 842"/>
                <a:gd name="T92" fmla="*/ 488 w 802"/>
                <a:gd name="T93" fmla="*/ 722 h 842"/>
                <a:gd name="T94" fmla="*/ 632 w 802"/>
                <a:gd name="T95" fmla="*/ 618 h 842"/>
                <a:gd name="T96" fmla="*/ 491 w 802"/>
                <a:gd name="T97" fmla="*/ 579 h 842"/>
                <a:gd name="T98" fmla="*/ 239 w 802"/>
                <a:gd name="T99" fmla="*/ 289 h 842"/>
                <a:gd name="T100" fmla="*/ 442 w 802"/>
                <a:gd name="T101" fmla="*/ 354 h 842"/>
                <a:gd name="T102" fmla="*/ 421 w 802"/>
                <a:gd name="T103" fmla="*/ 491 h 842"/>
                <a:gd name="T104" fmla="*/ 730 w 802"/>
                <a:gd name="T105" fmla="*/ 463 h 842"/>
                <a:gd name="T106" fmla="*/ 772 w 802"/>
                <a:gd name="T107" fmla="*/ 421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02" h="842">
                  <a:moveTo>
                    <a:pt x="730" y="351"/>
                  </a:moveTo>
                  <a:cubicBezTo>
                    <a:pt x="696" y="351"/>
                    <a:pt x="668" y="374"/>
                    <a:pt x="661" y="407"/>
                  </a:cubicBezTo>
                  <a:lnTo>
                    <a:pt x="490" y="407"/>
                  </a:lnTo>
                  <a:cubicBezTo>
                    <a:pt x="486" y="392"/>
                    <a:pt x="478" y="378"/>
                    <a:pt x="466" y="368"/>
                  </a:cubicBezTo>
                  <a:lnTo>
                    <a:pt x="514" y="281"/>
                  </a:lnTo>
                  <a:lnTo>
                    <a:pt x="563" y="281"/>
                  </a:lnTo>
                  <a:cubicBezTo>
                    <a:pt x="570" y="316"/>
                    <a:pt x="603" y="340"/>
                    <a:pt x="639" y="337"/>
                  </a:cubicBezTo>
                  <a:cubicBezTo>
                    <a:pt x="674" y="333"/>
                    <a:pt x="702" y="303"/>
                    <a:pt x="702" y="267"/>
                  </a:cubicBezTo>
                  <a:cubicBezTo>
                    <a:pt x="702" y="231"/>
                    <a:pt x="674" y="201"/>
                    <a:pt x="639" y="197"/>
                  </a:cubicBezTo>
                  <a:cubicBezTo>
                    <a:pt x="603" y="193"/>
                    <a:pt x="570" y="217"/>
                    <a:pt x="563" y="253"/>
                  </a:cubicBezTo>
                  <a:lnTo>
                    <a:pt x="519" y="253"/>
                  </a:lnTo>
                  <a:lnTo>
                    <a:pt x="519" y="160"/>
                  </a:lnTo>
                  <a:lnTo>
                    <a:pt x="567" y="112"/>
                  </a:lnTo>
                  <a:lnTo>
                    <a:pt x="633" y="112"/>
                  </a:lnTo>
                  <a:cubicBezTo>
                    <a:pt x="640" y="148"/>
                    <a:pt x="673" y="172"/>
                    <a:pt x="709" y="168"/>
                  </a:cubicBezTo>
                  <a:cubicBezTo>
                    <a:pt x="745" y="165"/>
                    <a:pt x="772" y="134"/>
                    <a:pt x="772" y="98"/>
                  </a:cubicBezTo>
                  <a:cubicBezTo>
                    <a:pt x="772" y="62"/>
                    <a:pt x="745" y="32"/>
                    <a:pt x="709" y="29"/>
                  </a:cubicBezTo>
                  <a:cubicBezTo>
                    <a:pt x="673" y="25"/>
                    <a:pt x="640" y="49"/>
                    <a:pt x="633" y="84"/>
                  </a:cubicBezTo>
                  <a:lnTo>
                    <a:pt x="567" y="84"/>
                  </a:lnTo>
                  <a:cubicBezTo>
                    <a:pt x="560" y="84"/>
                    <a:pt x="553" y="87"/>
                    <a:pt x="547" y="93"/>
                  </a:cubicBezTo>
                  <a:lnTo>
                    <a:pt x="535" y="105"/>
                  </a:lnTo>
                  <a:cubicBezTo>
                    <a:pt x="525" y="101"/>
                    <a:pt x="515" y="98"/>
                    <a:pt x="505" y="95"/>
                  </a:cubicBezTo>
                  <a:lnTo>
                    <a:pt x="505" y="28"/>
                  </a:lnTo>
                  <a:cubicBezTo>
                    <a:pt x="505" y="13"/>
                    <a:pt x="493" y="0"/>
                    <a:pt x="477" y="0"/>
                  </a:cubicBezTo>
                  <a:lnTo>
                    <a:pt x="365" y="0"/>
                  </a:lnTo>
                  <a:cubicBezTo>
                    <a:pt x="349" y="0"/>
                    <a:pt x="337" y="13"/>
                    <a:pt x="337" y="28"/>
                  </a:cubicBezTo>
                  <a:lnTo>
                    <a:pt x="337" y="95"/>
                  </a:lnTo>
                  <a:cubicBezTo>
                    <a:pt x="306" y="103"/>
                    <a:pt x="277" y="115"/>
                    <a:pt x="250" y="131"/>
                  </a:cubicBezTo>
                  <a:lnTo>
                    <a:pt x="203" y="84"/>
                  </a:lnTo>
                  <a:cubicBezTo>
                    <a:pt x="198" y="79"/>
                    <a:pt x="190" y="75"/>
                    <a:pt x="183" y="75"/>
                  </a:cubicBezTo>
                  <a:lnTo>
                    <a:pt x="183" y="75"/>
                  </a:lnTo>
                  <a:cubicBezTo>
                    <a:pt x="175" y="75"/>
                    <a:pt x="168" y="78"/>
                    <a:pt x="163" y="84"/>
                  </a:cubicBezTo>
                  <a:lnTo>
                    <a:pt x="84" y="163"/>
                  </a:lnTo>
                  <a:cubicBezTo>
                    <a:pt x="78" y="168"/>
                    <a:pt x="75" y="175"/>
                    <a:pt x="75" y="183"/>
                  </a:cubicBezTo>
                  <a:cubicBezTo>
                    <a:pt x="75" y="190"/>
                    <a:pt x="78" y="198"/>
                    <a:pt x="84" y="203"/>
                  </a:cubicBezTo>
                  <a:lnTo>
                    <a:pt x="131" y="250"/>
                  </a:lnTo>
                  <a:cubicBezTo>
                    <a:pt x="115" y="277"/>
                    <a:pt x="103" y="306"/>
                    <a:pt x="95" y="337"/>
                  </a:cubicBezTo>
                  <a:lnTo>
                    <a:pt x="28" y="337"/>
                  </a:lnTo>
                  <a:cubicBezTo>
                    <a:pt x="13" y="337"/>
                    <a:pt x="0" y="350"/>
                    <a:pt x="0" y="365"/>
                  </a:cubicBezTo>
                  <a:lnTo>
                    <a:pt x="0" y="477"/>
                  </a:lnTo>
                  <a:cubicBezTo>
                    <a:pt x="0" y="493"/>
                    <a:pt x="13" y="505"/>
                    <a:pt x="28" y="505"/>
                  </a:cubicBezTo>
                  <a:lnTo>
                    <a:pt x="95" y="505"/>
                  </a:lnTo>
                  <a:cubicBezTo>
                    <a:pt x="103" y="536"/>
                    <a:pt x="115" y="565"/>
                    <a:pt x="131" y="592"/>
                  </a:cubicBezTo>
                  <a:lnTo>
                    <a:pt x="84" y="639"/>
                  </a:lnTo>
                  <a:cubicBezTo>
                    <a:pt x="78" y="645"/>
                    <a:pt x="75" y="652"/>
                    <a:pt x="75" y="659"/>
                  </a:cubicBezTo>
                  <a:cubicBezTo>
                    <a:pt x="75" y="667"/>
                    <a:pt x="78" y="674"/>
                    <a:pt x="84" y="679"/>
                  </a:cubicBezTo>
                  <a:lnTo>
                    <a:pt x="163" y="758"/>
                  </a:lnTo>
                  <a:cubicBezTo>
                    <a:pt x="168" y="764"/>
                    <a:pt x="175" y="767"/>
                    <a:pt x="183" y="767"/>
                  </a:cubicBezTo>
                  <a:lnTo>
                    <a:pt x="183" y="767"/>
                  </a:lnTo>
                  <a:cubicBezTo>
                    <a:pt x="190" y="767"/>
                    <a:pt x="197" y="764"/>
                    <a:pt x="203" y="759"/>
                  </a:cubicBezTo>
                  <a:lnTo>
                    <a:pt x="250" y="711"/>
                  </a:lnTo>
                  <a:cubicBezTo>
                    <a:pt x="277" y="727"/>
                    <a:pt x="306" y="739"/>
                    <a:pt x="337" y="747"/>
                  </a:cubicBezTo>
                  <a:lnTo>
                    <a:pt x="337" y="814"/>
                  </a:lnTo>
                  <a:cubicBezTo>
                    <a:pt x="337" y="830"/>
                    <a:pt x="349" y="842"/>
                    <a:pt x="365" y="842"/>
                  </a:cubicBezTo>
                  <a:lnTo>
                    <a:pt x="477" y="842"/>
                  </a:lnTo>
                  <a:cubicBezTo>
                    <a:pt x="493" y="842"/>
                    <a:pt x="505" y="830"/>
                    <a:pt x="505" y="814"/>
                  </a:cubicBezTo>
                  <a:lnTo>
                    <a:pt x="505" y="747"/>
                  </a:lnTo>
                  <a:cubicBezTo>
                    <a:pt x="515" y="745"/>
                    <a:pt x="525" y="741"/>
                    <a:pt x="535" y="738"/>
                  </a:cubicBezTo>
                  <a:lnTo>
                    <a:pt x="547" y="750"/>
                  </a:lnTo>
                  <a:cubicBezTo>
                    <a:pt x="553" y="755"/>
                    <a:pt x="560" y="758"/>
                    <a:pt x="567" y="758"/>
                  </a:cubicBezTo>
                  <a:lnTo>
                    <a:pt x="633" y="758"/>
                  </a:lnTo>
                  <a:cubicBezTo>
                    <a:pt x="640" y="793"/>
                    <a:pt x="673" y="817"/>
                    <a:pt x="709" y="814"/>
                  </a:cubicBezTo>
                  <a:cubicBezTo>
                    <a:pt x="745" y="810"/>
                    <a:pt x="772" y="780"/>
                    <a:pt x="772" y="744"/>
                  </a:cubicBezTo>
                  <a:cubicBezTo>
                    <a:pt x="772" y="708"/>
                    <a:pt x="745" y="678"/>
                    <a:pt x="709" y="674"/>
                  </a:cubicBezTo>
                  <a:cubicBezTo>
                    <a:pt x="673" y="671"/>
                    <a:pt x="640" y="695"/>
                    <a:pt x="633" y="730"/>
                  </a:cubicBezTo>
                  <a:lnTo>
                    <a:pt x="567" y="730"/>
                  </a:lnTo>
                  <a:lnTo>
                    <a:pt x="519" y="682"/>
                  </a:lnTo>
                  <a:lnTo>
                    <a:pt x="519" y="590"/>
                  </a:lnTo>
                  <a:lnTo>
                    <a:pt x="563" y="590"/>
                  </a:lnTo>
                  <a:cubicBezTo>
                    <a:pt x="570" y="625"/>
                    <a:pt x="603" y="649"/>
                    <a:pt x="639" y="645"/>
                  </a:cubicBezTo>
                  <a:cubicBezTo>
                    <a:pt x="674" y="642"/>
                    <a:pt x="702" y="612"/>
                    <a:pt x="702" y="576"/>
                  </a:cubicBezTo>
                  <a:cubicBezTo>
                    <a:pt x="702" y="540"/>
                    <a:pt x="674" y="509"/>
                    <a:pt x="639" y="506"/>
                  </a:cubicBezTo>
                  <a:cubicBezTo>
                    <a:pt x="603" y="502"/>
                    <a:pt x="570" y="526"/>
                    <a:pt x="563" y="562"/>
                  </a:cubicBezTo>
                  <a:lnTo>
                    <a:pt x="514" y="562"/>
                  </a:lnTo>
                  <a:lnTo>
                    <a:pt x="466" y="474"/>
                  </a:lnTo>
                  <a:cubicBezTo>
                    <a:pt x="478" y="464"/>
                    <a:pt x="486" y="451"/>
                    <a:pt x="490" y="435"/>
                  </a:cubicBezTo>
                  <a:lnTo>
                    <a:pt x="661" y="435"/>
                  </a:lnTo>
                  <a:cubicBezTo>
                    <a:pt x="668" y="471"/>
                    <a:pt x="703" y="496"/>
                    <a:pt x="739" y="491"/>
                  </a:cubicBezTo>
                  <a:cubicBezTo>
                    <a:pt x="776" y="486"/>
                    <a:pt x="802" y="453"/>
                    <a:pt x="800" y="416"/>
                  </a:cubicBezTo>
                  <a:cubicBezTo>
                    <a:pt x="797" y="380"/>
                    <a:pt x="767" y="351"/>
                    <a:pt x="730" y="351"/>
                  </a:cubicBezTo>
                  <a:close/>
                  <a:moveTo>
                    <a:pt x="702" y="56"/>
                  </a:moveTo>
                  <a:cubicBezTo>
                    <a:pt x="725" y="56"/>
                    <a:pt x="744" y="75"/>
                    <a:pt x="744" y="98"/>
                  </a:cubicBezTo>
                  <a:cubicBezTo>
                    <a:pt x="744" y="122"/>
                    <a:pt x="725" y="140"/>
                    <a:pt x="702" y="140"/>
                  </a:cubicBezTo>
                  <a:cubicBezTo>
                    <a:pt x="678" y="140"/>
                    <a:pt x="660" y="122"/>
                    <a:pt x="660" y="98"/>
                  </a:cubicBezTo>
                  <a:cubicBezTo>
                    <a:pt x="660" y="75"/>
                    <a:pt x="678" y="56"/>
                    <a:pt x="702" y="56"/>
                  </a:cubicBezTo>
                  <a:close/>
                  <a:moveTo>
                    <a:pt x="702" y="702"/>
                  </a:moveTo>
                  <a:cubicBezTo>
                    <a:pt x="725" y="702"/>
                    <a:pt x="744" y="721"/>
                    <a:pt x="744" y="744"/>
                  </a:cubicBezTo>
                  <a:cubicBezTo>
                    <a:pt x="744" y="767"/>
                    <a:pt x="725" y="786"/>
                    <a:pt x="702" y="786"/>
                  </a:cubicBezTo>
                  <a:cubicBezTo>
                    <a:pt x="678" y="786"/>
                    <a:pt x="660" y="767"/>
                    <a:pt x="660" y="744"/>
                  </a:cubicBezTo>
                  <a:cubicBezTo>
                    <a:pt x="660" y="721"/>
                    <a:pt x="678" y="702"/>
                    <a:pt x="702" y="702"/>
                  </a:cubicBezTo>
                  <a:close/>
                  <a:moveTo>
                    <a:pt x="421" y="463"/>
                  </a:moveTo>
                  <a:cubicBezTo>
                    <a:pt x="398" y="463"/>
                    <a:pt x="379" y="444"/>
                    <a:pt x="379" y="421"/>
                  </a:cubicBezTo>
                  <a:cubicBezTo>
                    <a:pt x="379" y="398"/>
                    <a:pt x="398" y="379"/>
                    <a:pt x="421" y="379"/>
                  </a:cubicBezTo>
                  <a:cubicBezTo>
                    <a:pt x="444" y="379"/>
                    <a:pt x="463" y="398"/>
                    <a:pt x="463" y="421"/>
                  </a:cubicBezTo>
                  <a:cubicBezTo>
                    <a:pt x="463" y="444"/>
                    <a:pt x="444" y="463"/>
                    <a:pt x="421" y="463"/>
                  </a:cubicBezTo>
                  <a:close/>
                  <a:moveTo>
                    <a:pt x="632" y="225"/>
                  </a:moveTo>
                  <a:cubicBezTo>
                    <a:pt x="655" y="225"/>
                    <a:pt x="674" y="244"/>
                    <a:pt x="674" y="267"/>
                  </a:cubicBezTo>
                  <a:cubicBezTo>
                    <a:pt x="674" y="290"/>
                    <a:pt x="655" y="309"/>
                    <a:pt x="632" y="309"/>
                  </a:cubicBezTo>
                  <a:cubicBezTo>
                    <a:pt x="608" y="309"/>
                    <a:pt x="589" y="290"/>
                    <a:pt x="589" y="267"/>
                  </a:cubicBezTo>
                  <a:cubicBezTo>
                    <a:pt x="589" y="244"/>
                    <a:pt x="608" y="225"/>
                    <a:pt x="632" y="225"/>
                  </a:cubicBezTo>
                  <a:close/>
                  <a:moveTo>
                    <a:pt x="488" y="722"/>
                  </a:moveTo>
                  <a:cubicBezTo>
                    <a:pt x="482" y="724"/>
                    <a:pt x="477" y="730"/>
                    <a:pt x="477" y="736"/>
                  </a:cubicBezTo>
                  <a:lnTo>
                    <a:pt x="477" y="814"/>
                  </a:lnTo>
                  <a:lnTo>
                    <a:pt x="365" y="814"/>
                  </a:lnTo>
                  <a:lnTo>
                    <a:pt x="365" y="736"/>
                  </a:lnTo>
                  <a:cubicBezTo>
                    <a:pt x="365" y="730"/>
                    <a:pt x="360" y="724"/>
                    <a:pt x="354" y="722"/>
                  </a:cubicBezTo>
                  <a:cubicBezTo>
                    <a:pt x="319" y="715"/>
                    <a:pt x="286" y="701"/>
                    <a:pt x="255" y="682"/>
                  </a:cubicBezTo>
                  <a:cubicBezTo>
                    <a:pt x="250" y="678"/>
                    <a:pt x="243" y="679"/>
                    <a:pt x="238" y="684"/>
                  </a:cubicBezTo>
                  <a:lnTo>
                    <a:pt x="183" y="739"/>
                  </a:lnTo>
                  <a:lnTo>
                    <a:pt x="103" y="659"/>
                  </a:lnTo>
                  <a:lnTo>
                    <a:pt x="159" y="604"/>
                  </a:lnTo>
                  <a:cubicBezTo>
                    <a:pt x="163" y="600"/>
                    <a:pt x="164" y="592"/>
                    <a:pt x="160" y="587"/>
                  </a:cubicBezTo>
                  <a:cubicBezTo>
                    <a:pt x="141" y="557"/>
                    <a:pt x="127" y="523"/>
                    <a:pt x="120" y="488"/>
                  </a:cubicBezTo>
                  <a:cubicBezTo>
                    <a:pt x="118" y="482"/>
                    <a:pt x="113" y="477"/>
                    <a:pt x="106" y="477"/>
                  </a:cubicBezTo>
                  <a:lnTo>
                    <a:pt x="28" y="477"/>
                  </a:lnTo>
                  <a:lnTo>
                    <a:pt x="28" y="365"/>
                  </a:lnTo>
                  <a:lnTo>
                    <a:pt x="106" y="365"/>
                  </a:lnTo>
                  <a:cubicBezTo>
                    <a:pt x="113" y="365"/>
                    <a:pt x="118" y="360"/>
                    <a:pt x="120" y="354"/>
                  </a:cubicBezTo>
                  <a:cubicBezTo>
                    <a:pt x="127" y="319"/>
                    <a:pt x="141" y="286"/>
                    <a:pt x="160" y="255"/>
                  </a:cubicBezTo>
                  <a:cubicBezTo>
                    <a:pt x="164" y="250"/>
                    <a:pt x="163" y="243"/>
                    <a:pt x="159" y="238"/>
                  </a:cubicBezTo>
                  <a:lnTo>
                    <a:pt x="103" y="183"/>
                  </a:lnTo>
                  <a:lnTo>
                    <a:pt x="183" y="104"/>
                  </a:lnTo>
                  <a:lnTo>
                    <a:pt x="238" y="159"/>
                  </a:lnTo>
                  <a:cubicBezTo>
                    <a:pt x="243" y="163"/>
                    <a:pt x="250" y="164"/>
                    <a:pt x="255" y="161"/>
                  </a:cubicBezTo>
                  <a:cubicBezTo>
                    <a:pt x="286" y="141"/>
                    <a:pt x="319" y="128"/>
                    <a:pt x="354" y="120"/>
                  </a:cubicBezTo>
                  <a:cubicBezTo>
                    <a:pt x="360" y="119"/>
                    <a:pt x="365" y="113"/>
                    <a:pt x="365" y="106"/>
                  </a:cubicBezTo>
                  <a:lnTo>
                    <a:pt x="365" y="28"/>
                  </a:lnTo>
                  <a:lnTo>
                    <a:pt x="477" y="28"/>
                  </a:lnTo>
                  <a:lnTo>
                    <a:pt x="477" y="106"/>
                  </a:lnTo>
                  <a:cubicBezTo>
                    <a:pt x="477" y="113"/>
                    <a:pt x="482" y="119"/>
                    <a:pt x="488" y="120"/>
                  </a:cubicBezTo>
                  <a:cubicBezTo>
                    <a:pt x="497" y="122"/>
                    <a:pt x="505" y="124"/>
                    <a:pt x="513" y="127"/>
                  </a:cubicBezTo>
                  <a:lnTo>
                    <a:pt x="499" y="140"/>
                  </a:lnTo>
                  <a:cubicBezTo>
                    <a:pt x="494" y="146"/>
                    <a:pt x="491" y="153"/>
                    <a:pt x="491" y="160"/>
                  </a:cubicBezTo>
                  <a:lnTo>
                    <a:pt x="491" y="179"/>
                  </a:lnTo>
                  <a:cubicBezTo>
                    <a:pt x="388" y="149"/>
                    <a:pt x="277" y="187"/>
                    <a:pt x="215" y="275"/>
                  </a:cubicBezTo>
                  <a:cubicBezTo>
                    <a:pt x="153" y="362"/>
                    <a:pt x="153" y="480"/>
                    <a:pt x="215" y="567"/>
                  </a:cubicBezTo>
                  <a:cubicBezTo>
                    <a:pt x="277" y="655"/>
                    <a:pt x="388" y="694"/>
                    <a:pt x="491" y="664"/>
                  </a:cubicBezTo>
                  <a:lnTo>
                    <a:pt x="491" y="682"/>
                  </a:lnTo>
                  <a:cubicBezTo>
                    <a:pt x="491" y="689"/>
                    <a:pt x="494" y="697"/>
                    <a:pt x="499" y="702"/>
                  </a:cubicBezTo>
                  <a:lnTo>
                    <a:pt x="513" y="716"/>
                  </a:lnTo>
                  <a:cubicBezTo>
                    <a:pt x="505" y="718"/>
                    <a:pt x="497" y="720"/>
                    <a:pt x="488" y="722"/>
                  </a:cubicBezTo>
                  <a:close/>
                  <a:moveTo>
                    <a:pt x="632" y="533"/>
                  </a:moveTo>
                  <a:cubicBezTo>
                    <a:pt x="655" y="533"/>
                    <a:pt x="674" y="552"/>
                    <a:pt x="674" y="576"/>
                  </a:cubicBezTo>
                  <a:cubicBezTo>
                    <a:pt x="674" y="599"/>
                    <a:pt x="655" y="618"/>
                    <a:pt x="632" y="618"/>
                  </a:cubicBezTo>
                  <a:cubicBezTo>
                    <a:pt x="608" y="618"/>
                    <a:pt x="589" y="599"/>
                    <a:pt x="589" y="576"/>
                  </a:cubicBezTo>
                  <a:cubicBezTo>
                    <a:pt x="589" y="552"/>
                    <a:pt x="608" y="533"/>
                    <a:pt x="632" y="533"/>
                  </a:cubicBezTo>
                  <a:close/>
                  <a:moveTo>
                    <a:pt x="491" y="579"/>
                  </a:moveTo>
                  <a:lnTo>
                    <a:pt x="491" y="634"/>
                  </a:lnTo>
                  <a:cubicBezTo>
                    <a:pt x="398" y="665"/>
                    <a:pt x="297" y="632"/>
                    <a:pt x="239" y="554"/>
                  </a:cubicBezTo>
                  <a:cubicBezTo>
                    <a:pt x="182" y="475"/>
                    <a:pt x="182" y="368"/>
                    <a:pt x="239" y="289"/>
                  </a:cubicBezTo>
                  <a:cubicBezTo>
                    <a:pt x="297" y="210"/>
                    <a:pt x="398" y="177"/>
                    <a:pt x="491" y="208"/>
                  </a:cubicBezTo>
                  <a:lnTo>
                    <a:pt x="491" y="263"/>
                  </a:lnTo>
                  <a:lnTo>
                    <a:pt x="442" y="354"/>
                  </a:lnTo>
                  <a:cubicBezTo>
                    <a:pt x="435" y="352"/>
                    <a:pt x="428" y="351"/>
                    <a:pt x="421" y="351"/>
                  </a:cubicBezTo>
                  <a:cubicBezTo>
                    <a:pt x="382" y="351"/>
                    <a:pt x="351" y="382"/>
                    <a:pt x="351" y="421"/>
                  </a:cubicBezTo>
                  <a:cubicBezTo>
                    <a:pt x="351" y="460"/>
                    <a:pt x="382" y="491"/>
                    <a:pt x="421" y="491"/>
                  </a:cubicBezTo>
                  <a:cubicBezTo>
                    <a:pt x="428" y="491"/>
                    <a:pt x="435" y="490"/>
                    <a:pt x="442" y="488"/>
                  </a:cubicBezTo>
                  <a:lnTo>
                    <a:pt x="491" y="579"/>
                  </a:lnTo>
                  <a:close/>
                  <a:moveTo>
                    <a:pt x="730" y="463"/>
                  </a:moveTo>
                  <a:cubicBezTo>
                    <a:pt x="707" y="463"/>
                    <a:pt x="688" y="444"/>
                    <a:pt x="688" y="421"/>
                  </a:cubicBezTo>
                  <a:cubicBezTo>
                    <a:pt x="688" y="398"/>
                    <a:pt x="707" y="379"/>
                    <a:pt x="730" y="379"/>
                  </a:cubicBezTo>
                  <a:cubicBezTo>
                    <a:pt x="753" y="379"/>
                    <a:pt x="772" y="398"/>
                    <a:pt x="772" y="421"/>
                  </a:cubicBezTo>
                  <a:cubicBezTo>
                    <a:pt x="772" y="444"/>
                    <a:pt x="753" y="463"/>
                    <a:pt x="730" y="463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6821C35E-307F-1D5A-D744-558619C09493}"/>
              </a:ext>
            </a:extLst>
          </p:cNvPr>
          <p:cNvGrpSpPr/>
          <p:nvPr userDrawn="1"/>
        </p:nvGrpSpPr>
        <p:grpSpPr>
          <a:xfrm>
            <a:off x="4251325" y="4433888"/>
            <a:ext cx="288925" cy="261937"/>
            <a:chOff x="4251325" y="4433888"/>
            <a:chExt cx="288925" cy="261937"/>
          </a:xfrm>
        </p:grpSpPr>
        <p:sp>
          <p:nvSpPr>
            <p:cNvPr id="104" name="Freeform 17">
              <a:extLst>
                <a:ext uri="{FF2B5EF4-FFF2-40B4-BE49-F238E27FC236}">
                  <a16:creationId xmlns:a16="http://schemas.microsoft.com/office/drawing/2014/main" id="{E1474FCE-7465-6E5C-9EAA-B80EFBE961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1650" y="4433888"/>
              <a:ext cx="228600" cy="261937"/>
            </a:xfrm>
            <a:custGeom>
              <a:avLst/>
              <a:gdLst>
                <a:gd name="T0" fmla="*/ 590 w 634"/>
                <a:gd name="T1" fmla="*/ 121 h 723"/>
                <a:gd name="T2" fmla="*/ 373 w 634"/>
                <a:gd name="T3" fmla="*/ 121 h 723"/>
                <a:gd name="T4" fmla="*/ 373 w 634"/>
                <a:gd name="T5" fmla="*/ 62 h 723"/>
                <a:gd name="T6" fmla="*/ 310 w 634"/>
                <a:gd name="T7" fmla="*/ 0 h 723"/>
                <a:gd name="T8" fmla="*/ 158 w 634"/>
                <a:gd name="T9" fmla="*/ 0 h 723"/>
                <a:gd name="T10" fmla="*/ 95 w 634"/>
                <a:gd name="T11" fmla="*/ 62 h 723"/>
                <a:gd name="T12" fmla="*/ 95 w 634"/>
                <a:gd name="T13" fmla="*/ 121 h 723"/>
                <a:gd name="T14" fmla="*/ 12 w 634"/>
                <a:gd name="T15" fmla="*/ 121 h 723"/>
                <a:gd name="T16" fmla="*/ 0 w 634"/>
                <a:gd name="T17" fmla="*/ 133 h 723"/>
                <a:gd name="T18" fmla="*/ 12 w 634"/>
                <a:gd name="T19" fmla="*/ 144 h 723"/>
                <a:gd name="T20" fmla="*/ 590 w 634"/>
                <a:gd name="T21" fmla="*/ 144 h 723"/>
                <a:gd name="T22" fmla="*/ 611 w 634"/>
                <a:gd name="T23" fmla="*/ 165 h 723"/>
                <a:gd name="T24" fmla="*/ 611 w 634"/>
                <a:gd name="T25" fmla="*/ 316 h 723"/>
                <a:gd name="T26" fmla="*/ 604 w 634"/>
                <a:gd name="T27" fmla="*/ 331 h 723"/>
                <a:gd name="T28" fmla="*/ 536 w 634"/>
                <a:gd name="T29" fmla="*/ 397 h 723"/>
                <a:gd name="T30" fmla="*/ 522 w 634"/>
                <a:gd name="T31" fmla="*/ 403 h 723"/>
                <a:gd name="T32" fmla="*/ 258 w 634"/>
                <a:gd name="T33" fmla="*/ 403 h 723"/>
                <a:gd name="T34" fmla="*/ 246 w 634"/>
                <a:gd name="T35" fmla="*/ 415 h 723"/>
                <a:gd name="T36" fmla="*/ 258 w 634"/>
                <a:gd name="T37" fmla="*/ 426 h 723"/>
                <a:gd name="T38" fmla="*/ 363 w 634"/>
                <a:gd name="T39" fmla="*/ 426 h 723"/>
                <a:gd name="T40" fmla="*/ 363 w 634"/>
                <a:gd name="T41" fmla="*/ 467 h 723"/>
                <a:gd name="T42" fmla="*/ 416 w 634"/>
                <a:gd name="T43" fmla="*/ 519 h 723"/>
                <a:gd name="T44" fmla="*/ 468 w 634"/>
                <a:gd name="T45" fmla="*/ 467 h 723"/>
                <a:gd name="T46" fmla="*/ 468 w 634"/>
                <a:gd name="T47" fmla="*/ 426 h 723"/>
                <a:gd name="T48" fmla="*/ 522 w 634"/>
                <a:gd name="T49" fmla="*/ 426 h 723"/>
                <a:gd name="T50" fmla="*/ 552 w 634"/>
                <a:gd name="T51" fmla="*/ 414 h 723"/>
                <a:gd name="T52" fmla="*/ 591 w 634"/>
                <a:gd name="T53" fmla="*/ 377 h 723"/>
                <a:gd name="T54" fmla="*/ 591 w 634"/>
                <a:gd name="T55" fmla="*/ 679 h 723"/>
                <a:gd name="T56" fmla="*/ 570 w 634"/>
                <a:gd name="T57" fmla="*/ 699 h 723"/>
                <a:gd name="T58" fmla="*/ 76 w 634"/>
                <a:gd name="T59" fmla="*/ 699 h 723"/>
                <a:gd name="T60" fmla="*/ 64 w 634"/>
                <a:gd name="T61" fmla="*/ 711 h 723"/>
                <a:gd name="T62" fmla="*/ 76 w 634"/>
                <a:gd name="T63" fmla="*/ 723 h 723"/>
                <a:gd name="T64" fmla="*/ 570 w 634"/>
                <a:gd name="T65" fmla="*/ 723 h 723"/>
                <a:gd name="T66" fmla="*/ 614 w 634"/>
                <a:gd name="T67" fmla="*/ 679 h 723"/>
                <a:gd name="T68" fmla="*/ 614 w 634"/>
                <a:gd name="T69" fmla="*/ 354 h 723"/>
                <a:gd name="T70" fmla="*/ 621 w 634"/>
                <a:gd name="T71" fmla="*/ 348 h 723"/>
                <a:gd name="T72" fmla="*/ 634 w 634"/>
                <a:gd name="T73" fmla="*/ 316 h 723"/>
                <a:gd name="T74" fmla="*/ 634 w 634"/>
                <a:gd name="T75" fmla="*/ 165 h 723"/>
                <a:gd name="T76" fmla="*/ 590 w 634"/>
                <a:gd name="T77" fmla="*/ 121 h 723"/>
                <a:gd name="T78" fmla="*/ 294 w 634"/>
                <a:gd name="T79" fmla="*/ 121 h 723"/>
                <a:gd name="T80" fmla="*/ 174 w 634"/>
                <a:gd name="T81" fmla="*/ 121 h 723"/>
                <a:gd name="T82" fmla="*/ 174 w 634"/>
                <a:gd name="T83" fmla="*/ 78 h 723"/>
                <a:gd name="T84" fmla="*/ 294 w 634"/>
                <a:gd name="T85" fmla="*/ 78 h 723"/>
                <a:gd name="T86" fmla="*/ 294 w 634"/>
                <a:gd name="T87" fmla="*/ 121 h 723"/>
                <a:gd name="T88" fmla="*/ 317 w 634"/>
                <a:gd name="T89" fmla="*/ 121 h 723"/>
                <a:gd name="T90" fmla="*/ 317 w 634"/>
                <a:gd name="T91" fmla="*/ 67 h 723"/>
                <a:gd name="T92" fmla="*/ 306 w 634"/>
                <a:gd name="T93" fmla="*/ 55 h 723"/>
                <a:gd name="T94" fmla="*/ 163 w 634"/>
                <a:gd name="T95" fmla="*/ 55 h 723"/>
                <a:gd name="T96" fmla="*/ 151 w 634"/>
                <a:gd name="T97" fmla="*/ 67 h 723"/>
                <a:gd name="T98" fmla="*/ 151 w 634"/>
                <a:gd name="T99" fmla="*/ 121 h 723"/>
                <a:gd name="T100" fmla="*/ 119 w 634"/>
                <a:gd name="T101" fmla="*/ 121 h 723"/>
                <a:gd name="T102" fmla="*/ 119 w 634"/>
                <a:gd name="T103" fmla="*/ 62 h 723"/>
                <a:gd name="T104" fmla="*/ 158 w 634"/>
                <a:gd name="T105" fmla="*/ 23 h 723"/>
                <a:gd name="T106" fmla="*/ 310 w 634"/>
                <a:gd name="T107" fmla="*/ 23 h 723"/>
                <a:gd name="T108" fmla="*/ 349 w 634"/>
                <a:gd name="T109" fmla="*/ 62 h 723"/>
                <a:gd name="T110" fmla="*/ 349 w 634"/>
                <a:gd name="T111" fmla="*/ 121 h 723"/>
                <a:gd name="T112" fmla="*/ 317 w 634"/>
                <a:gd name="T113" fmla="*/ 121 h 723"/>
                <a:gd name="T114" fmla="*/ 445 w 634"/>
                <a:gd name="T115" fmla="*/ 467 h 723"/>
                <a:gd name="T116" fmla="*/ 416 w 634"/>
                <a:gd name="T117" fmla="*/ 496 h 723"/>
                <a:gd name="T118" fmla="*/ 387 w 634"/>
                <a:gd name="T119" fmla="*/ 467 h 723"/>
                <a:gd name="T120" fmla="*/ 387 w 634"/>
                <a:gd name="T121" fmla="*/ 426 h 723"/>
                <a:gd name="T122" fmla="*/ 445 w 634"/>
                <a:gd name="T123" fmla="*/ 426 h 723"/>
                <a:gd name="T124" fmla="*/ 445 w 634"/>
                <a:gd name="T125" fmla="*/ 467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34" h="723">
                  <a:moveTo>
                    <a:pt x="590" y="121"/>
                  </a:moveTo>
                  <a:lnTo>
                    <a:pt x="373" y="121"/>
                  </a:lnTo>
                  <a:lnTo>
                    <a:pt x="373" y="62"/>
                  </a:lnTo>
                  <a:cubicBezTo>
                    <a:pt x="373" y="28"/>
                    <a:pt x="345" y="0"/>
                    <a:pt x="310" y="0"/>
                  </a:cubicBezTo>
                  <a:lnTo>
                    <a:pt x="158" y="0"/>
                  </a:lnTo>
                  <a:cubicBezTo>
                    <a:pt x="124" y="0"/>
                    <a:pt x="95" y="28"/>
                    <a:pt x="95" y="62"/>
                  </a:cubicBezTo>
                  <a:lnTo>
                    <a:pt x="95" y="121"/>
                  </a:lnTo>
                  <a:lnTo>
                    <a:pt x="12" y="121"/>
                  </a:lnTo>
                  <a:cubicBezTo>
                    <a:pt x="6" y="121"/>
                    <a:pt x="0" y="126"/>
                    <a:pt x="0" y="133"/>
                  </a:cubicBezTo>
                  <a:cubicBezTo>
                    <a:pt x="0" y="139"/>
                    <a:pt x="6" y="144"/>
                    <a:pt x="12" y="144"/>
                  </a:cubicBezTo>
                  <a:lnTo>
                    <a:pt x="590" y="144"/>
                  </a:lnTo>
                  <a:cubicBezTo>
                    <a:pt x="601" y="144"/>
                    <a:pt x="611" y="154"/>
                    <a:pt x="611" y="165"/>
                  </a:cubicBezTo>
                  <a:lnTo>
                    <a:pt x="611" y="316"/>
                  </a:lnTo>
                  <a:cubicBezTo>
                    <a:pt x="611" y="321"/>
                    <a:pt x="608" y="327"/>
                    <a:pt x="604" y="331"/>
                  </a:cubicBezTo>
                  <a:lnTo>
                    <a:pt x="536" y="397"/>
                  </a:lnTo>
                  <a:cubicBezTo>
                    <a:pt x="532" y="401"/>
                    <a:pt x="527" y="403"/>
                    <a:pt x="522" y="403"/>
                  </a:cubicBezTo>
                  <a:lnTo>
                    <a:pt x="258" y="403"/>
                  </a:lnTo>
                  <a:cubicBezTo>
                    <a:pt x="251" y="403"/>
                    <a:pt x="246" y="408"/>
                    <a:pt x="246" y="415"/>
                  </a:cubicBezTo>
                  <a:cubicBezTo>
                    <a:pt x="246" y="421"/>
                    <a:pt x="251" y="426"/>
                    <a:pt x="258" y="426"/>
                  </a:cubicBezTo>
                  <a:lnTo>
                    <a:pt x="363" y="426"/>
                  </a:lnTo>
                  <a:lnTo>
                    <a:pt x="363" y="467"/>
                  </a:lnTo>
                  <a:cubicBezTo>
                    <a:pt x="363" y="496"/>
                    <a:pt x="387" y="519"/>
                    <a:pt x="416" y="519"/>
                  </a:cubicBezTo>
                  <a:cubicBezTo>
                    <a:pt x="445" y="519"/>
                    <a:pt x="468" y="496"/>
                    <a:pt x="468" y="467"/>
                  </a:cubicBezTo>
                  <a:lnTo>
                    <a:pt x="468" y="426"/>
                  </a:lnTo>
                  <a:lnTo>
                    <a:pt x="522" y="426"/>
                  </a:lnTo>
                  <a:cubicBezTo>
                    <a:pt x="533" y="426"/>
                    <a:pt x="544" y="422"/>
                    <a:pt x="552" y="414"/>
                  </a:cubicBezTo>
                  <a:lnTo>
                    <a:pt x="591" y="377"/>
                  </a:lnTo>
                  <a:lnTo>
                    <a:pt x="591" y="679"/>
                  </a:lnTo>
                  <a:cubicBezTo>
                    <a:pt x="591" y="690"/>
                    <a:pt x="581" y="699"/>
                    <a:pt x="570" y="699"/>
                  </a:cubicBezTo>
                  <a:lnTo>
                    <a:pt x="76" y="699"/>
                  </a:lnTo>
                  <a:cubicBezTo>
                    <a:pt x="70" y="699"/>
                    <a:pt x="64" y="705"/>
                    <a:pt x="64" y="711"/>
                  </a:cubicBezTo>
                  <a:cubicBezTo>
                    <a:pt x="64" y="718"/>
                    <a:pt x="70" y="723"/>
                    <a:pt x="76" y="723"/>
                  </a:cubicBezTo>
                  <a:lnTo>
                    <a:pt x="570" y="723"/>
                  </a:lnTo>
                  <a:cubicBezTo>
                    <a:pt x="594" y="723"/>
                    <a:pt x="614" y="703"/>
                    <a:pt x="614" y="679"/>
                  </a:cubicBezTo>
                  <a:lnTo>
                    <a:pt x="614" y="354"/>
                  </a:lnTo>
                  <a:lnTo>
                    <a:pt x="621" y="348"/>
                  </a:lnTo>
                  <a:cubicBezTo>
                    <a:pt x="629" y="339"/>
                    <a:pt x="634" y="328"/>
                    <a:pt x="634" y="316"/>
                  </a:cubicBezTo>
                  <a:lnTo>
                    <a:pt x="634" y="165"/>
                  </a:lnTo>
                  <a:cubicBezTo>
                    <a:pt x="634" y="141"/>
                    <a:pt x="614" y="121"/>
                    <a:pt x="590" y="121"/>
                  </a:cubicBezTo>
                  <a:close/>
                  <a:moveTo>
                    <a:pt x="294" y="121"/>
                  </a:moveTo>
                  <a:lnTo>
                    <a:pt x="174" y="121"/>
                  </a:lnTo>
                  <a:lnTo>
                    <a:pt x="174" y="78"/>
                  </a:lnTo>
                  <a:lnTo>
                    <a:pt x="294" y="78"/>
                  </a:lnTo>
                  <a:lnTo>
                    <a:pt x="294" y="121"/>
                  </a:lnTo>
                  <a:close/>
                  <a:moveTo>
                    <a:pt x="317" y="121"/>
                  </a:moveTo>
                  <a:lnTo>
                    <a:pt x="317" y="67"/>
                  </a:lnTo>
                  <a:cubicBezTo>
                    <a:pt x="317" y="60"/>
                    <a:pt x="312" y="55"/>
                    <a:pt x="306" y="55"/>
                  </a:cubicBezTo>
                  <a:lnTo>
                    <a:pt x="163" y="55"/>
                  </a:lnTo>
                  <a:cubicBezTo>
                    <a:pt x="156" y="55"/>
                    <a:pt x="151" y="60"/>
                    <a:pt x="151" y="67"/>
                  </a:cubicBezTo>
                  <a:lnTo>
                    <a:pt x="151" y="121"/>
                  </a:lnTo>
                  <a:lnTo>
                    <a:pt x="119" y="121"/>
                  </a:lnTo>
                  <a:lnTo>
                    <a:pt x="119" y="62"/>
                  </a:lnTo>
                  <a:cubicBezTo>
                    <a:pt x="119" y="41"/>
                    <a:pt x="137" y="23"/>
                    <a:pt x="158" y="23"/>
                  </a:cubicBezTo>
                  <a:lnTo>
                    <a:pt x="310" y="23"/>
                  </a:lnTo>
                  <a:cubicBezTo>
                    <a:pt x="332" y="23"/>
                    <a:pt x="349" y="41"/>
                    <a:pt x="349" y="62"/>
                  </a:cubicBezTo>
                  <a:lnTo>
                    <a:pt x="349" y="121"/>
                  </a:lnTo>
                  <a:lnTo>
                    <a:pt x="317" y="121"/>
                  </a:lnTo>
                  <a:close/>
                  <a:moveTo>
                    <a:pt x="445" y="467"/>
                  </a:moveTo>
                  <a:cubicBezTo>
                    <a:pt x="445" y="483"/>
                    <a:pt x="432" y="496"/>
                    <a:pt x="416" y="496"/>
                  </a:cubicBezTo>
                  <a:cubicBezTo>
                    <a:pt x="400" y="496"/>
                    <a:pt x="387" y="483"/>
                    <a:pt x="387" y="467"/>
                  </a:cubicBezTo>
                  <a:lnTo>
                    <a:pt x="387" y="426"/>
                  </a:lnTo>
                  <a:lnTo>
                    <a:pt x="445" y="426"/>
                  </a:lnTo>
                  <a:lnTo>
                    <a:pt x="445" y="467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18">
              <a:extLst>
                <a:ext uri="{FF2B5EF4-FFF2-40B4-BE49-F238E27FC236}">
                  <a16:creationId xmlns:a16="http://schemas.microsoft.com/office/drawing/2014/main" id="{6FB502DC-D75E-1E4E-BCD2-CE1D9BBC9E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1650" y="4433888"/>
              <a:ext cx="228600" cy="261937"/>
            </a:xfrm>
            <a:custGeom>
              <a:avLst/>
              <a:gdLst>
                <a:gd name="T0" fmla="*/ 590 w 634"/>
                <a:gd name="T1" fmla="*/ 121 h 723"/>
                <a:gd name="T2" fmla="*/ 373 w 634"/>
                <a:gd name="T3" fmla="*/ 121 h 723"/>
                <a:gd name="T4" fmla="*/ 373 w 634"/>
                <a:gd name="T5" fmla="*/ 62 h 723"/>
                <a:gd name="T6" fmla="*/ 310 w 634"/>
                <a:gd name="T7" fmla="*/ 0 h 723"/>
                <a:gd name="T8" fmla="*/ 158 w 634"/>
                <a:gd name="T9" fmla="*/ 0 h 723"/>
                <a:gd name="T10" fmla="*/ 95 w 634"/>
                <a:gd name="T11" fmla="*/ 62 h 723"/>
                <a:gd name="T12" fmla="*/ 95 w 634"/>
                <a:gd name="T13" fmla="*/ 121 h 723"/>
                <a:gd name="T14" fmla="*/ 12 w 634"/>
                <a:gd name="T15" fmla="*/ 121 h 723"/>
                <a:gd name="T16" fmla="*/ 0 w 634"/>
                <a:gd name="T17" fmla="*/ 133 h 723"/>
                <a:gd name="T18" fmla="*/ 12 w 634"/>
                <a:gd name="T19" fmla="*/ 144 h 723"/>
                <a:gd name="T20" fmla="*/ 590 w 634"/>
                <a:gd name="T21" fmla="*/ 144 h 723"/>
                <a:gd name="T22" fmla="*/ 611 w 634"/>
                <a:gd name="T23" fmla="*/ 165 h 723"/>
                <a:gd name="T24" fmla="*/ 611 w 634"/>
                <a:gd name="T25" fmla="*/ 316 h 723"/>
                <a:gd name="T26" fmla="*/ 604 w 634"/>
                <a:gd name="T27" fmla="*/ 331 h 723"/>
                <a:gd name="T28" fmla="*/ 536 w 634"/>
                <a:gd name="T29" fmla="*/ 397 h 723"/>
                <a:gd name="T30" fmla="*/ 522 w 634"/>
                <a:gd name="T31" fmla="*/ 403 h 723"/>
                <a:gd name="T32" fmla="*/ 258 w 634"/>
                <a:gd name="T33" fmla="*/ 403 h 723"/>
                <a:gd name="T34" fmla="*/ 246 w 634"/>
                <a:gd name="T35" fmla="*/ 415 h 723"/>
                <a:gd name="T36" fmla="*/ 258 w 634"/>
                <a:gd name="T37" fmla="*/ 426 h 723"/>
                <a:gd name="T38" fmla="*/ 363 w 634"/>
                <a:gd name="T39" fmla="*/ 426 h 723"/>
                <a:gd name="T40" fmla="*/ 363 w 634"/>
                <a:gd name="T41" fmla="*/ 467 h 723"/>
                <a:gd name="T42" fmla="*/ 416 w 634"/>
                <a:gd name="T43" fmla="*/ 519 h 723"/>
                <a:gd name="T44" fmla="*/ 468 w 634"/>
                <a:gd name="T45" fmla="*/ 467 h 723"/>
                <a:gd name="T46" fmla="*/ 468 w 634"/>
                <a:gd name="T47" fmla="*/ 426 h 723"/>
                <a:gd name="T48" fmla="*/ 522 w 634"/>
                <a:gd name="T49" fmla="*/ 426 h 723"/>
                <a:gd name="T50" fmla="*/ 552 w 634"/>
                <a:gd name="T51" fmla="*/ 414 h 723"/>
                <a:gd name="T52" fmla="*/ 591 w 634"/>
                <a:gd name="T53" fmla="*/ 377 h 723"/>
                <a:gd name="T54" fmla="*/ 591 w 634"/>
                <a:gd name="T55" fmla="*/ 679 h 723"/>
                <a:gd name="T56" fmla="*/ 570 w 634"/>
                <a:gd name="T57" fmla="*/ 699 h 723"/>
                <a:gd name="T58" fmla="*/ 76 w 634"/>
                <a:gd name="T59" fmla="*/ 699 h 723"/>
                <a:gd name="T60" fmla="*/ 64 w 634"/>
                <a:gd name="T61" fmla="*/ 711 h 723"/>
                <a:gd name="T62" fmla="*/ 76 w 634"/>
                <a:gd name="T63" fmla="*/ 723 h 723"/>
                <a:gd name="T64" fmla="*/ 570 w 634"/>
                <a:gd name="T65" fmla="*/ 723 h 723"/>
                <a:gd name="T66" fmla="*/ 614 w 634"/>
                <a:gd name="T67" fmla="*/ 679 h 723"/>
                <a:gd name="T68" fmla="*/ 614 w 634"/>
                <a:gd name="T69" fmla="*/ 354 h 723"/>
                <a:gd name="T70" fmla="*/ 621 w 634"/>
                <a:gd name="T71" fmla="*/ 348 h 723"/>
                <a:gd name="T72" fmla="*/ 634 w 634"/>
                <a:gd name="T73" fmla="*/ 316 h 723"/>
                <a:gd name="T74" fmla="*/ 634 w 634"/>
                <a:gd name="T75" fmla="*/ 165 h 723"/>
                <a:gd name="T76" fmla="*/ 590 w 634"/>
                <a:gd name="T77" fmla="*/ 121 h 723"/>
                <a:gd name="T78" fmla="*/ 294 w 634"/>
                <a:gd name="T79" fmla="*/ 121 h 723"/>
                <a:gd name="T80" fmla="*/ 174 w 634"/>
                <a:gd name="T81" fmla="*/ 121 h 723"/>
                <a:gd name="T82" fmla="*/ 174 w 634"/>
                <a:gd name="T83" fmla="*/ 78 h 723"/>
                <a:gd name="T84" fmla="*/ 294 w 634"/>
                <a:gd name="T85" fmla="*/ 78 h 723"/>
                <a:gd name="T86" fmla="*/ 294 w 634"/>
                <a:gd name="T87" fmla="*/ 121 h 723"/>
                <a:gd name="T88" fmla="*/ 317 w 634"/>
                <a:gd name="T89" fmla="*/ 121 h 723"/>
                <a:gd name="T90" fmla="*/ 317 w 634"/>
                <a:gd name="T91" fmla="*/ 67 h 723"/>
                <a:gd name="T92" fmla="*/ 306 w 634"/>
                <a:gd name="T93" fmla="*/ 55 h 723"/>
                <a:gd name="T94" fmla="*/ 163 w 634"/>
                <a:gd name="T95" fmla="*/ 55 h 723"/>
                <a:gd name="T96" fmla="*/ 151 w 634"/>
                <a:gd name="T97" fmla="*/ 67 h 723"/>
                <a:gd name="T98" fmla="*/ 151 w 634"/>
                <a:gd name="T99" fmla="*/ 121 h 723"/>
                <a:gd name="T100" fmla="*/ 119 w 634"/>
                <a:gd name="T101" fmla="*/ 121 h 723"/>
                <a:gd name="T102" fmla="*/ 119 w 634"/>
                <a:gd name="T103" fmla="*/ 62 h 723"/>
                <a:gd name="T104" fmla="*/ 158 w 634"/>
                <a:gd name="T105" fmla="*/ 23 h 723"/>
                <a:gd name="T106" fmla="*/ 310 w 634"/>
                <a:gd name="T107" fmla="*/ 23 h 723"/>
                <a:gd name="T108" fmla="*/ 349 w 634"/>
                <a:gd name="T109" fmla="*/ 62 h 723"/>
                <a:gd name="T110" fmla="*/ 349 w 634"/>
                <a:gd name="T111" fmla="*/ 121 h 723"/>
                <a:gd name="T112" fmla="*/ 317 w 634"/>
                <a:gd name="T113" fmla="*/ 121 h 723"/>
                <a:gd name="T114" fmla="*/ 445 w 634"/>
                <a:gd name="T115" fmla="*/ 467 h 723"/>
                <a:gd name="T116" fmla="*/ 416 w 634"/>
                <a:gd name="T117" fmla="*/ 496 h 723"/>
                <a:gd name="T118" fmla="*/ 387 w 634"/>
                <a:gd name="T119" fmla="*/ 467 h 723"/>
                <a:gd name="T120" fmla="*/ 387 w 634"/>
                <a:gd name="T121" fmla="*/ 426 h 723"/>
                <a:gd name="T122" fmla="*/ 445 w 634"/>
                <a:gd name="T123" fmla="*/ 426 h 723"/>
                <a:gd name="T124" fmla="*/ 445 w 634"/>
                <a:gd name="T125" fmla="*/ 467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34" h="723">
                  <a:moveTo>
                    <a:pt x="590" y="121"/>
                  </a:moveTo>
                  <a:lnTo>
                    <a:pt x="373" y="121"/>
                  </a:lnTo>
                  <a:lnTo>
                    <a:pt x="373" y="62"/>
                  </a:lnTo>
                  <a:cubicBezTo>
                    <a:pt x="373" y="28"/>
                    <a:pt x="345" y="0"/>
                    <a:pt x="310" y="0"/>
                  </a:cubicBezTo>
                  <a:lnTo>
                    <a:pt x="158" y="0"/>
                  </a:lnTo>
                  <a:cubicBezTo>
                    <a:pt x="124" y="0"/>
                    <a:pt x="95" y="28"/>
                    <a:pt x="95" y="62"/>
                  </a:cubicBezTo>
                  <a:lnTo>
                    <a:pt x="95" y="121"/>
                  </a:lnTo>
                  <a:lnTo>
                    <a:pt x="12" y="121"/>
                  </a:lnTo>
                  <a:cubicBezTo>
                    <a:pt x="6" y="121"/>
                    <a:pt x="0" y="126"/>
                    <a:pt x="0" y="133"/>
                  </a:cubicBezTo>
                  <a:cubicBezTo>
                    <a:pt x="0" y="139"/>
                    <a:pt x="6" y="144"/>
                    <a:pt x="12" y="144"/>
                  </a:cubicBezTo>
                  <a:lnTo>
                    <a:pt x="590" y="144"/>
                  </a:lnTo>
                  <a:cubicBezTo>
                    <a:pt x="601" y="144"/>
                    <a:pt x="611" y="154"/>
                    <a:pt x="611" y="165"/>
                  </a:cubicBezTo>
                  <a:lnTo>
                    <a:pt x="611" y="316"/>
                  </a:lnTo>
                  <a:cubicBezTo>
                    <a:pt x="611" y="321"/>
                    <a:pt x="608" y="327"/>
                    <a:pt x="604" y="331"/>
                  </a:cubicBezTo>
                  <a:lnTo>
                    <a:pt x="536" y="397"/>
                  </a:lnTo>
                  <a:cubicBezTo>
                    <a:pt x="532" y="401"/>
                    <a:pt x="527" y="403"/>
                    <a:pt x="522" y="403"/>
                  </a:cubicBezTo>
                  <a:lnTo>
                    <a:pt x="258" y="403"/>
                  </a:lnTo>
                  <a:cubicBezTo>
                    <a:pt x="251" y="403"/>
                    <a:pt x="246" y="408"/>
                    <a:pt x="246" y="415"/>
                  </a:cubicBezTo>
                  <a:cubicBezTo>
                    <a:pt x="246" y="421"/>
                    <a:pt x="251" y="426"/>
                    <a:pt x="258" y="426"/>
                  </a:cubicBezTo>
                  <a:lnTo>
                    <a:pt x="363" y="426"/>
                  </a:lnTo>
                  <a:lnTo>
                    <a:pt x="363" y="467"/>
                  </a:lnTo>
                  <a:cubicBezTo>
                    <a:pt x="363" y="496"/>
                    <a:pt x="387" y="519"/>
                    <a:pt x="416" y="519"/>
                  </a:cubicBezTo>
                  <a:cubicBezTo>
                    <a:pt x="445" y="519"/>
                    <a:pt x="468" y="496"/>
                    <a:pt x="468" y="467"/>
                  </a:cubicBezTo>
                  <a:lnTo>
                    <a:pt x="468" y="426"/>
                  </a:lnTo>
                  <a:lnTo>
                    <a:pt x="522" y="426"/>
                  </a:lnTo>
                  <a:cubicBezTo>
                    <a:pt x="533" y="426"/>
                    <a:pt x="544" y="422"/>
                    <a:pt x="552" y="414"/>
                  </a:cubicBezTo>
                  <a:lnTo>
                    <a:pt x="591" y="377"/>
                  </a:lnTo>
                  <a:lnTo>
                    <a:pt x="591" y="679"/>
                  </a:lnTo>
                  <a:cubicBezTo>
                    <a:pt x="591" y="690"/>
                    <a:pt x="581" y="699"/>
                    <a:pt x="570" y="699"/>
                  </a:cubicBezTo>
                  <a:lnTo>
                    <a:pt x="76" y="699"/>
                  </a:lnTo>
                  <a:cubicBezTo>
                    <a:pt x="70" y="699"/>
                    <a:pt x="64" y="705"/>
                    <a:pt x="64" y="711"/>
                  </a:cubicBezTo>
                  <a:cubicBezTo>
                    <a:pt x="64" y="718"/>
                    <a:pt x="70" y="723"/>
                    <a:pt x="76" y="723"/>
                  </a:cubicBezTo>
                  <a:lnTo>
                    <a:pt x="570" y="723"/>
                  </a:lnTo>
                  <a:cubicBezTo>
                    <a:pt x="594" y="723"/>
                    <a:pt x="614" y="703"/>
                    <a:pt x="614" y="679"/>
                  </a:cubicBezTo>
                  <a:lnTo>
                    <a:pt x="614" y="354"/>
                  </a:lnTo>
                  <a:lnTo>
                    <a:pt x="621" y="348"/>
                  </a:lnTo>
                  <a:cubicBezTo>
                    <a:pt x="629" y="339"/>
                    <a:pt x="634" y="328"/>
                    <a:pt x="634" y="316"/>
                  </a:cubicBezTo>
                  <a:lnTo>
                    <a:pt x="634" y="165"/>
                  </a:lnTo>
                  <a:cubicBezTo>
                    <a:pt x="634" y="141"/>
                    <a:pt x="614" y="121"/>
                    <a:pt x="590" y="121"/>
                  </a:cubicBezTo>
                  <a:close/>
                  <a:moveTo>
                    <a:pt x="294" y="121"/>
                  </a:moveTo>
                  <a:lnTo>
                    <a:pt x="174" y="121"/>
                  </a:lnTo>
                  <a:lnTo>
                    <a:pt x="174" y="78"/>
                  </a:lnTo>
                  <a:lnTo>
                    <a:pt x="294" y="78"/>
                  </a:lnTo>
                  <a:lnTo>
                    <a:pt x="294" y="121"/>
                  </a:lnTo>
                  <a:close/>
                  <a:moveTo>
                    <a:pt x="317" y="121"/>
                  </a:moveTo>
                  <a:lnTo>
                    <a:pt x="317" y="67"/>
                  </a:lnTo>
                  <a:cubicBezTo>
                    <a:pt x="317" y="60"/>
                    <a:pt x="312" y="55"/>
                    <a:pt x="306" y="55"/>
                  </a:cubicBezTo>
                  <a:lnTo>
                    <a:pt x="163" y="55"/>
                  </a:lnTo>
                  <a:cubicBezTo>
                    <a:pt x="156" y="55"/>
                    <a:pt x="151" y="60"/>
                    <a:pt x="151" y="67"/>
                  </a:cubicBezTo>
                  <a:lnTo>
                    <a:pt x="151" y="121"/>
                  </a:lnTo>
                  <a:lnTo>
                    <a:pt x="119" y="121"/>
                  </a:lnTo>
                  <a:lnTo>
                    <a:pt x="119" y="62"/>
                  </a:lnTo>
                  <a:cubicBezTo>
                    <a:pt x="119" y="41"/>
                    <a:pt x="137" y="23"/>
                    <a:pt x="158" y="23"/>
                  </a:cubicBezTo>
                  <a:lnTo>
                    <a:pt x="310" y="23"/>
                  </a:lnTo>
                  <a:cubicBezTo>
                    <a:pt x="332" y="23"/>
                    <a:pt x="349" y="41"/>
                    <a:pt x="349" y="62"/>
                  </a:cubicBezTo>
                  <a:lnTo>
                    <a:pt x="349" y="121"/>
                  </a:lnTo>
                  <a:lnTo>
                    <a:pt x="317" y="121"/>
                  </a:lnTo>
                  <a:close/>
                  <a:moveTo>
                    <a:pt x="445" y="467"/>
                  </a:moveTo>
                  <a:cubicBezTo>
                    <a:pt x="445" y="483"/>
                    <a:pt x="432" y="496"/>
                    <a:pt x="416" y="496"/>
                  </a:cubicBezTo>
                  <a:cubicBezTo>
                    <a:pt x="400" y="496"/>
                    <a:pt x="387" y="483"/>
                    <a:pt x="387" y="467"/>
                  </a:cubicBezTo>
                  <a:lnTo>
                    <a:pt x="387" y="426"/>
                  </a:lnTo>
                  <a:lnTo>
                    <a:pt x="445" y="426"/>
                  </a:lnTo>
                  <a:lnTo>
                    <a:pt x="445" y="467"/>
                  </a:lnTo>
                  <a:close/>
                </a:path>
              </a:pathLst>
            </a:custGeom>
            <a:noFill/>
            <a:ln w="3175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19">
              <a:extLst>
                <a:ext uri="{FF2B5EF4-FFF2-40B4-BE49-F238E27FC236}">
                  <a16:creationId xmlns:a16="http://schemas.microsoft.com/office/drawing/2014/main" id="{C390B4B6-C4DD-3CB1-6F7F-D1795665D8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1325" y="4478338"/>
              <a:ext cx="141288" cy="217487"/>
            </a:xfrm>
            <a:custGeom>
              <a:avLst/>
              <a:gdLst>
                <a:gd name="T0" fmla="*/ 219 w 388"/>
                <a:gd name="T1" fmla="*/ 398 h 602"/>
                <a:gd name="T2" fmla="*/ 271 w 388"/>
                <a:gd name="T3" fmla="*/ 346 h 602"/>
                <a:gd name="T4" fmla="*/ 271 w 388"/>
                <a:gd name="T5" fmla="*/ 305 h 602"/>
                <a:gd name="T6" fmla="*/ 377 w 388"/>
                <a:gd name="T7" fmla="*/ 305 h 602"/>
                <a:gd name="T8" fmla="*/ 388 w 388"/>
                <a:gd name="T9" fmla="*/ 294 h 602"/>
                <a:gd name="T10" fmla="*/ 377 w 388"/>
                <a:gd name="T11" fmla="*/ 282 h 602"/>
                <a:gd name="T12" fmla="*/ 113 w 388"/>
                <a:gd name="T13" fmla="*/ 282 h 602"/>
                <a:gd name="T14" fmla="*/ 98 w 388"/>
                <a:gd name="T15" fmla="*/ 276 h 602"/>
                <a:gd name="T16" fmla="*/ 30 w 388"/>
                <a:gd name="T17" fmla="*/ 210 h 602"/>
                <a:gd name="T18" fmla="*/ 24 w 388"/>
                <a:gd name="T19" fmla="*/ 195 h 602"/>
                <a:gd name="T20" fmla="*/ 24 w 388"/>
                <a:gd name="T21" fmla="*/ 44 h 602"/>
                <a:gd name="T22" fmla="*/ 44 w 388"/>
                <a:gd name="T23" fmla="*/ 23 h 602"/>
                <a:gd name="T24" fmla="*/ 131 w 388"/>
                <a:gd name="T25" fmla="*/ 23 h 602"/>
                <a:gd name="T26" fmla="*/ 143 w 388"/>
                <a:gd name="T27" fmla="*/ 12 h 602"/>
                <a:gd name="T28" fmla="*/ 131 w 388"/>
                <a:gd name="T29" fmla="*/ 0 h 602"/>
                <a:gd name="T30" fmla="*/ 44 w 388"/>
                <a:gd name="T31" fmla="*/ 0 h 602"/>
                <a:gd name="T32" fmla="*/ 0 w 388"/>
                <a:gd name="T33" fmla="*/ 44 h 602"/>
                <a:gd name="T34" fmla="*/ 0 w 388"/>
                <a:gd name="T35" fmla="*/ 195 h 602"/>
                <a:gd name="T36" fmla="*/ 14 w 388"/>
                <a:gd name="T37" fmla="*/ 227 h 602"/>
                <a:gd name="T38" fmla="*/ 20 w 388"/>
                <a:gd name="T39" fmla="*/ 233 h 602"/>
                <a:gd name="T40" fmla="*/ 20 w 388"/>
                <a:gd name="T41" fmla="*/ 558 h 602"/>
                <a:gd name="T42" fmla="*/ 64 w 388"/>
                <a:gd name="T43" fmla="*/ 602 h 602"/>
                <a:gd name="T44" fmla="*/ 195 w 388"/>
                <a:gd name="T45" fmla="*/ 602 h 602"/>
                <a:gd name="T46" fmla="*/ 207 w 388"/>
                <a:gd name="T47" fmla="*/ 590 h 602"/>
                <a:gd name="T48" fmla="*/ 195 w 388"/>
                <a:gd name="T49" fmla="*/ 578 h 602"/>
                <a:gd name="T50" fmla="*/ 64 w 388"/>
                <a:gd name="T51" fmla="*/ 578 h 602"/>
                <a:gd name="T52" fmla="*/ 44 w 388"/>
                <a:gd name="T53" fmla="*/ 558 h 602"/>
                <a:gd name="T54" fmla="*/ 44 w 388"/>
                <a:gd name="T55" fmla="*/ 256 h 602"/>
                <a:gd name="T56" fmla="*/ 82 w 388"/>
                <a:gd name="T57" fmla="*/ 293 h 602"/>
                <a:gd name="T58" fmla="*/ 113 w 388"/>
                <a:gd name="T59" fmla="*/ 305 h 602"/>
                <a:gd name="T60" fmla="*/ 166 w 388"/>
                <a:gd name="T61" fmla="*/ 305 h 602"/>
                <a:gd name="T62" fmla="*/ 166 w 388"/>
                <a:gd name="T63" fmla="*/ 346 h 602"/>
                <a:gd name="T64" fmla="*/ 219 w 388"/>
                <a:gd name="T65" fmla="*/ 398 h 602"/>
                <a:gd name="T66" fmla="*/ 247 w 388"/>
                <a:gd name="T67" fmla="*/ 346 h 602"/>
                <a:gd name="T68" fmla="*/ 219 w 388"/>
                <a:gd name="T69" fmla="*/ 375 h 602"/>
                <a:gd name="T70" fmla="*/ 190 w 388"/>
                <a:gd name="T71" fmla="*/ 346 h 602"/>
                <a:gd name="T72" fmla="*/ 190 w 388"/>
                <a:gd name="T73" fmla="*/ 305 h 602"/>
                <a:gd name="T74" fmla="*/ 247 w 388"/>
                <a:gd name="T75" fmla="*/ 305 h 602"/>
                <a:gd name="T76" fmla="*/ 247 w 388"/>
                <a:gd name="T77" fmla="*/ 346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8" h="602">
                  <a:moveTo>
                    <a:pt x="219" y="398"/>
                  </a:moveTo>
                  <a:cubicBezTo>
                    <a:pt x="247" y="398"/>
                    <a:pt x="271" y="375"/>
                    <a:pt x="271" y="346"/>
                  </a:cubicBezTo>
                  <a:lnTo>
                    <a:pt x="271" y="305"/>
                  </a:lnTo>
                  <a:lnTo>
                    <a:pt x="377" y="305"/>
                  </a:lnTo>
                  <a:cubicBezTo>
                    <a:pt x="383" y="305"/>
                    <a:pt x="388" y="300"/>
                    <a:pt x="388" y="294"/>
                  </a:cubicBezTo>
                  <a:cubicBezTo>
                    <a:pt x="388" y="287"/>
                    <a:pt x="383" y="282"/>
                    <a:pt x="377" y="282"/>
                  </a:cubicBezTo>
                  <a:lnTo>
                    <a:pt x="113" y="282"/>
                  </a:lnTo>
                  <a:cubicBezTo>
                    <a:pt x="107" y="282"/>
                    <a:pt x="102" y="280"/>
                    <a:pt x="98" y="276"/>
                  </a:cubicBezTo>
                  <a:lnTo>
                    <a:pt x="30" y="210"/>
                  </a:lnTo>
                  <a:cubicBezTo>
                    <a:pt x="26" y="206"/>
                    <a:pt x="24" y="200"/>
                    <a:pt x="24" y="195"/>
                  </a:cubicBezTo>
                  <a:lnTo>
                    <a:pt x="24" y="44"/>
                  </a:lnTo>
                  <a:cubicBezTo>
                    <a:pt x="24" y="33"/>
                    <a:pt x="33" y="23"/>
                    <a:pt x="44" y="23"/>
                  </a:cubicBezTo>
                  <a:lnTo>
                    <a:pt x="131" y="23"/>
                  </a:lnTo>
                  <a:cubicBezTo>
                    <a:pt x="138" y="23"/>
                    <a:pt x="143" y="18"/>
                    <a:pt x="143" y="12"/>
                  </a:cubicBezTo>
                  <a:cubicBezTo>
                    <a:pt x="143" y="5"/>
                    <a:pt x="138" y="0"/>
                    <a:pt x="131" y="0"/>
                  </a:cubicBezTo>
                  <a:lnTo>
                    <a:pt x="44" y="0"/>
                  </a:lnTo>
                  <a:cubicBezTo>
                    <a:pt x="20" y="0"/>
                    <a:pt x="0" y="20"/>
                    <a:pt x="0" y="44"/>
                  </a:cubicBezTo>
                  <a:lnTo>
                    <a:pt x="0" y="195"/>
                  </a:lnTo>
                  <a:cubicBezTo>
                    <a:pt x="0" y="207"/>
                    <a:pt x="5" y="218"/>
                    <a:pt x="14" y="227"/>
                  </a:cubicBezTo>
                  <a:lnTo>
                    <a:pt x="20" y="233"/>
                  </a:lnTo>
                  <a:lnTo>
                    <a:pt x="20" y="558"/>
                  </a:lnTo>
                  <a:cubicBezTo>
                    <a:pt x="20" y="582"/>
                    <a:pt x="40" y="602"/>
                    <a:pt x="64" y="602"/>
                  </a:cubicBezTo>
                  <a:lnTo>
                    <a:pt x="195" y="602"/>
                  </a:lnTo>
                  <a:cubicBezTo>
                    <a:pt x="202" y="602"/>
                    <a:pt x="207" y="597"/>
                    <a:pt x="207" y="590"/>
                  </a:cubicBezTo>
                  <a:cubicBezTo>
                    <a:pt x="207" y="584"/>
                    <a:pt x="202" y="578"/>
                    <a:pt x="195" y="578"/>
                  </a:cubicBezTo>
                  <a:lnTo>
                    <a:pt x="64" y="578"/>
                  </a:lnTo>
                  <a:cubicBezTo>
                    <a:pt x="53" y="578"/>
                    <a:pt x="44" y="569"/>
                    <a:pt x="44" y="558"/>
                  </a:cubicBezTo>
                  <a:lnTo>
                    <a:pt x="44" y="256"/>
                  </a:lnTo>
                  <a:lnTo>
                    <a:pt x="82" y="293"/>
                  </a:lnTo>
                  <a:cubicBezTo>
                    <a:pt x="90" y="301"/>
                    <a:pt x="101" y="305"/>
                    <a:pt x="113" y="305"/>
                  </a:cubicBezTo>
                  <a:lnTo>
                    <a:pt x="166" y="305"/>
                  </a:lnTo>
                  <a:lnTo>
                    <a:pt x="166" y="346"/>
                  </a:lnTo>
                  <a:cubicBezTo>
                    <a:pt x="166" y="375"/>
                    <a:pt x="190" y="398"/>
                    <a:pt x="219" y="398"/>
                  </a:cubicBezTo>
                  <a:close/>
                  <a:moveTo>
                    <a:pt x="247" y="346"/>
                  </a:moveTo>
                  <a:cubicBezTo>
                    <a:pt x="247" y="362"/>
                    <a:pt x="234" y="375"/>
                    <a:pt x="219" y="375"/>
                  </a:cubicBezTo>
                  <a:cubicBezTo>
                    <a:pt x="203" y="375"/>
                    <a:pt x="190" y="362"/>
                    <a:pt x="190" y="346"/>
                  </a:cubicBezTo>
                  <a:lnTo>
                    <a:pt x="190" y="305"/>
                  </a:lnTo>
                  <a:lnTo>
                    <a:pt x="247" y="305"/>
                  </a:lnTo>
                  <a:lnTo>
                    <a:pt x="247" y="346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20">
              <a:extLst>
                <a:ext uri="{FF2B5EF4-FFF2-40B4-BE49-F238E27FC236}">
                  <a16:creationId xmlns:a16="http://schemas.microsoft.com/office/drawing/2014/main" id="{0605817D-1FB2-1F02-9D6C-06721A738B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1325" y="4478338"/>
              <a:ext cx="141288" cy="217487"/>
            </a:xfrm>
            <a:custGeom>
              <a:avLst/>
              <a:gdLst>
                <a:gd name="T0" fmla="*/ 219 w 388"/>
                <a:gd name="T1" fmla="*/ 398 h 602"/>
                <a:gd name="T2" fmla="*/ 271 w 388"/>
                <a:gd name="T3" fmla="*/ 346 h 602"/>
                <a:gd name="T4" fmla="*/ 271 w 388"/>
                <a:gd name="T5" fmla="*/ 305 h 602"/>
                <a:gd name="T6" fmla="*/ 377 w 388"/>
                <a:gd name="T7" fmla="*/ 305 h 602"/>
                <a:gd name="T8" fmla="*/ 388 w 388"/>
                <a:gd name="T9" fmla="*/ 294 h 602"/>
                <a:gd name="T10" fmla="*/ 377 w 388"/>
                <a:gd name="T11" fmla="*/ 282 h 602"/>
                <a:gd name="T12" fmla="*/ 113 w 388"/>
                <a:gd name="T13" fmla="*/ 282 h 602"/>
                <a:gd name="T14" fmla="*/ 98 w 388"/>
                <a:gd name="T15" fmla="*/ 276 h 602"/>
                <a:gd name="T16" fmla="*/ 30 w 388"/>
                <a:gd name="T17" fmla="*/ 210 h 602"/>
                <a:gd name="T18" fmla="*/ 24 w 388"/>
                <a:gd name="T19" fmla="*/ 195 h 602"/>
                <a:gd name="T20" fmla="*/ 24 w 388"/>
                <a:gd name="T21" fmla="*/ 44 h 602"/>
                <a:gd name="T22" fmla="*/ 44 w 388"/>
                <a:gd name="T23" fmla="*/ 23 h 602"/>
                <a:gd name="T24" fmla="*/ 131 w 388"/>
                <a:gd name="T25" fmla="*/ 23 h 602"/>
                <a:gd name="T26" fmla="*/ 143 w 388"/>
                <a:gd name="T27" fmla="*/ 12 h 602"/>
                <a:gd name="T28" fmla="*/ 131 w 388"/>
                <a:gd name="T29" fmla="*/ 0 h 602"/>
                <a:gd name="T30" fmla="*/ 44 w 388"/>
                <a:gd name="T31" fmla="*/ 0 h 602"/>
                <a:gd name="T32" fmla="*/ 0 w 388"/>
                <a:gd name="T33" fmla="*/ 44 h 602"/>
                <a:gd name="T34" fmla="*/ 0 w 388"/>
                <a:gd name="T35" fmla="*/ 195 h 602"/>
                <a:gd name="T36" fmla="*/ 14 w 388"/>
                <a:gd name="T37" fmla="*/ 227 h 602"/>
                <a:gd name="T38" fmla="*/ 20 w 388"/>
                <a:gd name="T39" fmla="*/ 233 h 602"/>
                <a:gd name="T40" fmla="*/ 20 w 388"/>
                <a:gd name="T41" fmla="*/ 558 h 602"/>
                <a:gd name="T42" fmla="*/ 64 w 388"/>
                <a:gd name="T43" fmla="*/ 602 h 602"/>
                <a:gd name="T44" fmla="*/ 195 w 388"/>
                <a:gd name="T45" fmla="*/ 602 h 602"/>
                <a:gd name="T46" fmla="*/ 207 w 388"/>
                <a:gd name="T47" fmla="*/ 590 h 602"/>
                <a:gd name="T48" fmla="*/ 195 w 388"/>
                <a:gd name="T49" fmla="*/ 578 h 602"/>
                <a:gd name="T50" fmla="*/ 64 w 388"/>
                <a:gd name="T51" fmla="*/ 578 h 602"/>
                <a:gd name="T52" fmla="*/ 44 w 388"/>
                <a:gd name="T53" fmla="*/ 558 h 602"/>
                <a:gd name="T54" fmla="*/ 44 w 388"/>
                <a:gd name="T55" fmla="*/ 256 h 602"/>
                <a:gd name="T56" fmla="*/ 82 w 388"/>
                <a:gd name="T57" fmla="*/ 293 h 602"/>
                <a:gd name="T58" fmla="*/ 113 w 388"/>
                <a:gd name="T59" fmla="*/ 305 h 602"/>
                <a:gd name="T60" fmla="*/ 166 w 388"/>
                <a:gd name="T61" fmla="*/ 305 h 602"/>
                <a:gd name="T62" fmla="*/ 166 w 388"/>
                <a:gd name="T63" fmla="*/ 346 h 602"/>
                <a:gd name="T64" fmla="*/ 219 w 388"/>
                <a:gd name="T65" fmla="*/ 398 h 602"/>
                <a:gd name="T66" fmla="*/ 247 w 388"/>
                <a:gd name="T67" fmla="*/ 346 h 602"/>
                <a:gd name="T68" fmla="*/ 219 w 388"/>
                <a:gd name="T69" fmla="*/ 375 h 602"/>
                <a:gd name="T70" fmla="*/ 190 w 388"/>
                <a:gd name="T71" fmla="*/ 346 h 602"/>
                <a:gd name="T72" fmla="*/ 190 w 388"/>
                <a:gd name="T73" fmla="*/ 305 h 602"/>
                <a:gd name="T74" fmla="*/ 247 w 388"/>
                <a:gd name="T75" fmla="*/ 305 h 602"/>
                <a:gd name="T76" fmla="*/ 247 w 388"/>
                <a:gd name="T77" fmla="*/ 346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8" h="602">
                  <a:moveTo>
                    <a:pt x="219" y="398"/>
                  </a:moveTo>
                  <a:cubicBezTo>
                    <a:pt x="247" y="398"/>
                    <a:pt x="271" y="375"/>
                    <a:pt x="271" y="346"/>
                  </a:cubicBezTo>
                  <a:lnTo>
                    <a:pt x="271" y="305"/>
                  </a:lnTo>
                  <a:lnTo>
                    <a:pt x="377" y="305"/>
                  </a:lnTo>
                  <a:cubicBezTo>
                    <a:pt x="383" y="305"/>
                    <a:pt x="388" y="300"/>
                    <a:pt x="388" y="294"/>
                  </a:cubicBezTo>
                  <a:cubicBezTo>
                    <a:pt x="388" y="287"/>
                    <a:pt x="383" y="282"/>
                    <a:pt x="377" y="282"/>
                  </a:cubicBezTo>
                  <a:lnTo>
                    <a:pt x="113" y="282"/>
                  </a:lnTo>
                  <a:cubicBezTo>
                    <a:pt x="107" y="282"/>
                    <a:pt x="102" y="280"/>
                    <a:pt x="98" y="276"/>
                  </a:cubicBezTo>
                  <a:lnTo>
                    <a:pt x="30" y="210"/>
                  </a:lnTo>
                  <a:cubicBezTo>
                    <a:pt x="26" y="206"/>
                    <a:pt x="24" y="200"/>
                    <a:pt x="24" y="195"/>
                  </a:cubicBezTo>
                  <a:lnTo>
                    <a:pt x="24" y="44"/>
                  </a:lnTo>
                  <a:cubicBezTo>
                    <a:pt x="24" y="33"/>
                    <a:pt x="33" y="23"/>
                    <a:pt x="44" y="23"/>
                  </a:cubicBezTo>
                  <a:lnTo>
                    <a:pt x="131" y="23"/>
                  </a:lnTo>
                  <a:cubicBezTo>
                    <a:pt x="138" y="23"/>
                    <a:pt x="143" y="18"/>
                    <a:pt x="143" y="12"/>
                  </a:cubicBezTo>
                  <a:cubicBezTo>
                    <a:pt x="143" y="5"/>
                    <a:pt x="138" y="0"/>
                    <a:pt x="131" y="0"/>
                  </a:cubicBezTo>
                  <a:lnTo>
                    <a:pt x="44" y="0"/>
                  </a:lnTo>
                  <a:cubicBezTo>
                    <a:pt x="20" y="0"/>
                    <a:pt x="0" y="20"/>
                    <a:pt x="0" y="44"/>
                  </a:cubicBezTo>
                  <a:lnTo>
                    <a:pt x="0" y="195"/>
                  </a:lnTo>
                  <a:cubicBezTo>
                    <a:pt x="0" y="207"/>
                    <a:pt x="5" y="218"/>
                    <a:pt x="14" y="227"/>
                  </a:cubicBezTo>
                  <a:lnTo>
                    <a:pt x="20" y="233"/>
                  </a:lnTo>
                  <a:lnTo>
                    <a:pt x="20" y="558"/>
                  </a:lnTo>
                  <a:cubicBezTo>
                    <a:pt x="20" y="582"/>
                    <a:pt x="40" y="602"/>
                    <a:pt x="64" y="602"/>
                  </a:cubicBezTo>
                  <a:lnTo>
                    <a:pt x="195" y="602"/>
                  </a:lnTo>
                  <a:cubicBezTo>
                    <a:pt x="202" y="602"/>
                    <a:pt x="207" y="597"/>
                    <a:pt x="207" y="590"/>
                  </a:cubicBezTo>
                  <a:cubicBezTo>
                    <a:pt x="207" y="584"/>
                    <a:pt x="202" y="578"/>
                    <a:pt x="195" y="578"/>
                  </a:cubicBezTo>
                  <a:lnTo>
                    <a:pt x="64" y="578"/>
                  </a:lnTo>
                  <a:cubicBezTo>
                    <a:pt x="53" y="578"/>
                    <a:pt x="44" y="569"/>
                    <a:pt x="44" y="558"/>
                  </a:cubicBezTo>
                  <a:lnTo>
                    <a:pt x="44" y="256"/>
                  </a:lnTo>
                  <a:lnTo>
                    <a:pt x="82" y="293"/>
                  </a:lnTo>
                  <a:cubicBezTo>
                    <a:pt x="90" y="301"/>
                    <a:pt x="101" y="305"/>
                    <a:pt x="113" y="305"/>
                  </a:cubicBezTo>
                  <a:lnTo>
                    <a:pt x="166" y="305"/>
                  </a:lnTo>
                  <a:lnTo>
                    <a:pt x="166" y="346"/>
                  </a:lnTo>
                  <a:cubicBezTo>
                    <a:pt x="166" y="375"/>
                    <a:pt x="190" y="398"/>
                    <a:pt x="219" y="398"/>
                  </a:cubicBezTo>
                  <a:close/>
                  <a:moveTo>
                    <a:pt x="247" y="346"/>
                  </a:moveTo>
                  <a:cubicBezTo>
                    <a:pt x="247" y="362"/>
                    <a:pt x="234" y="375"/>
                    <a:pt x="219" y="375"/>
                  </a:cubicBezTo>
                  <a:cubicBezTo>
                    <a:pt x="203" y="375"/>
                    <a:pt x="190" y="362"/>
                    <a:pt x="190" y="346"/>
                  </a:cubicBezTo>
                  <a:lnTo>
                    <a:pt x="190" y="305"/>
                  </a:lnTo>
                  <a:lnTo>
                    <a:pt x="247" y="305"/>
                  </a:lnTo>
                  <a:lnTo>
                    <a:pt x="247" y="346"/>
                  </a:lnTo>
                  <a:close/>
                </a:path>
              </a:pathLst>
            </a:custGeom>
            <a:noFill/>
            <a:ln w="3175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DEE90F83-03F6-078E-06C9-C651F9FACA36}"/>
              </a:ext>
            </a:extLst>
          </p:cNvPr>
          <p:cNvGrpSpPr/>
          <p:nvPr userDrawn="1"/>
        </p:nvGrpSpPr>
        <p:grpSpPr>
          <a:xfrm>
            <a:off x="7616825" y="4430713"/>
            <a:ext cx="290513" cy="255587"/>
            <a:chOff x="7616825" y="4430713"/>
            <a:chExt cx="290513" cy="255587"/>
          </a:xfrm>
        </p:grpSpPr>
        <p:sp>
          <p:nvSpPr>
            <p:cNvPr id="110" name="Freeform 23">
              <a:extLst>
                <a:ext uri="{FF2B5EF4-FFF2-40B4-BE49-F238E27FC236}">
                  <a16:creationId xmlns:a16="http://schemas.microsoft.com/office/drawing/2014/main" id="{4C3B051B-6053-FE82-D8E2-EC38DD75A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5575" y="4619625"/>
              <a:ext cx="23813" cy="7937"/>
            </a:xfrm>
            <a:custGeom>
              <a:avLst/>
              <a:gdLst>
                <a:gd name="T0" fmla="*/ 56 w 68"/>
                <a:gd name="T1" fmla="*/ 0 h 24"/>
                <a:gd name="T2" fmla="*/ 12 w 68"/>
                <a:gd name="T3" fmla="*/ 0 h 24"/>
                <a:gd name="T4" fmla="*/ 0 w 68"/>
                <a:gd name="T5" fmla="*/ 12 h 24"/>
                <a:gd name="T6" fmla="*/ 12 w 68"/>
                <a:gd name="T7" fmla="*/ 24 h 24"/>
                <a:gd name="T8" fmla="*/ 56 w 68"/>
                <a:gd name="T9" fmla="*/ 24 h 24"/>
                <a:gd name="T10" fmla="*/ 68 w 68"/>
                <a:gd name="T11" fmla="*/ 12 h 24"/>
                <a:gd name="T12" fmla="*/ 56 w 68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24">
                  <a:moveTo>
                    <a:pt x="56" y="0"/>
                  </a:moveTo>
                  <a:lnTo>
                    <a:pt x="12" y="0"/>
                  </a:lnTo>
                  <a:cubicBezTo>
                    <a:pt x="6" y="0"/>
                    <a:pt x="0" y="5"/>
                    <a:pt x="0" y="12"/>
                  </a:cubicBezTo>
                  <a:cubicBezTo>
                    <a:pt x="0" y="18"/>
                    <a:pt x="6" y="24"/>
                    <a:pt x="12" y="24"/>
                  </a:cubicBezTo>
                  <a:lnTo>
                    <a:pt x="56" y="24"/>
                  </a:lnTo>
                  <a:cubicBezTo>
                    <a:pt x="62" y="24"/>
                    <a:pt x="68" y="18"/>
                    <a:pt x="68" y="12"/>
                  </a:cubicBezTo>
                  <a:cubicBezTo>
                    <a:pt x="68" y="5"/>
                    <a:pt x="62" y="0"/>
                    <a:pt x="56" y="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Freeform 24">
              <a:extLst>
                <a:ext uri="{FF2B5EF4-FFF2-40B4-BE49-F238E27FC236}">
                  <a16:creationId xmlns:a16="http://schemas.microsoft.com/office/drawing/2014/main" id="{6AFB7529-E1C7-4E72-F6DF-ECEADAA6C1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42238" y="4430713"/>
              <a:ext cx="165100" cy="255587"/>
            </a:xfrm>
            <a:custGeom>
              <a:avLst/>
              <a:gdLst>
                <a:gd name="T0" fmla="*/ 311 w 458"/>
                <a:gd name="T1" fmla="*/ 335 h 702"/>
                <a:gd name="T2" fmla="*/ 334 w 458"/>
                <a:gd name="T3" fmla="*/ 245 h 702"/>
                <a:gd name="T4" fmla="*/ 369 w 458"/>
                <a:gd name="T5" fmla="*/ 201 h 702"/>
                <a:gd name="T6" fmla="*/ 214 w 458"/>
                <a:gd name="T7" fmla="*/ 2 h 702"/>
                <a:gd name="T8" fmla="*/ 71 w 458"/>
                <a:gd name="T9" fmla="*/ 102 h 702"/>
                <a:gd name="T10" fmla="*/ 60 w 458"/>
                <a:gd name="T11" fmla="*/ 210 h 702"/>
                <a:gd name="T12" fmla="*/ 126 w 458"/>
                <a:gd name="T13" fmla="*/ 305 h 702"/>
                <a:gd name="T14" fmla="*/ 86 w 458"/>
                <a:gd name="T15" fmla="*/ 367 h 702"/>
                <a:gd name="T16" fmla="*/ 4 w 458"/>
                <a:gd name="T17" fmla="*/ 416 h 702"/>
                <a:gd name="T18" fmla="*/ 31 w 458"/>
                <a:gd name="T19" fmla="*/ 414 h 702"/>
                <a:gd name="T20" fmla="*/ 160 w 458"/>
                <a:gd name="T21" fmla="*/ 473 h 702"/>
                <a:gd name="T22" fmla="*/ 170 w 458"/>
                <a:gd name="T23" fmla="*/ 690 h 702"/>
                <a:gd name="T24" fmla="*/ 193 w 458"/>
                <a:gd name="T25" fmla="*/ 691 h 702"/>
                <a:gd name="T26" fmla="*/ 236 w 458"/>
                <a:gd name="T27" fmla="*/ 691 h 702"/>
                <a:gd name="T28" fmla="*/ 259 w 458"/>
                <a:gd name="T29" fmla="*/ 690 h 702"/>
                <a:gd name="T30" fmla="*/ 269 w 458"/>
                <a:gd name="T31" fmla="*/ 473 h 702"/>
                <a:gd name="T32" fmla="*/ 399 w 458"/>
                <a:gd name="T33" fmla="*/ 414 h 702"/>
                <a:gd name="T34" fmla="*/ 356 w 458"/>
                <a:gd name="T35" fmla="*/ 524 h 702"/>
                <a:gd name="T36" fmla="*/ 380 w 458"/>
                <a:gd name="T37" fmla="*/ 690 h 702"/>
                <a:gd name="T38" fmla="*/ 431 w 458"/>
                <a:gd name="T39" fmla="*/ 450 h 702"/>
                <a:gd name="T40" fmla="*/ 435 w 458"/>
                <a:gd name="T41" fmla="*/ 702 h 702"/>
                <a:gd name="T42" fmla="*/ 457 w 458"/>
                <a:gd name="T43" fmla="*/ 467 h 702"/>
                <a:gd name="T44" fmla="*/ 95 w 458"/>
                <a:gd name="T45" fmla="*/ 221 h 702"/>
                <a:gd name="T46" fmla="*/ 84 w 458"/>
                <a:gd name="T47" fmla="*/ 201 h 702"/>
                <a:gd name="T48" fmla="*/ 110 w 458"/>
                <a:gd name="T49" fmla="*/ 200 h 702"/>
                <a:gd name="T50" fmla="*/ 141 w 458"/>
                <a:gd name="T51" fmla="*/ 162 h 702"/>
                <a:gd name="T52" fmla="*/ 103 w 458"/>
                <a:gd name="T53" fmla="*/ 168 h 702"/>
                <a:gd name="T54" fmla="*/ 129 w 458"/>
                <a:gd name="T55" fmla="*/ 59 h 702"/>
                <a:gd name="T56" fmla="*/ 316 w 458"/>
                <a:gd name="T57" fmla="*/ 59 h 702"/>
                <a:gd name="T58" fmla="*/ 315 w 458"/>
                <a:gd name="T59" fmla="*/ 141 h 702"/>
                <a:gd name="T60" fmla="*/ 131 w 458"/>
                <a:gd name="T61" fmla="*/ 104 h 702"/>
                <a:gd name="T62" fmla="*/ 306 w 458"/>
                <a:gd name="T63" fmla="*/ 180 h 702"/>
                <a:gd name="T64" fmla="*/ 345 w 458"/>
                <a:gd name="T65" fmla="*/ 201 h 702"/>
                <a:gd name="T66" fmla="*/ 335 w 458"/>
                <a:gd name="T67" fmla="*/ 221 h 702"/>
                <a:gd name="T68" fmla="*/ 118 w 458"/>
                <a:gd name="T69" fmla="*/ 240 h 702"/>
                <a:gd name="T70" fmla="*/ 155 w 458"/>
                <a:gd name="T71" fmla="*/ 446 h 702"/>
                <a:gd name="T72" fmla="*/ 198 w 458"/>
                <a:gd name="T73" fmla="*/ 420 h 702"/>
                <a:gd name="T74" fmla="*/ 204 w 458"/>
                <a:gd name="T75" fmla="*/ 447 h 702"/>
                <a:gd name="T76" fmla="*/ 226 w 458"/>
                <a:gd name="T77" fmla="*/ 463 h 702"/>
                <a:gd name="T78" fmla="*/ 150 w 458"/>
                <a:gd name="T79" fmla="*/ 347 h 702"/>
                <a:gd name="T80" fmla="*/ 280 w 458"/>
                <a:gd name="T81" fmla="*/ 325 h 702"/>
                <a:gd name="T82" fmla="*/ 275 w 458"/>
                <a:gd name="T83" fmla="*/ 446 h 702"/>
                <a:gd name="T84" fmla="*/ 232 w 458"/>
                <a:gd name="T85" fmla="*/ 420 h 702"/>
                <a:gd name="T86" fmla="*/ 275 w 458"/>
                <a:gd name="T87" fmla="*/ 446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8" h="702">
                  <a:moveTo>
                    <a:pt x="407" y="392"/>
                  </a:moveTo>
                  <a:lnTo>
                    <a:pt x="343" y="367"/>
                  </a:lnTo>
                  <a:lnTo>
                    <a:pt x="311" y="335"/>
                  </a:lnTo>
                  <a:cubicBezTo>
                    <a:pt x="309" y="332"/>
                    <a:pt x="306" y="331"/>
                    <a:pt x="303" y="331"/>
                  </a:cubicBezTo>
                  <a:lnTo>
                    <a:pt x="303" y="305"/>
                  </a:lnTo>
                  <a:cubicBezTo>
                    <a:pt x="318" y="289"/>
                    <a:pt x="329" y="268"/>
                    <a:pt x="334" y="245"/>
                  </a:cubicBezTo>
                  <a:cubicBezTo>
                    <a:pt x="337" y="245"/>
                    <a:pt x="339" y="245"/>
                    <a:pt x="342" y="244"/>
                  </a:cubicBezTo>
                  <a:cubicBezTo>
                    <a:pt x="358" y="241"/>
                    <a:pt x="369" y="227"/>
                    <a:pt x="369" y="210"/>
                  </a:cubicBezTo>
                  <a:lnTo>
                    <a:pt x="369" y="201"/>
                  </a:lnTo>
                  <a:cubicBezTo>
                    <a:pt x="369" y="192"/>
                    <a:pt x="365" y="183"/>
                    <a:pt x="359" y="176"/>
                  </a:cubicBezTo>
                  <a:cubicBezTo>
                    <a:pt x="369" y="120"/>
                    <a:pt x="360" y="74"/>
                    <a:pt x="334" y="44"/>
                  </a:cubicBezTo>
                  <a:cubicBezTo>
                    <a:pt x="308" y="14"/>
                    <a:pt x="267" y="0"/>
                    <a:pt x="214" y="2"/>
                  </a:cubicBezTo>
                  <a:cubicBezTo>
                    <a:pt x="165" y="5"/>
                    <a:pt x="134" y="27"/>
                    <a:pt x="124" y="36"/>
                  </a:cubicBezTo>
                  <a:cubicBezTo>
                    <a:pt x="119" y="36"/>
                    <a:pt x="109" y="38"/>
                    <a:pt x="100" y="44"/>
                  </a:cubicBezTo>
                  <a:cubicBezTo>
                    <a:pt x="87" y="52"/>
                    <a:pt x="71" y="68"/>
                    <a:pt x="71" y="102"/>
                  </a:cubicBezTo>
                  <a:cubicBezTo>
                    <a:pt x="71" y="131"/>
                    <a:pt x="76" y="156"/>
                    <a:pt x="79" y="170"/>
                  </a:cubicBezTo>
                  <a:cubicBezTo>
                    <a:pt x="68" y="176"/>
                    <a:pt x="60" y="188"/>
                    <a:pt x="60" y="201"/>
                  </a:cubicBezTo>
                  <a:lnTo>
                    <a:pt x="60" y="210"/>
                  </a:lnTo>
                  <a:cubicBezTo>
                    <a:pt x="60" y="227"/>
                    <a:pt x="72" y="241"/>
                    <a:pt x="87" y="244"/>
                  </a:cubicBezTo>
                  <a:cubicBezTo>
                    <a:pt x="90" y="245"/>
                    <a:pt x="93" y="245"/>
                    <a:pt x="96" y="245"/>
                  </a:cubicBezTo>
                  <a:cubicBezTo>
                    <a:pt x="100" y="268"/>
                    <a:pt x="111" y="289"/>
                    <a:pt x="126" y="305"/>
                  </a:cubicBezTo>
                  <a:lnTo>
                    <a:pt x="126" y="331"/>
                  </a:lnTo>
                  <a:cubicBezTo>
                    <a:pt x="123" y="331"/>
                    <a:pt x="121" y="332"/>
                    <a:pt x="119" y="335"/>
                  </a:cubicBezTo>
                  <a:lnTo>
                    <a:pt x="86" y="367"/>
                  </a:lnTo>
                  <a:lnTo>
                    <a:pt x="22" y="392"/>
                  </a:lnTo>
                  <a:cubicBezTo>
                    <a:pt x="17" y="394"/>
                    <a:pt x="11" y="397"/>
                    <a:pt x="7" y="400"/>
                  </a:cubicBezTo>
                  <a:cubicBezTo>
                    <a:pt x="1" y="404"/>
                    <a:pt x="0" y="411"/>
                    <a:pt x="4" y="416"/>
                  </a:cubicBezTo>
                  <a:cubicBezTo>
                    <a:pt x="6" y="420"/>
                    <a:pt x="9" y="421"/>
                    <a:pt x="13" y="421"/>
                  </a:cubicBezTo>
                  <a:cubicBezTo>
                    <a:pt x="15" y="421"/>
                    <a:pt x="18" y="421"/>
                    <a:pt x="20" y="419"/>
                  </a:cubicBezTo>
                  <a:cubicBezTo>
                    <a:pt x="23" y="417"/>
                    <a:pt x="27" y="415"/>
                    <a:pt x="31" y="414"/>
                  </a:cubicBezTo>
                  <a:lnTo>
                    <a:pt x="90" y="391"/>
                  </a:lnTo>
                  <a:lnTo>
                    <a:pt x="135" y="459"/>
                  </a:lnTo>
                  <a:cubicBezTo>
                    <a:pt x="141" y="467"/>
                    <a:pt x="150" y="472"/>
                    <a:pt x="160" y="473"/>
                  </a:cubicBezTo>
                  <a:cubicBezTo>
                    <a:pt x="161" y="474"/>
                    <a:pt x="162" y="474"/>
                    <a:pt x="163" y="474"/>
                  </a:cubicBezTo>
                  <a:cubicBezTo>
                    <a:pt x="169" y="474"/>
                    <a:pt x="175" y="472"/>
                    <a:pt x="180" y="469"/>
                  </a:cubicBezTo>
                  <a:lnTo>
                    <a:pt x="170" y="690"/>
                  </a:lnTo>
                  <a:cubicBezTo>
                    <a:pt x="170" y="696"/>
                    <a:pt x="175" y="702"/>
                    <a:pt x="181" y="702"/>
                  </a:cubicBezTo>
                  <a:cubicBezTo>
                    <a:pt x="181" y="702"/>
                    <a:pt x="182" y="702"/>
                    <a:pt x="182" y="702"/>
                  </a:cubicBezTo>
                  <a:cubicBezTo>
                    <a:pt x="188" y="702"/>
                    <a:pt x="193" y="697"/>
                    <a:pt x="193" y="691"/>
                  </a:cubicBezTo>
                  <a:lnTo>
                    <a:pt x="202" y="486"/>
                  </a:lnTo>
                  <a:lnTo>
                    <a:pt x="227" y="486"/>
                  </a:lnTo>
                  <a:lnTo>
                    <a:pt x="236" y="691"/>
                  </a:lnTo>
                  <a:cubicBezTo>
                    <a:pt x="236" y="697"/>
                    <a:pt x="241" y="702"/>
                    <a:pt x="248" y="702"/>
                  </a:cubicBezTo>
                  <a:cubicBezTo>
                    <a:pt x="248" y="702"/>
                    <a:pt x="248" y="702"/>
                    <a:pt x="248" y="702"/>
                  </a:cubicBezTo>
                  <a:cubicBezTo>
                    <a:pt x="255" y="702"/>
                    <a:pt x="260" y="696"/>
                    <a:pt x="259" y="690"/>
                  </a:cubicBezTo>
                  <a:lnTo>
                    <a:pt x="250" y="469"/>
                  </a:lnTo>
                  <a:cubicBezTo>
                    <a:pt x="255" y="472"/>
                    <a:pt x="260" y="474"/>
                    <a:pt x="266" y="474"/>
                  </a:cubicBezTo>
                  <a:cubicBezTo>
                    <a:pt x="267" y="474"/>
                    <a:pt x="268" y="474"/>
                    <a:pt x="269" y="473"/>
                  </a:cubicBezTo>
                  <a:cubicBezTo>
                    <a:pt x="279" y="472"/>
                    <a:pt x="288" y="467"/>
                    <a:pt x="294" y="459"/>
                  </a:cubicBezTo>
                  <a:lnTo>
                    <a:pt x="339" y="391"/>
                  </a:lnTo>
                  <a:lnTo>
                    <a:pt x="399" y="414"/>
                  </a:lnTo>
                  <a:cubicBezTo>
                    <a:pt x="407" y="417"/>
                    <a:pt x="414" y="422"/>
                    <a:pt x="420" y="428"/>
                  </a:cubicBezTo>
                  <a:lnTo>
                    <a:pt x="379" y="469"/>
                  </a:lnTo>
                  <a:cubicBezTo>
                    <a:pt x="364" y="483"/>
                    <a:pt x="356" y="503"/>
                    <a:pt x="356" y="524"/>
                  </a:cubicBezTo>
                  <a:lnTo>
                    <a:pt x="356" y="690"/>
                  </a:lnTo>
                  <a:cubicBezTo>
                    <a:pt x="356" y="697"/>
                    <a:pt x="362" y="702"/>
                    <a:pt x="368" y="702"/>
                  </a:cubicBezTo>
                  <a:cubicBezTo>
                    <a:pt x="375" y="702"/>
                    <a:pt x="380" y="697"/>
                    <a:pt x="380" y="690"/>
                  </a:cubicBezTo>
                  <a:lnTo>
                    <a:pt x="380" y="524"/>
                  </a:lnTo>
                  <a:cubicBezTo>
                    <a:pt x="380" y="509"/>
                    <a:pt x="385" y="496"/>
                    <a:pt x="396" y="485"/>
                  </a:cubicBezTo>
                  <a:lnTo>
                    <a:pt x="431" y="450"/>
                  </a:lnTo>
                  <a:cubicBezTo>
                    <a:pt x="433" y="455"/>
                    <a:pt x="433" y="461"/>
                    <a:pt x="433" y="466"/>
                  </a:cubicBezTo>
                  <a:lnTo>
                    <a:pt x="424" y="690"/>
                  </a:lnTo>
                  <a:cubicBezTo>
                    <a:pt x="424" y="696"/>
                    <a:pt x="429" y="702"/>
                    <a:pt x="435" y="702"/>
                  </a:cubicBezTo>
                  <a:cubicBezTo>
                    <a:pt x="435" y="702"/>
                    <a:pt x="436" y="702"/>
                    <a:pt x="436" y="702"/>
                  </a:cubicBezTo>
                  <a:cubicBezTo>
                    <a:pt x="442" y="702"/>
                    <a:pt x="447" y="697"/>
                    <a:pt x="447" y="691"/>
                  </a:cubicBezTo>
                  <a:lnTo>
                    <a:pt x="457" y="467"/>
                  </a:lnTo>
                  <a:cubicBezTo>
                    <a:pt x="458" y="434"/>
                    <a:pt x="438" y="404"/>
                    <a:pt x="407" y="392"/>
                  </a:cubicBezTo>
                  <a:close/>
                  <a:moveTo>
                    <a:pt x="118" y="240"/>
                  </a:moveTo>
                  <a:cubicBezTo>
                    <a:pt x="116" y="229"/>
                    <a:pt x="106" y="221"/>
                    <a:pt x="95" y="221"/>
                  </a:cubicBezTo>
                  <a:cubicBezTo>
                    <a:pt x="94" y="222"/>
                    <a:pt x="93" y="221"/>
                    <a:pt x="92" y="221"/>
                  </a:cubicBezTo>
                  <a:cubicBezTo>
                    <a:pt x="87" y="220"/>
                    <a:pt x="84" y="215"/>
                    <a:pt x="84" y="210"/>
                  </a:cubicBezTo>
                  <a:lnTo>
                    <a:pt x="84" y="201"/>
                  </a:lnTo>
                  <a:cubicBezTo>
                    <a:pt x="84" y="196"/>
                    <a:pt x="87" y="191"/>
                    <a:pt x="92" y="190"/>
                  </a:cubicBezTo>
                  <a:cubicBezTo>
                    <a:pt x="96" y="190"/>
                    <a:pt x="100" y="191"/>
                    <a:pt x="102" y="194"/>
                  </a:cubicBezTo>
                  <a:cubicBezTo>
                    <a:pt x="104" y="197"/>
                    <a:pt x="107" y="199"/>
                    <a:pt x="110" y="200"/>
                  </a:cubicBezTo>
                  <a:cubicBezTo>
                    <a:pt x="115" y="201"/>
                    <a:pt x="121" y="200"/>
                    <a:pt x="125" y="198"/>
                  </a:cubicBezTo>
                  <a:cubicBezTo>
                    <a:pt x="132" y="192"/>
                    <a:pt x="138" y="186"/>
                    <a:pt x="144" y="179"/>
                  </a:cubicBezTo>
                  <a:cubicBezTo>
                    <a:pt x="148" y="174"/>
                    <a:pt x="147" y="166"/>
                    <a:pt x="141" y="162"/>
                  </a:cubicBezTo>
                  <a:cubicBezTo>
                    <a:pt x="136" y="159"/>
                    <a:pt x="129" y="160"/>
                    <a:pt x="125" y="165"/>
                  </a:cubicBezTo>
                  <a:cubicBezTo>
                    <a:pt x="122" y="169"/>
                    <a:pt x="119" y="172"/>
                    <a:pt x="116" y="175"/>
                  </a:cubicBezTo>
                  <a:cubicBezTo>
                    <a:pt x="112" y="172"/>
                    <a:pt x="108" y="169"/>
                    <a:pt x="103" y="168"/>
                  </a:cubicBezTo>
                  <a:cubicBezTo>
                    <a:pt x="100" y="156"/>
                    <a:pt x="95" y="132"/>
                    <a:pt x="95" y="102"/>
                  </a:cubicBezTo>
                  <a:cubicBezTo>
                    <a:pt x="95" y="84"/>
                    <a:pt x="100" y="71"/>
                    <a:pt x="111" y="64"/>
                  </a:cubicBezTo>
                  <a:cubicBezTo>
                    <a:pt x="120" y="59"/>
                    <a:pt x="129" y="59"/>
                    <a:pt x="129" y="59"/>
                  </a:cubicBezTo>
                  <a:cubicBezTo>
                    <a:pt x="132" y="59"/>
                    <a:pt x="135" y="58"/>
                    <a:pt x="137" y="56"/>
                  </a:cubicBezTo>
                  <a:cubicBezTo>
                    <a:pt x="137" y="55"/>
                    <a:pt x="166" y="29"/>
                    <a:pt x="215" y="26"/>
                  </a:cubicBezTo>
                  <a:cubicBezTo>
                    <a:pt x="260" y="23"/>
                    <a:pt x="295" y="35"/>
                    <a:pt x="316" y="59"/>
                  </a:cubicBezTo>
                  <a:cubicBezTo>
                    <a:pt x="337" y="83"/>
                    <a:pt x="344" y="120"/>
                    <a:pt x="336" y="167"/>
                  </a:cubicBezTo>
                  <a:cubicBezTo>
                    <a:pt x="333" y="167"/>
                    <a:pt x="330" y="167"/>
                    <a:pt x="326" y="167"/>
                  </a:cubicBezTo>
                  <a:lnTo>
                    <a:pt x="315" y="141"/>
                  </a:lnTo>
                  <a:cubicBezTo>
                    <a:pt x="313" y="136"/>
                    <a:pt x="307" y="133"/>
                    <a:pt x="302" y="134"/>
                  </a:cubicBezTo>
                  <a:cubicBezTo>
                    <a:pt x="301" y="134"/>
                    <a:pt x="192" y="162"/>
                    <a:pt x="147" y="105"/>
                  </a:cubicBezTo>
                  <a:cubicBezTo>
                    <a:pt x="143" y="100"/>
                    <a:pt x="136" y="100"/>
                    <a:pt x="131" y="104"/>
                  </a:cubicBezTo>
                  <a:cubicBezTo>
                    <a:pt x="125" y="108"/>
                    <a:pt x="125" y="115"/>
                    <a:pt x="129" y="120"/>
                  </a:cubicBezTo>
                  <a:cubicBezTo>
                    <a:pt x="175" y="178"/>
                    <a:pt x="267" y="165"/>
                    <a:pt x="298" y="159"/>
                  </a:cubicBezTo>
                  <a:lnTo>
                    <a:pt x="306" y="180"/>
                  </a:lnTo>
                  <a:cubicBezTo>
                    <a:pt x="310" y="188"/>
                    <a:pt x="319" y="193"/>
                    <a:pt x="328" y="191"/>
                  </a:cubicBezTo>
                  <a:cubicBezTo>
                    <a:pt x="332" y="190"/>
                    <a:pt x="336" y="190"/>
                    <a:pt x="337" y="190"/>
                  </a:cubicBezTo>
                  <a:cubicBezTo>
                    <a:pt x="342" y="191"/>
                    <a:pt x="345" y="196"/>
                    <a:pt x="345" y="201"/>
                  </a:cubicBezTo>
                  <a:lnTo>
                    <a:pt x="345" y="210"/>
                  </a:lnTo>
                  <a:cubicBezTo>
                    <a:pt x="345" y="215"/>
                    <a:pt x="342" y="220"/>
                    <a:pt x="337" y="221"/>
                  </a:cubicBezTo>
                  <a:cubicBezTo>
                    <a:pt x="336" y="221"/>
                    <a:pt x="335" y="222"/>
                    <a:pt x="335" y="221"/>
                  </a:cubicBezTo>
                  <a:cubicBezTo>
                    <a:pt x="323" y="221"/>
                    <a:pt x="313" y="229"/>
                    <a:pt x="311" y="240"/>
                  </a:cubicBezTo>
                  <a:cubicBezTo>
                    <a:pt x="302" y="286"/>
                    <a:pt x="262" y="320"/>
                    <a:pt x="215" y="320"/>
                  </a:cubicBezTo>
                  <a:cubicBezTo>
                    <a:pt x="167" y="320"/>
                    <a:pt x="127" y="286"/>
                    <a:pt x="118" y="240"/>
                  </a:cubicBezTo>
                  <a:close/>
                  <a:moveTo>
                    <a:pt x="170" y="447"/>
                  </a:moveTo>
                  <a:cubicBezTo>
                    <a:pt x="167" y="450"/>
                    <a:pt x="164" y="450"/>
                    <a:pt x="162" y="450"/>
                  </a:cubicBezTo>
                  <a:cubicBezTo>
                    <a:pt x="160" y="450"/>
                    <a:pt x="157" y="449"/>
                    <a:pt x="155" y="446"/>
                  </a:cubicBezTo>
                  <a:lnTo>
                    <a:pt x="109" y="377"/>
                  </a:lnTo>
                  <a:lnTo>
                    <a:pt x="127" y="359"/>
                  </a:lnTo>
                  <a:lnTo>
                    <a:pt x="198" y="420"/>
                  </a:lnTo>
                  <a:lnTo>
                    <a:pt x="170" y="447"/>
                  </a:lnTo>
                  <a:close/>
                  <a:moveTo>
                    <a:pt x="204" y="463"/>
                  </a:moveTo>
                  <a:lnTo>
                    <a:pt x="204" y="447"/>
                  </a:lnTo>
                  <a:lnTo>
                    <a:pt x="215" y="436"/>
                  </a:lnTo>
                  <a:lnTo>
                    <a:pt x="225" y="447"/>
                  </a:lnTo>
                  <a:lnTo>
                    <a:pt x="226" y="463"/>
                  </a:lnTo>
                  <a:lnTo>
                    <a:pt x="204" y="463"/>
                  </a:lnTo>
                  <a:close/>
                  <a:moveTo>
                    <a:pt x="215" y="404"/>
                  </a:moveTo>
                  <a:lnTo>
                    <a:pt x="150" y="347"/>
                  </a:lnTo>
                  <a:lnTo>
                    <a:pt x="150" y="325"/>
                  </a:lnTo>
                  <a:cubicBezTo>
                    <a:pt x="169" y="337"/>
                    <a:pt x="191" y="344"/>
                    <a:pt x="215" y="344"/>
                  </a:cubicBezTo>
                  <a:cubicBezTo>
                    <a:pt x="238" y="344"/>
                    <a:pt x="261" y="337"/>
                    <a:pt x="280" y="325"/>
                  </a:cubicBezTo>
                  <a:lnTo>
                    <a:pt x="280" y="347"/>
                  </a:lnTo>
                  <a:lnTo>
                    <a:pt x="215" y="404"/>
                  </a:lnTo>
                  <a:close/>
                  <a:moveTo>
                    <a:pt x="275" y="446"/>
                  </a:moveTo>
                  <a:cubicBezTo>
                    <a:pt x="272" y="449"/>
                    <a:pt x="269" y="450"/>
                    <a:pt x="267" y="450"/>
                  </a:cubicBezTo>
                  <a:cubicBezTo>
                    <a:pt x="265" y="450"/>
                    <a:pt x="262" y="450"/>
                    <a:pt x="259" y="447"/>
                  </a:cubicBezTo>
                  <a:lnTo>
                    <a:pt x="232" y="420"/>
                  </a:lnTo>
                  <a:lnTo>
                    <a:pt x="302" y="359"/>
                  </a:lnTo>
                  <a:lnTo>
                    <a:pt x="320" y="377"/>
                  </a:lnTo>
                  <a:lnTo>
                    <a:pt x="275" y="446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25">
              <a:extLst>
                <a:ext uri="{FF2B5EF4-FFF2-40B4-BE49-F238E27FC236}">
                  <a16:creationId xmlns:a16="http://schemas.microsoft.com/office/drawing/2014/main" id="{BC59BFC3-7C10-822A-7A74-1CC31407F4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16825" y="4432300"/>
              <a:ext cx="152400" cy="254000"/>
            </a:xfrm>
            <a:custGeom>
              <a:avLst/>
              <a:gdLst>
                <a:gd name="T0" fmla="*/ 285 w 421"/>
                <a:gd name="T1" fmla="*/ 395 h 700"/>
                <a:gd name="T2" fmla="*/ 330 w 421"/>
                <a:gd name="T3" fmla="*/ 294 h 700"/>
                <a:gd name="T4" fmla="*/ 365 w 421"/>
                <a:gd name="T5" fmla="*/ 251 h 700"/>
                <a:gd name="T6" fmla="*/ 288 w 421"/>
                <a:gd name="T7" fmla="*/ 73 h 700"/>
                <a:gd name="T8" fmla="*/ 67 w 421"/>
                <a:gd name="T9" fmla="*/ 189 h 700"/>
                <a:gd name="T10" fmla="*/ 56 w 421"/>
                <a:gd name="T11" fmla="*/ 259 h 700"/>
                <a:gd name="T12" fmla="*/ 144 w 421"/>
                <a:gd name="T13" fmla="*/ 373 h 700"/>
                <a:gd name="T14" fmla="*/ 105 w 421"/>
                <a:gd name="T15" fmla="*/ 426 h 700"/>
                <a:gd name="T16" fmla="*/ 9 w 421"/>
                <a:gd name="T17" fmla="*/ 689 h 700"/>
                <a:gd name="T18" fmla="*/ 32 w 421"/>
                <a:gd name="T19" fmla="*/ 688 h 700"/>
                <a:gd name="T20" fmla="*/ 63 w 421"/>
                <a:gd name="T21" fmla="*/ 532 h 700"/>
                <a:gd name="T22" fmla="*/ 90 w 421"/>
                <a:gd name="T23" fmla="*/ 700 h 700"/>
                <a:gd name="T24" fmla="*/ 81 w 421"/>
                <a:gd name="T25" fmla="*/ 517 h 700"/>
                <a:gd name="T26" fmla="*/ 107 w 421"/>
                <a:gd name="T27" fmla="*/ 451 h 700"/>
                <a:gd name="T28" fmla="*/ 162 w 421"/>
                <a:gd name="T29" fmla="*/ 519 h 700"/>
                <a:gd name="T30" fmla="*/ 199 w 421"/>
                <a:gd name="T31" fmla="*/ 688 h 700"/>
                <a:gd name="T32" fmla="*/ 222 w 421"/>
                <a:gd name="T33" fmla="*/ 494 h 700"/>
                <a:gd name="T34" fmla="*/ 263 w 421"/>
                <a:gd name="T35" fmla="*/ 519 h 700"/>
                <a:gd name="T36" fmla="*/ 364 w 421"/>
                <a:gd name="T37" fmla="*/ 473 h 700"/>
                <a:gd name="T38" fmla="*/ 320 w 421"/>
                <a:gd name="T39" fmla="*/ 573 h 700"/>
                <a:gd name="T40" fmla="*/ 343 w 421"/>
                <a:gd name="T41" fmla="*/ 688 h 700"/>
                <a:gd name="T42" fmla="*/ 389 w 421"/>
                <a:gd name="T43" fmla="*/ 495 h 700"/>
                <a:gd name="T44" fmla="*/ 401 w 421"/>
                <a:gd name="T45" fmla="*/ 700 h 700"/>
                <a:gd name="T46" fmla="*/ 420 w 421"/>
                <a:gd name="T47" fmla="*/ 525 h 700"/>
                <a:gd name="T48" fmla="*/ 263 w 421"/>
                <a:gd name="T49" fmla="*/ 61 h 700"/>
                <a:gd name="T50" fmla="*/ 211 w 421"/>
                <a:gd name="T51" fmla="*/ 24 h 700"/>
                <a:gd name="T52" fmla="*/ 88 w 421"/>
                <a:gd name="T53" fmla="*/ 271 h 700"/>
                <a:gd name="T54" fmla="*/ 88 w 421"/>
                <a:gd name="T55" fmla="*/ 240 h 700"/>
                <a:gd name="T56" fmla="*/ 121 w 421"/>
                <a:gd name="T57" fmla="*/ 247 h 700"/>
                <a:gd name="T58" fmla="*/ 121 w 421"/>
                <a:gd name="T59" fmla="*/ 214 h 700"/>
                <a:gd name="T60" fmla="*/ 91 w 421"/>
                <a:gd name="T61" fmla="*/ 189 h 700"/>
                <a:gd name="T62" fmla="*/ 327 w 421"/>
                <a:gd name="T63" fmla="*/ 216 h 700"/>
                <a:gd name="T64" fmla="*/ 294 w 421"/>
                <a:gd name="T65" fmla="*/ 205 h 700"/>
                <a:gd name="T66" fmla="*/ 125 w 421"/>
                <a:gd name="T67" fmla="*/ 170 h 700"/>
                <a:gd name="T68" fmla="*/ 308 w 421"/>
                <a:gd name="T69" fmla="*/ 240 h 700"/>
                <a:gd name="T70" fmla="*/ 341 w 421"/>
                <a:gd name="T71" fmla="*/ 251 h 700"/>
                <a:gd name="T72" fmla="*/ 331 w 421"/>
                <a:gd name="T73" fmla="*/ 271 h 700"/>
                <a:gd name="T74" fmla="*/ 114 w 421"/>
                <a:gd name="T75" fmla="*/ 289 h 700"/>
                <a:gd name="T76" fmla="*/ 145 w 421"/>
                <a:gd name="T77" fmla="*/ 420 h 700"/>
                <a:gd name="T78" fmla="*/ 211 w 421"/>
                <a:gd name="T79" fmla="*/ 452 h 700"/>
                <a:gd name="T80" fmla="*/ 211 w 421"/>
                <a:gd name="T81" fmla="*/ 393 h 700"/>
                <a:gd name="T82" fmla="*/ 211 w 421"/>
                <a:gd name="T83" fmla="*/ 452 h 700"/>
                <a:gd name="T84" fmla="*/ 276 w 421"/>
                <a:gd name="T85" fmla="*/ 42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700">
                  <a:moveTo>
                    <a:pt x="373" y="451"/>
                  </a:moveTo>
                  <a:lnTo>
                    <a:pt x="316" y="426"/>
                  </a:lnTo>
                  <a:lnTo>
                    <a:pt x="285" y="395"/>
                  </a:lnTo>
                  <a:cubicBezTo>
                    <a:pt x="283" y="393"/>
                    <a:pt x="280" y="392"/>
                    <a:pt x="277" y="391"/>
                  </a:cubicBezTo>
                  <a:lnTo>
                    <a:pt x="277" y="373"/>
                  </a:lnTo>
                  <a:cubicBezTo>
                    <a:pt x="304" y="355"/>
                    <a:pt x="323" y="328"/>
                    <a:pt x="330" y="294"/>
                  </a:cubicBezTo>
                  <a:cubicBezTo>
                    <a:pt x="333" y="294"/>
                    <a:pt x="336" y="294"/>
                    <a:pt x="339" y="293"/>
                  </a:cubicBezTo>
                  <a:cubicBezTo>
                    <a:pt x="354" y="290"/>
                    <a:pt x="365" y="275"/>
                    <a:pt x="365" y="259"/>
                  </a:cubicBezTo>
                  <a:lnTo>
                    <a:pt x="365" y="251"/>
                  </a:lnTo>
                  <a:cubicBezTo>
                    <a:pt x="365" y="239"/>
                    <a:pt x="359" y="228"/>
                    <a:pt x="350" y="222"/>
                  </a:cubicBezTo>
                  <a:cubicBezTo>
                    <a:pt x="353" y="211"/>
                    <a:pt x="354" y="200"/>
                    <a:pt x="354" y="189"/>
                  </a:cubicBezTo>
                  <a:cubicBezTo>
                    <a:pt x="354" y="141"/>
                    <a:pt x="328" y="98"/>
                    <a:pt x="288" y="73"/>
                  </a:cubicBezTo>
                  <a:cubicBezTo>
                    <a:pt x="288" y="33"/>
                    <a:pt x="253" y="0"/>
                    <a:pt x="211" y="0"/>
                  </a:cubicBezTo>
                  <a:cubicBezTo>
                    <a:pt x="168" y="0"/>
                    <a:pt x="134" y="33"/>
                    <a:pt x="133" y="73"/>
                  </a:cubicBezTo>
                  <a:cubicBezTo>
                    <a:pt x="94" y="98"/>
                    <a:pt x="67" y="141"/>
                    <a:pt x="67" y="189"/>
                  </a:cubicBezTo>
                  <a:cubicBezTo>
                    <a:pt x="67" y="200"/>
                    <a:pt x="69" y="211"/>
                    <a:pt x="71" y="222"/>
                  </a:cubicBezTo>
                  <a:cubicBezTo>
                    <a:pt x="62" y="228"/>
                    <a:pt x="56" y="239"/>
                    <a:pt x="56" y="251"/>
                  </a:cubicBezTo>
                  <a:lnTo>
                    <a:pt x="56" y="259"/>
                  </a:lnTo>
                  <a:cubicBezTo>
                    <a:pt x="56" y="275"/>
                    <a:pt x="67" y="290"/>
                    <a:pt x="82" y="293"/>
                  </a:cubicBezTo>
                  <a:cubicBezTo>
                    <a:pt x="85" y="294"/>
                    <a:pt x="88" y="294"/>
                    <a:pt x="92" y="294"/>
                  </a:cubicBezTo>
                  <a:cubicBezTo>
                    <a:pt x="98" y="328"/>
                    <a:pt x="117" y="355"/>
                    <a:pt x="144" y="373"/>
                  </a:cubicBezTo>
                  <a:lnTo>
                    <a:pt x="144" y="391"/>
                  </a:lnTo>
                  <a:cubicBezTo>
                    <a:pt x="141" y="392"/>
                    <a:pt x="139" y="393"/>
                    <a:pt x="137" y="395"/>
                  </a:cubicBezTo>
                  <a:lnTo>
                    <a:pt x="105" y="426"/>
                  </a:lnTo>
                  <a:lnTo>
                    <a:pt x="48" y="451"/>
                  </a:lnTo>
                  <a:cubicBezTo>
                    <a:pt x="19" y="464"/>
                    <a:pt x="0" y="494"/>
                    <a:pt x="2" y="525"/>
                  </a:cubicBezTo>
                  <a:lnTo>
                    <a:pt x="9" y="689"/>
                  </a:lnTo>
                  <a:cubicBezTo>
                    <a:pt x="9" y="695"/>
                    <a:pt x="14" y="700"/>
                    <a:pt x="20" y="700"/>
                  </a:cubicBezTo>
                  <a:cubicBezTo>
                    <a:pt x="20" y="700"/>
                    <a:pt x="21" y="700"/>
                    <a:pt x="21" y="700"/>
                  </a:cubicBezTo>
                  <a:cubicBezTo>
                    <a:pt x="27" y="700"/>
                    <a:pt x="32" y="694"/>
                    <a:pt x="32" y="688"/>
                  </a:cubicBezTo>
                  <a:lnTo>
                    <a:pt x="25" y="524"/>
                  </a:lnTo>
                  <a:cubicBezTo>
                    <a:pt x="25" y="514"/>
                    <a:pt x="27" y="504"/>
                    <a:pt x="33" y="495"/>
                  </a:cubicBezTo>
                  <a:lnTo>
                    <a:pt x="63" y="532"/>
                  </a:lnTo>
                  <a:cubicBezTo>
                    <a:pt x="73" y="544"/>
                    <a:pt x="78" y="558"/>
                    <a:pt x="78" y="573"/>
                  </a:cubicBezTo>
                  <a:lnTo>
                    <a:pt x="78" y="688"/>
                  </a:lnTo>
                  <a:cubicBezTo>
                    <a:pt x="78" y="695"/>
                    <a:pt x="84" y="700"/>
                    <a:pt x="90" y="700"/>
                  </a:cubicBezTo>
                  <a:cubicBezTo>
                    <a:pt x="97" y="700"/>
                    <a:pt x="102" y="695"/>
                    <a:pt x="102" y="688"/>
                  </a:cubicBezTo>
                  <a:lnTo>
                    <a:pt x="102" y="573"/>
                  </a:lnTo>
                  <a:cubicBezTo>
                    <a:pt x="102" y="553"/>
                    <a:pt x="95" y="533"/>
                    <a:pt x="81" y="517"/>
                  </a:cubicBezTo>
                  <a:lnTo>
                    <a:pt x="49" y="478"/>
                  </a:lnTo>
                  <a:cubicBezTo>
                    <a:pt x="51" y="476"/>
                    <a:pt x="54" y="474"/>
                    <a:pt x="57" y="473"/>
                  </a:cubicBezTo>
                  <a:lnTo>
                    <a:pt x="107" y="451"/>
                  </a:lnTo>
                  <a:lnTo>
                    <a:pt x="143" y="508"/>
                  </a:lnTo>
                  <a:cubicBezTo>
                    <a:pt x="146" y="514"/>
                    <a:pt x="152" y="518"/>
                    <a:pt x="158" y="519"/>
                  </a:cubicBezTo>
                  <a:cubicBezTo>
                    <a:pt x="160" y="519"/>
                    <a:pt x="161" y="519"/>
                    <a:pt x="162" y="519"/>
                  </a:cubicBezTo>
                  <a:cubicBezTo>
                    <a:pt x="167" y="519"/>
                    <a:pt x="172" y="517"/>
                    <a:pt x="177" y="513"/>
                  </a:cubicBezTo>
                  <a:lnTo>
                    <a:pt x="199" y="494"/>
                  </a:lnTo>
                  <a:lnTo>
                    <a:pt x="199" y="688"/>
                  </a:lnTo>
                  <a:cubicBezTo>
                    <a:pt x="199" y="695"/>
                    <a:pt x="204" y="700"/>
                    <a:pt x="211" y="700"/>
                  </a:cubicBezTo>
                  <a:cubicBezTo>
                    <a:pt x="217" y="700"/>
                    <a:pt x="222" y="695"/>
                    <a:pt x="222" y="688"/>
                  </a:cubicBezTo>
                  <a:lnTo>
                    <a:pt x="222" y="494"/>
                  </a:lnTo>
                  <a:lnTo>
                    <a:pt x="245" y="513"/>
                  </a:lnTo>
                  <a:cubicBezTo>
                    <a:pt x="249" y="517"/>
                    <a:pt x="254" y="519"/>
                    <a:pt x="259" y="519"/>
                  </a:cubicBezTo>
                  <a:cubicBezTo>
                    <a:pt x="261" y="519"/>
                    <a:pt x="262" y="519"/>
                    <a:pt x="263" y="519"/>
                  </a:cubicBezTo>
                  <a:cubicBezTo>
                    <a:pt x="270" y="518"/>
                    <a:pt x="275" y="514"/>
                    <a:pt x="279" y="508"/>
                  </a:cubicBezTo>
                  <a:lnTo>
                    <a:pt x="314" y="451"/>
                  </a:lnTo>
                  <a:lnTo>
                    <a:pt x="364" y="473"/>
                  </a:lnTo>
                  <a:cubicBezTo>
                    <a:pt x="367" y="474"/>
                    <a:pt x="370" y="476"/>
                    <a:pt x="373" y="478"/>
                  </a:cubicBezTo>
                  <a:lnTo>
                    <a:pt x="340" y="517"/>
                  </a:lnTo>
                  <a:cubicBezTo>
                    <a:pt x="327" y="533"/>
                    <a:pt x="320" y="553"/>
                    <a:pt x="320" y="573"/>
                  </a:cubicBezTo>
                  <a:lnTo>
                    <a:pt x="320" y="688"/>
                  </a:lnTo>
                  <a:cubicBezTo>
                    <a:pt x="320" y="695"/>
                    <a:pt x="325" y="700"/>
                    <a:pt x="331" y="700"/>
                  </a:cubicBezTo>
                  <a:cubicBezTo>
                    <a:pt x="338" y="700"/>
                    <a:pt x="343" y="695"/>
                    <a:pt x="343" y="688"/>
                  </a:cubicBezTo>
                  <a:lnTo>
                    <a:pt x="343" y="573"/>
                  </a:lnTo>
                  <a:cubicBezTo>
                    <a:pt x="343" y="558"/>
                    <a:pt x="348" y="544"/>
                    <a:pt x="358" y="532"/>
                  </a:cubicBezTo>
                  <a:lnTo>
                    <a:pt x="389" y="495"/>
                  </a:lnTo>
                  <a:cubicBezTo>
                    <a:pt x="394" y="504"/>
                    <a:pt x="397" y="514"/>
                    <a:pt x="396" y="524"/>
                  </a:cubicBezTo>
                  <a:lnTo>
                    <a:pt x="389" y="688"/>
                  </a:lnTo>
                  <a:cubicBezTo>
                    <a:pt x="389" y="694"/>
                    <a:pt x="394" y="700"/>
                    <a:pt x="401" y="700"/>
                  </a:cubicBezTo>
                  <a:cubicBezTo>
                    <a:pt x="401" y="700"/>
                    <a:pt x="401" y="700"/>
                    <a:pt x="401" y="700"/>
                  </a:cubicBezTo>
                  <a:cubicBezTo>
                    <a:pt x="407" y="700"/>
                    <a:pt x="412" y="695"/>
                    <a:pt x="413" y="689"/>
                  </a:cubicBezTo>
                  <a:lnTo>
                    <a:pt x="420" y="525"/>
                  </a:lnTo>
                  <a:cubicBezTo>
                    <a:pt x="421" y="494"/>
                    <a:pt x="402" y="464"/>
                    <a:pt x="373" y="451"/>
                  </a:cubicBezTo>
                  <a:close/>
                  <a:moveTo>
                    <a:pt x="211" y="24"/>
                  </a:moveTo>
                  <a:cubicBezTo>
                    <a:pt x="236" y="24"/>
                    <a:pt x="257" y="39"/>
                    <a:pt x="263" y="61"/>
                  </a:cubicBezTo>
                  <a:cubicBezTo>
                    <a:pt x="247" y="55"/>
                    <a:pt x="229" y="52"/>
                    <a:pt x="211" y="52"/>
                  </a:cubicBezTo>
                  <a:cubicBezTo>
                    <a:pt x="192" y="52"/>
                    <a:pt x="175" y="55"/>
                    <a:pt x="158" y="61"/>
                  </a:cubicBezTo>
                  <a:cubicBezTo>
                    <a:pt x="165" y="39"/>
                    <a:pt x="186" y="24"/>
                    <a:pt x="211" y="24"/>
                  </a:cubicBezTo>
                  <a:close/>
                  <a:moveTo>
                    <a:pt x="114" y="289"/>
                  </a:moveTo>
                  <a:cubicBezTo>
                    <a:pt x="112" y="278"/>
                    <a:pt x="102" y="270"/>
                    <a:pt x="91" y="271"/>
                  </a:cubicBezTo>
                  <a:cubicBezTo>
                    <a:pt x="90" y="271"/>
                    <a:pt x="89" y="271"/>
                    <a:pt x="88" y="271"/>
                  </a:cubicBezTo>
                  <a:cubicBezTo>
                    <a:pt x="83" y="269"/>
                    <a:pt x="80" y="265"/>
                    <a:pt x="80" y="259"/>
                  </a:cubicBezTo>
                  <a:lnTo>
                    <a:pt x="80" y="251"/>
                  </a:lnTo>
                  <a:cubicBezTo>
                    <a:pt x="80" y="245"/>
                    <a:pt x="83" y="240"/>
                    <a:pt x="88" y="240"/>
                  </a:cubicBezTo>
                  <a:cubicBezTo>
                    <a:pt x="92" y="239"/>
                    <a:pt x="96" y="240"/>
                    <a:pt x="98" y="243"/>
                  </a:cubicBezTo>
                  <a:cubicBezTo>
                    <a:pt x="100" y="246"/>
                    <a:pt x="103" y="248"/>
                    <a:pt x="106" y="249"/>
                  </a:cubicBezTo>
                  <a:cubicBezTo>
                    <a:pt x="111" y="251"/>
                    <a:pt x="117" y="250"/>
                    <a:pt x="121" y="247"/>
                  </a:cubicBezTo>
                  <a:cubicBezTo>
                    <a:pt x="128" y="242"/>
                    <a:pt x="134" y="236"/>
                    <a:pt x="140" y="229"/>
                  </a:cubicBezTo>
                  <a:cubicBezTo>
                    <a:pt x="143" y="223"/>
                    <a:pt x="142" y="216"/>
                    <a:pt x="137" y="212"/>
                  </a:cubicBezTo>
                  <a:cubicBezTo>
                    <a:pt x="132" y="208"/>
                    <a:pt x="125" y="209"/>
                    <a:pt x="121" y="214"/>
                  </a:cubicBezTo>
                  <a:cubicBezTo>
                    <a:pt x="118" y="218"/>
                    <a:pt x="115" y="221"/>
                    <a:pt x="112" y="224"/>
                  </a:cubicBezTo>
                  <a:cubicBezTo>
                    <a:pt x="107" y="220"/>
                    <a:pt x="101" y="217"/>
                    <a:pt x="94" y="216"/>
                  </a:cubicBezTo>
                  <a:cubicBezTo>
                    <a:pt x="92" y="207"/>
                    <a:pt x="91" y="198"/>
                    <a:pt x="91" y="189"/>
                  </a:cubicBezTo>
                  <a:cubicBezTo>
                    <a:pt x="91" y="126"/>
                    <a:pt x="145" y="75"/>
                    <a:pt x="211" y="75"/>
                  </a:cubicBezTo>
                  <a:cubicBezTo>
                    <a:pt x="277" y="75"/>
                    <a:pt x="331" y="126"/>
                    <a:pt x="331" y="189"/>
                  </a:cubicBezTo>
                  <a:cubicBezTo>
                    <a:pt x="331" y="198"/>
                    <a:pt x="329" y="207"/>
                    <a:pt x="327" y="216"/>
                  </a:cubicBezTo>
                  <a:cubicBezTo>
                    <a:pt x="324" y="216"/>
                    <a:pt x="321" y="217"/>
                    <a:pt x="318" y="218"/>
                  </a:cubicBezTo>
                  <a:lnTo>
                    <a:pt x="309" y="210"/>
                  </a:lnTo>
                  <a:cubicBezTo>
                    <a:pt x="305" y="207"/>
                    <a:pt x="299" y="205"/>
                    <a:pt x="294" y="205"/>
                  </a:cubicBezTo>
                  <a:cubicBezTo>
                    <a:pt x="276" y="206"/>
                    <a:pt x="188" y="209"/>
                    <a:pt x="143" y="155"/>
                  </a:cubicBezTo>
                  <a:cubicBezTo>
                    <a:pt x="139" y="150"/>
                    <a:pt x="131" y="149"/>
                    <a:pt x="126" y="153"/>
                  </a:cubicBezTo>
                  <a:cubicBezTo>
                    <a:pt x="121" y="157"/>
                    <a:pt x="121" y="165"/>
                    <a:pt x="125" y="170"/>
                  </a:cubicBezTo>
                  <a:cubicBezTo>
                    <a:pt x="147" y="196"/>
                    <a:pt x="180" y="214"/>
                    <a:pt x="222" y="223"/>
                  </a:cubicBezTo>
                  <a:cubicBezTo>
                    <a:pt x="255" y="230"/>
                    <a:pt x="283" y="229"/>
                    <a:pt x="295" y="229"/>
                  </a:cubicBezTo>
                  <a:lnTo>
                    <a:pt x="308" y="240"/>
                  </a:lnTo>
                  <a:cubicBezTo>
                    <a:pt x="312" y="243"/>
                    <a:pt x="317" y="244"/>
                    <a:pt x="322" y="241"/>
                  </a:cubicBezTo>
                  <a:cubicBezTo>
                    <a:pt x="324" y="240"/>
                    <a:pt x="330" y="239"/>
                    <a:pt x="333" y="240"/>
                  </a:cubicBezTo>
                  <a:cubicBezTo>
                    <a:pt x="338" y="241"/>
                    <a:pt x="341" y="245"/>
                    <a:pt x="341" y="251"/>
                  </a:cubicBezTo>
                  <a:lnTo>
                    <a:pt x="341" y="259"/>
                  </a:lnTo>
                  <a:cubicBezTo>
                    <a:pt x="341" y="265"/>
                    <a:pt x="338" y="269"/>
                    <a:pt x="334" y="271"/>
                  </a:cubicBezTo>
                  <a:cubicBezTo>
                    <a:pt x="333" y="271"/>
                    <a:pt x="332" y="271"/>
                    <a:pt x="331" y="271"/>
                  </a:cubicBezTo>
                  <a:cubicBezTo>
                    <a:pt x="319" y="270"/>
                    <a:pt x="309" y="278"/>
                    <a:pt x="307" y="289"/>
                  </a:cubicBezTo>
                  <a:cubicBezTo>
                    <a:pt x="298" y="336"/>
                    <a:pt x="258" y="369"/>
                    <a:pt x="211" y="369"/>
                  </a:cubicBezTo>
                  <a:cubicBezTo>
                    <a:pt x="163" y="369"/>
                    <a:pt x="123" y="336"/>
                    <a:pt x="114" y="289"/>
                  </a:cubicBezTo>
                  <a:close/>
                  <a:moveTo>
                    <a:pt x="162" y="495"/>
                  </a:moveTo>
                  <a:lnTo>
                    <a:pt x="127" y="438"/>
                  </a:lnTo>
                  <a:lnTo>
                    <a:pt x="145" y="420"/>
                  </a:lnTo>
                  <a:lnTo>
                    <a:pt x="193" y="468"/>
                  </a:lnTo>
                  <a:lnTo>
                    <a:pt x="162" y="495"/>
                  </a:lnTo>
                  <a:close/>
                  <a:moveTo>
                    <a:pt x="211" y="452"/>
                  </a:moveTo>
                  <a:lnTo>
                    <a:pt x="168" y="409"/>
                  </a:lnTo>
                  <a:lnTo>
                    <a:pt x="168" y="385"/>
                  </a:lnTo>
                  <a:cubicBezTo>
                    <a:pt x="181" y="390"/>
                    <a:pt x="196" y="393"/>
                    <a:pt x="211" y="393"/>
                  </a:cubicBezTo>
                  <a:cubicBezTo>
                    <a:pt x="226" y="393"/>
                    <a:pt x="240" y="390"/>
                    <a:pt x="254" y="385"/>
                  </a:cubicBezTo>
                  <a:lnTo>
                    <a:pt x="254" y="409"/>
                  </a:lnTo>
                  <a:lnTo>
                    <a:pt x="211" y="452"/>
                  </a:lnTo>
                  <a:close/>
                  <a:moveTo>
                    <a:pt x="259" y="495"/>
                  </a:moveTo>
                  <a:lnTo>
                    <a:pt x="228" y="468"/>
                  </a:lnTo>
                  <a:lnTo>
                    <a:pt x="276" y="420"/>
                  </a:lnTo>
                  <a:lnTo>
                    <a:pt x="294" y="438"/>
                  </a:lnTo>
                  <a:lnTo>
                    <a:pt x="259" y="495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Freeform 26">
              <a:extLst>
                <a:ext uri="{FF2B5EF4-FFF2-40B4-BE49-F238E27FC236}">
                  <a16:creationId xmlns:a16="http://schemas.microsoft.com/office/drawing/2014/main" id="{DB13C0BC-C421-B3AA-2C21-FA644DDDA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1275" y="4638675"/>
              <a:ext cx="20638" cy="7937"/>
            </a:xfrm>
            <a:custGeom>
              <a:avLst/>
              <a:gdLst>
                <a:gd name="T0" fmla="*/ 45 w 57"/>
                <a:gd name="T1" fmla="*/ 0 h 23"/>
                <a:gd name="T2" fmla="*/ 12 w 57"/>
                <a:gd name="T3" fmla="*/ 0 h 23"/>
                <a:gd name="T4" fmla="*/ 0 w 57"/>
                <a:gd name="T5" fmla="*/ 12 h 23"/>
                <a:gd name="T6" fmla="*/ 12 w 57"/>
                <a:gd name="T7" fmla="*/ 23 h 23"/>
                <a:gd name="T8" fmla="*/ 45 w 57"/>
                <a:gd name="T9" fmla="*/ 23 h 23"/>
                <a:gd name="T10" fmla="*/ 57 w 57"/>
                <a:gd name="T11" fmla="*/ 12 h 23"/>
                <a:gd name="T12" fmla="*/ 45 w 57"/>
                <a:gd name="T13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23">
                  <a:moveTo>
                    <a:pt x="45" y="0"/>
                  </a:moveTo>
                  <a:lnTo>
                    <a:pt x="12" y="0"/>
                  </a:lnTo>
                  <a:cubicBezTo>
                    <a:pt x="5" y="0"/>
                    <a:pt x="0" y="5"/>
                    <a:pt x="0" y="12"/>
                  </a:cubicBezTo>
                  <a:cubicBezTo>
                    <a:pt x="0" y="18"/>
                    <a:pt x="5" y="23"/>
                    <a:pt x="12" y="23"/>
                  </a:cubicBezTo>
                  <a:lnTo>
                    <a:pt x="45" y="23"/>
                  </a:lnTo>
                  <a:cubicBezTo>
                    <a:pt x="51" y="23"/>
                    <a:pt x="57" y="18"/>
                    <a:pt x="57" y="12"/>
                  </a:cubicBezTo>
                  <a:cubicBezTo>
                    <a:pt x="57" y="5"/>
                    <a:pt x="51" y="0"/>
                    <a:pt x="45" y="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96ADA44E-6E7E-41F9-34C6-B27448583ACA}"/>
              </a:ext>
            </a:extLst>
          </p:cNvPr>
          <p:cNvGrpSpPr/>
          <p:nvPr userDrawn="1"/>
        </p:nvGrpSpPr>
        <p:grpSpPr>
          <a:xfrm>
            <a:off x="9577388" y="4432300"/>
            <a:ext cx="241300" cy="290512"/>
            <a:chOff x="9577388" y="4432300"/>
            <a:chExt cx="241300" cy="290512"/>
          </a:xfrm>
        </p:grpSpPr>
        <p:sp>
          <p:nvSpPr>
            <p:cNvPr id="120" name="Freeform 29">
              <a:extLst>
                <a:ext uri="{FF2B5EF4-FFF2-40B4-BE49-F238E27FC236}">
                  <a16:creationId xmlns:a16="http://schemas.microsoft.com/office/drawing/2014/main" id="{BFBEB0EE-0649-0F3E-F4C5-04B48792D1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77388" y="4432300"/>
              <a:ext cx="241300" cy="290512"/>
            </a:xfrm>
            <a:custGeom>
              <a:avLst/>
              <a:gdLst>
                <a:gd name="T0" fmla="*/ 588 w 671"/>
                <a:gd name="T1" fmla="*/ 548 h 801"/>
                <a:gd name="T2" fmla="*/ 435 w 671"/>
                <a:gd name="T3" fmla="*/ 443 h 801"/>
                <a:gd name="T4" fmla="*/ 493 w 671"/>
                <a:gd name="T5" fmla="*/ 333 h 801"/>
                <a:gd name="T6" fmla="*/ 567 w 671"/>
                <a:gd name="T7" fmla="*/ 316 h 801"/>
                <a:gd name="T8" fmla="*/ 653 w 671"/>
                <a:gd name="T9" fmla="*/ 178 h 801"/>
                <a:gd name="T10" fmla="*/ 562 w 671"/>
                <a:gd name="T11" fmla="*/ 28 h 801"/>
                <a:gd name="T12" fmla="*/ 424 w 671"/>
                <a:gd name="T13" fmla="*/ 30 h 801"/>
                <a:gd name="T14" fmla="*/ 416 w 671"/>
                <a:gd name="T15" fmla="*/ 30 h 801"/>
                <a:gd name="T16" fmla="*/ 278 w 671"/>
                <a:gd name="T17" fmla="*/ 28 h 801"/>
                <a:gd name="T18" fmla="*/ 187 w 671"/>
                <a:gd name="T19" fmla="*/ 178 h 801"/>
                <a:gd name="T20" fmla="*/ 273 w 671"/>
                <a:gd name="T21" fmla="*/ 316 h 801"/>
                <a:gd name="T22" fmla="*/ 347 w 671"/>
                <a:gd name="T23" fmla="*/ 333 h 801"/>
                <a:gd name="T24" fmla="*/ 404 w 671"/>
                <a:gd name="T25" fmla="*/ 443 h 801"/>
                <a:gd name="T26" fmla="*/ 188 w 671"/>
                <a:gd name="T27" fmla="*/ 566 h 801"/>
                <a:gd name="T28" fmla="*/ 142 w 671"/>
                <a:gd name="T29" fmla="*/ 583 h 801"/>
                <a:gd name="T30" fmla="*/ 42 w 671"/>
                <a:gd name="T31" fmla="*/ 558 h 801"/>
                <a:gd name="T32" fmla="*/ 0 w 671"/>
                <a:gd name="T33" fmla="*/ 743 h 801"/>
                <a:gd name="T34" fmla="*/ 104 w 671"/>
                <a:gd name="T35" fmla="*/ 785 h 801"/>
                <a:gd name="T36" fmla="*/ 223 w 671"/>
                <a:gd name="T37" fmla="*/ 759 h 801"/>
                <a:gd name="T38" fmla="*/ 387 w 671"/>
                <a:gd name="T39" fmla="*/ 801 h 801"/>
                <a:gd name="T40" fmla="*/ 461 w 671"/>
                <a:gd name="T41" fmla="*/ 754 h 801"/>
                <a:gd name="T42" fmla="*/ 339 w 671"/>
                <a:gd name="T43" fmla="*/ 760 h 801"/>
                <a:gd name="T44" fmla="*/ 145 w 671"/>
                <a:gd name="T45" fmla="*/ 715 h 801"/>
                <a:gd name="T46" fmla="*/ 196 w 671"/>
                <a:gd name="T47" fmla="*/ 598 h 801"/>
                <a:gd name="T48" fmla="*/ 339 w 671"/>
                <a:gd name="T49" fmla="*/ 586 h 801"/>
                <a:gd name="T50" fmla="*/ 417 w 671"/>
                <a:gd name="T51" fmla="*/ 637 h 801"/>
                <a:gd name="T52" fmla="*/ 385 w 671"/>
                <a:gd name="T53" fmla="*/ 655 h 801"/>
                <a:gd name="T54" fmla="*/ 278 w 671"/>
                <a:gd name="T55" fmla="*/ 640 h 801"/>
                <a:gd name="T56" fmla="*/ 376 w 671"/>
                <a:gd name="T57" fmla="*/ 685 h 801"/>
                <a:gd name="T58" fmla="*/ 593 w 671"/>
                <a:gd name="T59" fmla="*/ 579 h 801"/>
                <a:gd name="T60" fmla="*/ 619 w 671"/>
                <a:gd name="T61" fmla="*/ 622 h 801"/>
                <a:gd name="T62" fmla="*/ 550 w 671"/>
                <a:gd name="T63" fmla="*/ 691 h 801"/>
                <a:gd name="T64" fmla="*/ 571 w 671"/>
                <a:gd name="T65" fmla="*/ 694 h 801"/>
                <a:gd name="T66" fmla="*/ 655 w 671"/>
                <a:gd name="T67" fmla="*/ 570 h 801"/>
                <a:gd name="T68" fmla="*/ 104 w 671"/>
                <a:gd name="T69" fmla="*/ 753 h 801"/>
                <a:gd name="T70" fmla="*/ 32 w 671"/>
                <a:gd name="T71" fmla="*/ 743 h 801"/>
                <a:gd name="T72" fmla="*/ 42 w 671"/>
                <a:gd name="T73" fmla="*/ 589 h 801"/>
                <a:gd name="T74" fmla="*/ 114 w 671"/>
                <a:gd name="T75" fmla="*/ 599 h 801"/>
                <a:gd name="T76" fmla="*/ 627 w 671"/>
                <a:gd name="T77" fmla="*/ 201 h 801"/>
                <a:gd name="T78" fmla="*/ 449 w 671"/>
                <a:gd name="T79" fmla="*/ 295 h 801"/>
                <a:gd name="T80" fmla="*/ 627 w 671"/>
                <a:gd name="T81" fmla="*/ 201 h 801"/>
                <a:gd name="T82" fmla="*/ 212 w 671"/>
                <a:gd name="T83" fmla="*/ 201 h 801"/>
                <a:gd name="T84" fmla="*/ 391 w 671"/>
                <a:gd name="T85" fmla="*/ 295 h 801"/>
                <a:gd name="T86" fmla="*/ 300 w 671"/>
                <a:gd name="T87" fmla="*/ 164 h 801"/>
                <a:gd name="T88" fmla="*/ 395 w 671"/>
                <a:gd name="T89" fmla="*/ 53 h 801"/>
                <a:gd name="T90" fmla="*/ 445 w 671"/>
                <a:gd name="T91" fmla="*/ 53 h 801"/>
                <a:gd name="T92" fmla="*/ 540 w 671"/>
                <a:gd name="T93" fmla="*/ 164 h 801"/>
                <a:gd name="T94" fmla="*/ 300 w 671"/>
                <a:gd name="T95" fmla="*/ 164 h 801"/>
                <a:gd name="T96" fmla="*/ 408 w 671"/>
                <a:gd name="T97" fmla="*/ 574 h 801"/>
                <a:gd name="T98" fmla="*/ 289 w 671"/>
                <a:gd name="T99" fmla="*/ 545 h 801"/>
                <a:gd name="T100" fmla="*/ 560 w 671"/>
                <a:gd name="T101" fmla="*/ 561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71" h="801">
                  <a:moveTo>
                    <a:pt x="655" y="570"/>
                  </a:moveTo>
                  <a:cubicBezTo>
                    <a:pt x="641" y="548"/>
                    <a:pt x="614" y="539"/>
                    <a:pt x="588" y="548"/>
                  </a:cubicBezTo>
                  <a:cubicBezTo>
                    <a:pt x="574" y="519"/>
                    <a:pt x="554" y="494"/>
                    <a:pt x="527" y="476"/>
                  </a:cubicBezTo>
                  <a:cubicBezTo>
                    <a:pt x="500" y="457"/>
                    <a:pt x="469" y="445"/>
                    <a:pt x="435" y="443"/>
                  </a:cubicBezTo>
                  <a:lnTo>
                    <a:pt x="435" y="324"/>
                  </a:lnTo>
                  <a:cubicBezTo>
                    <a:pt x="454" y="330"/>
                    <a:pt x="474" y="333"/>
                    <a:pt x="493" y="333"/>
                  </a:cubicBezTo>
                  <a:cubicBezTo>
                    <a:pt x="518" y="333"/>
                    <a:pt x="543" y="327"/>
                    <a:pt x="567" y="316"/>
                  </a:cubicBezTo>
                  <a:cubicBezTo>
                    <a:pt x="567" y="316"/>
                    <a:pt x="567" y="316"/>
                    <a:pt x="567" y="316"/>
                  </a:cubicBezTo>
                  <a:cubicBezTo>
                    <a:pt x="614" y="293"/>
                    <a:pt x="648" y="250"/>
                    <a:pt x="662" y="196"/>
                  </a:cubicBezTo>
                  <a:cubicBezTo>
                    <a:pt x="664" y="188"/>
                    <a:pt x="660" y="181"/>
                    <a:pt x="653" y="178"/>
                  </a:cubicBezTo>
                  <a:cubicBezTo>
                    <a:pt x="629" y="168"/>
                    <a:pt x="604" y="162"/>
                    <a:pt x="579" y="162"/>
                  </a:cubicBezTo>
                  <a:cubicBezTo>
                    <a:pt x="603" y="120"/>
                    <a:pt x="597" y="65"/>
                    <a:pt x="562" y="28"/>
                  </a:cubicBezTo>
                  <a:cubicBezTo>
                    <a:pt x="544" y="10"/>
                    <a:pt x="519" y="0"/>
                    <a:pt x="492" y="1"/>
                  </a:cubicBezTo>
                  <a:cubicBezTo>
                    <a:pt x="467" y="2"/>
                    <a:pt x="443" y="13"/>
                    <a:pt x="424" y="30"/>
                  </a:cubicBezTo>
                  <a:cubicBezTo>
                    <a:pt x="424" y="30"/>
                    <a:pt x="421" y="33"/>
                    <a:pt x="420" y="34"/>
                  </a:cubicBezTo>
                  <a:cubicBezTo>
                    <a:pt x="419" y="33"/>
                    <a:pt x="416" y="30"/>
                    <a:pt x="416" y="30"/>
                  </a:cubicBezTo>
                  <a:cubicBezTo>
                    <a:pt x="397" y="13"/>
                    <a:pt x="372" y="2"/>
                    <a:pt x="347" y="1"/>
                  </a:cubicBezTo>
                  <a:cubicBezTo>
                    <a:pt x="320" y="0"/>
                    <a:pt x="296" y="10"/>
                    <a:pt x="278" y="28"/>
                  </a:cubicBezTo>
                  <a:cubicBezTo>
                    <a:pt x="243" y="65"/>
                    <a:pt x="237" y="120"/>
                    <a:pt x="260" y="162"/>
                  </a:cubicBezTo>
                  <a:cubicBezTo>
                    <a:pt x="236" y="162"/>
                    <a:pt x="211" y="168"/>
                    <a:pt x="187" y="178"/>
                  </a:cubicBezTo>
                  <a:cubicBezTo>
                    <a:pt x="180" y="181"/>
                    <a:pt x="176" y="188"/>
                    <a:pt x="178" y="196"/>
                  </a:cubicBezTo>
                  <a:cubicBezTo>
                    <a:pt x="192" y="250"/>
                    <a:pt x="226" y="293"/>
                    <a:pt x="273" y="316"/>
                  </a:cubicBezTo>
                  <a:cubicBezTo>
                    <a:pt x="273" y="316"/>
                    <a:pt x="273" y="316"/>
                    <a:pt x="273" y="316"/>
                  </a:cubicBezTo>
                  <a:cubicBezTo>
                    <a:pt x="296" y="327"/>
                    <a:pt x="321" y="333"/>
                    <a:pt x="347" y="333"/>
                  </a:cubicBezTo>
                  <a:cubicBezTo>
                    <a:pt x="366" y="333"/>
                    <a:pt x="385" y="330"/>
                    <a:pt x="404" y="324"/>
                  </a:cubicBezTo>
                  <a:lnTo>
                    <a:pt x="404" y="443"/>
                  </a:lnTo>
                  <a:cubicBezTo>
                    <a:pt x="340" y="448"/>
                    <a:pt x="282" y="487"/>
                    <a:pt x="253" y="545"/>
                  </a:cubicBezTo>
                  <a:cubicBezTo>
                    <a:pt x="232" y="547"/>
                    <a:pt x="210" y="553"/>
                    <a:pt x="188" y="566"/>
                  </a:cubicBezTo>
                  <a:cubicBezTo>
                    <a:pt x="185" y="568"/>
                    <a:pt x="182" y="570"/>
                    <a:pt x="179" y="572"/>
                  </a:cubicBezTo>
                  <a:cubicBezTo>
                    <a:pt x="168" y="579"/>
                    <a:pt x="161" y="583"/>
                    <a:pt x="142" y="583"/>
                  </a:cubicBezTo>
                  <a:cubicBezTo>
                    <a:pt x="136" y="568"/>
                    <a:pt x="121" y="558"/>
                    <a:pt x="104" y="558"/>
                  </a:cubicBezTo>
                  <a:lnTo>
                    <a:pt x="42" y="558"/>
                  </a:lnTo>
                  <a:cubicBezTo>
                    <a:pt x="19" y="558"/>
                    <a:pt x="0" y="576"/>
                    <a:pt x="0" y="599"/>
                  </a:cubicBezTo>
                  <a:lnTo>
                    <a:pt x="0" y="743"/>
                  </a:lnTo>
                  <a:cubicBezTo>
                    <a:pt x="0" y="766"/>
                    <a:pt x="19" y="785"/>
                    <a:pt x="42" y="785"/>
                  </a:cubicBezTo>
                  <a:lnTo>
                    <a:pt x="104" y="785"/>
                  </a:lnTo>
                  <a:cubicBezTo>
                    <a:pt x="126" y="785"/>
                    <a:pt x="144" y="768"/>
                    <a:pt x="145" y="746"/>
                  </a:cubicBezTo>
                  <a:cubicBezTo>
                    <a:pt x="171" y="747"/>
                    <a:pt x="188" y="748"/>
                    <a:pt x="223" y="759"/>
                  </a:cubicBezTo>
                  <a:cubicBezTo>
                    <a:pt x="259" y="769"/>
                    <a:pt x="295" y="780"/>
                    <a:pt x="330" y="790"/>
                  </a:cubicBezTo>
                  <a:cubicBezTo>
                    <a:pt x="351" y="796"/>
                    <a:pt x="369" y="801"/>
                    <a:pt x="387" y="801"/>
                  </a:cubicBezTo>
                  <a:cubicBezTo>
                    <a:pt x="407" y="801"/>
                    <a:pt x="428" y="795"/>
                    <a:pt x="457" y="776"/>
                  </a:cubicBezTo>
                  <a:cubicBezTo>
                    <a:pt x="464" y="771"/>
                    <a:pt x="466" y="761"/>
                    <a:pt x="461" y="754"/>
                  </a:cubicBezTo>
                  <a:cubicBezTo>
                    <a:pt x="456" y="747"/>
                    <a:pt x="446" y="745"/>
                    <a:pt x="439" y="750"/>
                  </a:cubicBezTo>
                  <a:cubicBezTo>
                    <a:pt x="398" y="777"/>
                    <a:pt x="381" y="772"/>
                    <a:pt x="339" y="760"/>
                  </a:cubicBezTo>
                  <a:cubicBezTo>
                    <a:pt x="303" y="750"/>
                    <a:pt x="267" y="739"/>
                    <a:pt x="231" y="729"/>
                  </a:cubicBezTo>
                  <a:cubicBezTo>
                    <a:pt x="194" y="718"/>
                    <a:pt x="176" y="715"/>
                    <a:pt x="145" y="715"/>
                  </a:cubicBezTo>
                  <a:lnTo>
                    <a:pt x="145" y="614"/>
                  </a:lnTo>
                  <a:cubicBezTo>
                    <a:pt x="172" y="614"/>
                    <a:pt x="184" y="606"/>
                    <a:pt x="196" y="598"/>
                  </a:cubicBezTo>
                  <a:cubicBezTo>
                    <a:pt x="198" y="596"/>
                    <a:pt x="201" y="595"/>
                    <a:pt x="204" y="593"/>
                  </a:cubicBezTo>
                  <a:cubicBezTo>
                    <a:pt x="241" y="571"/>
                    <a:pt x="282" y="569"/>
                    <a:pt x="339" y="586"/>
                  </a:cubicBezTo>
                  <a:lnTo>
                    <a:pt x="399" y="604"/>
                  </a:lnTo>
                  <a:cubicBezTo>
                    <a:pt x="413" y="609"/>
                    <a:pt x="421" y="623"/>
                    <a:pt x="417" y="637"/>
                  </a:cubicBezTo>
                  <a:cubicBezTo>
                    <a:pt x="417" y="637"/>
                    <a:pt x="417" y="637"/>
                    <a:pt x="417" y="637"/>
                  </a:cubicBezTo>
                  <a:cubicBezTo>
                    <a:pt x="413" y="651"/>
                    <a:pt x="399" y="659"/>
                    <a:pt x="385" y="655"/>
                  </a:cubicBezTo>
                  <a:lnTo>
                    <a:pt x="298" y="630"/>
                  </a:lnTo>
                  <a:cubicBezTo>
                    <a:pt x="289" y="627"/>
                    <a:pt x="281" y="632"/>
                    <a:pt x="278" y="640"/>
                  </a:cubicBezTo>
                  <a:cubicBezTo>
                    <a:pt x="276" y="649"/>
                    <a:pt x="281" y="657"/>
                    <a:pt x="289" y="660"/>
                  </a:cubicBezTo>
                  <a:lnTo>
                    <a:pt x="376" y="685"/>
                  </a:lnTo>
                  <a:cubicBezTo>
                    <a:pt x="404" y="693"/>
                    <a:pt x="433" y="679"/>
                    <a:pt x="445" y="653"/>
                  </a:cubicBezTo>
                  <a:lnTo>
                    <a:pt x="593" y="579"/>
                  </a:lnTo>
                  <a:cubicBezTo>
                    <a:pt x="605" y="574"/>
                    <a:pt x="621" y="574"/>
                    <a:pt x="628" y="587"/>
                  </a:cubicBezTo>
                  <a:cubicBezTo>
                    <a:pt x="635" y="598"/>
                    <a:pt x="632" y="613"/>
                    <a:pt x="619" y="622"/>
                  </a:cubicBezTo>
                  <a:lnTo>
                    <a:pt x="553" y="669"/>
                  </a:lnTo>
                  <a:cubicBezTo>
                    <a:pt x="546" y="674"/>
                    <a:pt x="545" y="684"/>
                    <a:pt x="550" y="691"/>
                  </a:cubicBezTo>
                  <a:cubicBezTo>
                    <a:pt x="553" y="695"/>
                    <a:pt x="557" y="697"/>
                    <a:pt x="562" y="697"/>
                  </a:cubicBezTo>
                  <a:cubicBezTo>
                    <a:pt x="565" y="697"/>
                    <a:pt x="569" y="696"/>
                    <a:pt x="571" y="694"/>
                  </a:cubicBezTo>
                  <a:lnTo>
                    <a:pt x="638" y="647"/>
                  </a:lnTo>
                  <a:cubicBezTo>
                    <a:pt x="663" y="629"/>
                    <a:pt x="671" y="596"/>
                    <a:pt x="655" y="570"/>
                  </a:cubicBezTo>
                  <a:close/>
                  <a:moveTo>
                    <a:pt x="114" y="743"/>
                  </a:moveTo>
                  <a:cubicBezTo>
                    <a:pt x="114" y="749"/>
                    <a:pt x="110" y="753"/>
                    <a:pt x="104" y="753"/>
                  </a:cubicBezTo>
                  <a:lnTo>
                    <a:pt x="42" y="753"/>
                  </a:lnTo>
                  <a:cubicBezTo>
                    <a:pt x="36" y="753"/>
                    <a:pt x="32" y="749"/>
                    <a:pt x="32" y="743"/>
                  </a:cubicBezTo>
                  <a:lnTo>
                    <a:pt x="32" y="599"/>
                  </a:lnTo>
                  <a:cubicBezTo>
                    <a:pt x="32" y="593"/>
                    <a:pt x="36" y="589"/>
                    <a:pt x="42" y="589"/>
                  </a:cubicBezTo>
                  <a:lnTo>
                    <a:pt x="104" y="589"/>
                  </a:lnTo>
                  <a:cubicBezTo>
                    <a:pt x="110" y="589"/>
                    <a:pt x="114" y="593"/>
                    <a:pt x="114" y="599"/>
                  </a:cubicBezTo>
                  <a:lnTo>
                    <a:pt x="114" y="743"/>
                  </a:lnTo>
                  <a:close/>
                  <a:moveTo>
                    <a:pt x="627" y="201"/>
                  </a:moveTo>
                  <a:cubicBezTo>
                    <a:pt x="614" y="240"/>
                    <a:pt x="588" y="271"/>
                    <a:pt x="553" y="288"/>
                  </a:cubicBezTo>
                  <a:cubicBezTo>
                    <a:pt x="521" y="303"/>
                    <a:pt x="484" y="305"/>
                    <a:pt x="449" y="295"/>
                  </a:cubicBezTo>
                  <a:lnTo>
                    <a:pt x="551" y="196"/>
                  </a:lnTo>
                  <a:cubicBezTo>
                    <a:pt x="576" y="191"/>
                    <a:pt x="602" y="193"/>
                    <a:pt x="627" y="201"/>
                  </a:cubicBezTo>
                  <a:close/>
                  <a:moveTo>
                    <a:pt x="286" y="288"/>
                  </a:moveTo>
                  <a:cubicBezTo>
                    <a:pt x="252" y="271"/>
                    <a:pt x="226" y="240"/>
                    <a:pt x="212" y="201"/>
                  </a:cubicBezTo>
                  <a:cubicBezTo>
                    <a:pt x="238" y="193"/>
                    <a:pt x="264" y="191"/>
                    <a:pt x="288" y="196"/>
                  </a:cubicBezTo>
                  <a:lnTo>
                    <a:pt x="391" y="295"/>
                  </a:lnTo>
                  <a:cubicBezTo>
                    <a:pt x="355" y="305"/>
                    <a:pt x="319" y="303"/>
                    <a:pt x="286" y="288"/>
                  </a:cubicBezTo>
                  <a:close/>
                  <a:moveTo>
                    <a:pt x="300" y="164"/>
                  </a:moveTo>
                  <a:cubicBezTo>
                    <a:pt x="270" y="132"/>
                    <a:pt x="270" y="81"/>
                    <a:pt x="300" y="50"/>
                  </a:cubicBezTo>
                  <a:cubicBezTo>
                    <a:pt x="324" y="25"/>
                    <a:pt x="366" y="27"/>
                    <a:pt x="395" y="53"/>
                  </a:cubicBezTo>
                  <a:cubicBezTo>
                    <a:pt x="395" y="53"/>
                    <a:pt x="410" y="68"/>
                    <a:pt x="420" y="68"/>
                  </a:cubicBezTo>
                  <a:cubicBezTo>
                    <a:pt x="429" y="68"/>
                    <a:pt x="445" y="53"/>
                    <a:pt x="445" y="53"/>
                  </a:cubicBezTo>
                  <a:cubicBezTo>
                    <a:pt x="473" y="27"/>
                    <a:pt x="516" y="25"/>
                    <a:pt x="539" y="50"/>
                  </a:cubicBezTo>
                  <a:cubicBezTo>
                    <a:pt x="570" y="81"/>
                    <a:pt x="570" y="132"/>
                    <a:pt x="540" y="164"/>
                  </a:cubicBezTo>
                  <a:lnTo>
                    <a:pt x="420" y="279"/>
                  </a:lnTo>
                  <a:lnTo>
                    <a:pt x="300" y="164"/>
                  </a:lnTo>
                  <a:close/>
                  <a:moveTo>
                    <a:pt x="448" y="616"/>
                  </a:moveTo>
                  <a:cubicBezTo>
                    <a:pt x="443" y="597"/>
                    <a:pt x="429" y="581"/>
                    <a:pt x="408" y="574"/>
                  </a:cubicBezTo>
                  <a:lnTo>
                    <a:pt x="347" y="556"/>
                  </a:lnTo>
                  <a:cubicBezTo>
                    <a:pt x="330" y="551"/>
                    <a:pt x="310" y="546"/>
                    <a:pt x="289" y="545"/>
                  </a:cubicBezTo>
                  <a:cubicBezTo>
                    <a:pt x="317" y="501"/>
                    <a:pt x="366" y="473"/>
                    <a:pt x="420" y="473"/>
                  </a:cubicBezTo>
                  <a:cubicBezTo>
                    <a:pt x="480" y="473"/>
                    <a:pt x="534" y="508"/>
                    <a:pt x="560" y="561"/>
                  </a:cubicBezTo>
                  <a:lnTo>
                    <a:pt x="448" y="616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Freeform 30">
              <a:extLst>
                <a:ext uri="{FF2B5EF4-FFF2-40B4-BE49-F238E27FC236}">
                  <a16:creationId xmlns:a16="http://schemas.microsoft.com/office/drawing/2014/main" id="{A6F0143E-7100-36C0-3DBE-8AAC97827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9752013" y="4687888"/>
              <a:ext cx="14288" cy="11112"/>
            </a:xfrm>
            <a:custGeom>
              <a:avLst/>
              <a:gdLst>
                <a:gd name="T0" fmla="*/ 11 w 36"/>
                <a:gd name="T1" fmla="*/ 4 h 34"/>
                <a:gd name="T2" fmla="*/ 11 w 36"/>
                <a:gd name="T3" fmla="*/ 4 h 34"/>
                <a:gd name="T4" fmla="*/ 4 w 36"/>
                <a:gd name="T5" fmla="*/ 25 h 34"/>
                <a:gd name="T6" fmla="*/ 18 w 36"/>
                <a:gd name="T7" fmla="*/ 34 h 34"/>
                <a:gd name="T8" fmla="*/ 25 w 36"/>
                <a:gd name="T9" fmla="*/ 32 h 34"/>
                <a:gd name="T10" fmla="*/ 32 w 36"/>
                <a:gd name="T11" fmla="*/ 11 h 34"/>
                <a:gd name="T12" fmla="*/ 11 w 36"/>
                <a:gd name="T13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4">
                  <a:moveTo>
                    <a:pt x="11" y="4"/>
                  </a:moveTo>
                  <a:lnTo>
                    <a:pt x="11" y="4"/>
                  </a:lnTo>
                  <a:cubicBezTo>
                    <a:pt x="3" y="8"/>
                    <a:pt x="0" y="18"/>
                    <a:pt x="4" y="25"/>
                  </a:cubicBezTo>
                  <a:cubicBezTo>
                    <a:pt x="7" y="31"/>
                    <a:pt x="12" y="34"/>
                    <a:pt x="18" y="34"/>
                  </a:cubicBezTo>
                  <a:cubicBezTo>
                    <a:pt x="20" y="34"/>
                    <a:pt x="23" y="33"/>
                    <a:pt x="25" y="32"/>
                  </a:cubicBezTo>
                  <a:cubicBezTo>
                    <a:pt x="33" y="28"/>
                    <a:pt x="36" y="19"/>
                    <a:pt x="32" y="11"/>
                  </a:cubicBezTo>
                  <a:cubicBezTo>
                    <a:pt x="28" y="4"/>
                    <a:pt x="19" y="0"/>
                    <a:pt x="11" y="4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22" name="Freeform 33">
            <a:extLst>
              <a:ext uri="{FF2B5EF4-FFF2-40B4-BE49-F238E27FC236}">
                <a16:creationId xmlns:a16="http://schemas.microsoft.com/office/drawing/2014/main" id="{9E10A5B2-556B-5E87-3938-EEC0D0EE448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1536363" y="4432300"/>
            <a:ext cx="288925" cy="290512"/>
          </a:xfrm>
          <a:custGeom>
            <a:avLst/>
            <a:gdLst>
              <a:gd name="T0" fmla="*/ 694 w 800"/>
              <a:gd name="T1" fmla="*/ 616 h 800"/>
              <a:gd name="T2" fmla="*/ 720 w 800"/>
              <a:gd name="T3" fmla="*/ 303 h 800"/>
              <a:gd name="T4" fmla="*/ 640 w 800"/>
              <a:gd name="T5" fmla="*/ 367 h 800"/>
              <a:gd name="T6" fmla="*/ 536 w 800"/>
              <a:gd name="T7" fmla="*/ 436 h 800"/>
              <a:gd name="T8" fmla="*/ 557 w 800"/>
              <a:gd name="T9" fmla="*/ 311 h 800"/>
              <a:gd name="T10" fmla="*/ 506 w 800"/>
              <a:gd name="T11" fmla="*/ 329 h 800"/>
              <a:gd name="T12" fmla="*/ 482 w 800"/>
              <a:gd name="T13" fmla="*/ 251 h 800"/>
              <a:gd name="T14" fmla="*/ 431 w 800"/>
              <a:gd name="T15" fmla="*/ 272 h 800"/>
              <a:gd name="T16" fmla="*/ 482 w 800"/>
              <a:gd name="T17" fmla="*/ 413 h 800"/>
              <a:gd name="T18" fmla="*/ 372 w 800"/>
              <a:gd name="T19" fmla="*/ 410 h 800"/>
              <a:gd name="T20" fmla="*/ 361 w 800"/>
              <a:gd name="T21" fmla="*/ 179 h 800"/>
              <a:gd name="T22" fmla="*/ 419 w 800"/>
              <a:gd name="T23" fmla="*/ 99 h 800"/>
              <a:gd name="T24" fmla="*/ 588 w 800"/>
              <a:gd name="T25" fmla="*/ 123 h 800"/>
              <a:gd name="T26" fmla="*/ 691 w 800"/>
              <a:gd name="T27" fmla="*/ 253 h 800"/>
              <a:gd name="T28" fmla="*/ 651 w 800"/>
              <a:gd name="T29" fmla="*/ 183 h 800"/>
              <a:gd name="T30" fmla="*/ 593 w 800"/>
              <a:gd name="T31" fmla="*/ 99 h 800"/>
              <a:gd name="T32" fmla="*/ 394 w 800"/>
              <a:gd name="T33" fmla="*/ 100 h 800"/>
              <a:gd name="T34" fmla="*/ 329 w 800"/>
              <a:gd name="T35" fmla="*/ 187 h 800"/>
              <a:gd name="T36" fmla="*/ 56 w 800"/>
              <a:gd name="T37" fmla="*/ 151 h 800"/>
              <a:gd name="T38" fmla="*/ 186 w 800"/>
              <a:gd name="T39" fmla="*/ 24 h 800"/>
              <a:gd name="T40" fmla="*/ 198 w 800"/>
              <a:gd name="T41" fmla="*/ 583 h 800"/>
              <a:gd name="T42" fmla="*/ 198 w 800"/>
              <a:gd name="T43" fmla="*/ 443 h 800"/>
              <a:gd name="T44" fmla="*/ 230 w 800"/>
              <a:gd name="T45" fmla="*/ 377 h 800"/>
              <a:gd name="T46" fmla="*/ 186 w 800"/>
              <a:gd name="T47" fmla="*/ 349 h 800"/>
              <a:gd name="T48" fmla="*/ 174 w 800"/>
              <a:gd name="T49" fmla="*/ 438 h 800"/>
              <a:gd name="T50" fmla="*/ 125 w 800"/>
              <a:gd name="T51" fmla="*/ 427 h 800"/>
              <a:gd name="T52" fmla="*/ 174 w 800"/>
              <a:gd name="T53" fmla="*/ 583 h 800"/>
              <a:gd name="T54" fmla="*/ 52 w 800"/>
              <a:gd name="T55" fmla="*/ 196 h 800"/>
              <a:gd name="T56" fmla="*/ 174 w 800"/>
              <a:gd name="T57" fmla="*/ 606 h 800"/>
              <a:gd name="T58" fmla="*/ 0 w 800"/>
              <a:gd name="T59" fmla="*/ 788 h 800"/>
              <a:gd name="T60" fmla="*/ 800 w 800"/>
              <a:gd name="T61" fmla="*/ 788 h 800"/>
              <a:gd name="T62" fmla="*/ 198 w 800"/>
              <a:gd name="T63" fmla="*/ 777 h 800"/>
              <a:gd name="T64" fmla="*/ 388 w 800"/>
              <a:gd name="T65" fmla="*/ 456 h 800"/>
              <a:gd name="T66" fmla="*/ 482 w 800"/>
              <a:gd name="T67" fmla="*/ 777 h 800"/>
              <a:gd name="T68" fmla="*/ 506 w 800"/>
              <a:gd name="T69" fmla="*/ 445 h 800"/>
              <a:gd name="T70" fmla="*/ 564 w 800"/>
              <a:gd name="T71" fmla="*/ 485 h 800"/>
              <a:gd name="T72" fmla="*/ 682 w 800"/>
              <a:gd name="T73" fmla="*/ 477 h 800"/>
              <a:gd name="T74" fmla="*/ 671 w 800"/>
              <a:gd name="T75" fmla="*/ 553 h 800"/>
              <a:gd name="T76" fmla="*/ 590 w 800"/>
              <a:gd name="T77" fmla="*/ 460 h 800"/>
              <a:gd name="T78" fmla="*/ 777 w 800"/>
              <a:gd name="T79" fmla="*/ 485 h 800"/>
              <a:gd name="T80" fmla="*/ 731 w 800"/>
              <a:gd name="T81" fmla="*/ 521 h 800"/>
              <a:gd name="T82" fmla="*/ 694 w 800"/>
              <a:gd name="T83" fmla="*/ 525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00" h="800">
                <a:moveTo>
                  <a:pt x="789" y="777"/>
                </a:moveTo>
                <a:lnTo>
                  <a:pt x="694" y="777"/>
                </a:lnTo>
                <a:lnTo>
                  <a:pt x="694" y="616"/>
                </a:lnTo>
                <a:cubicBezTo>
                  <a:pt x="754" y="610"/>
                  <a:pt x="800" y="553"/>
                  <a:pt x="800" y="485"/>
                </a:cubicBezTo>
                <a:cubicBezTo>
                  <a:pt x="800" y="418"/>
                  <a:pt x="755" y="362"/>
                  <a:pt x="697" y="354"/>
                </a:cubicBezTo>
                <a:cubicBezTo>
                  <a:pt x="709" y="340"/>
                  <a:pt x="716" y="322"/>
                  <a:pt x="720" y="303"/>
                </a:cubicBezTo>
                <a:cubicBezTo>
                  <a:pt x="721" y="297"/>
                  <a:pt x="716" y="291"/>
                  <a:pt x="710" y="290"/>
                </a:cubicBezTo>
                <a:cubicBezTo>
                  <a:pt x="703" y="289"/>
                  <a:pt x="697" y="293"/>
                  <a:pt x="696" y="300"/>
                </a:cubicBezTo>
                <a:cubicBezTo>
                  <a:pt x="691" y="331"/>
                  <a:pt x="670" y="357"/>
                  <a:pt x="640" y="367"/>
                </a:cubicBezTo>
                <a:cubicBezTo>
                  <a:pt x="633" y="370"/>
                  <a:pt x="628" y="376"/>
                  <a:pt x="627" y="383"/>
                </a:cubicBezTo>
                <a:cubicBezTo>
                  <a:pt x="625" y="394"/>
                  <a:pt x="617" y="422"/>
                  <a:pt x="590" y="435"/>
                </a:cubicBezTo>
                <a:cubicBezTo>
                  <a:pt x="567" y="446"/>
                  <a:pt x="545" y="439"/>
                  <a:pt x="536" y="436"/>
                </a:cubicBezTo>
                <a:cubicBezTo>
                  <a:pt x="522" y="430"/>
                  <a:pt x="512" y="420"/>
                  <a:pt x="506" y="413"/>
                </a:cubicBezTo>
                <a:lnTo>
                  <a:pt x="506" y="362"/>
                </a:lnTo>
                <a:lnTo>
                  <a:pt x="557" y="311"/>
                </a:lnTo>
                <a:cubicBezTo>
                  <a:pt x="562" y="306"/>
                  <a:pt x="562" y="299"/>
                  <a:pt x="557" y="294"/>
                </a:cubicBezTo>
                <a:cubicBezTo>
                  <a:pt x="553" y="290"/>
                  <a:pt x="545" y="290"/>
                  <a:pt x="541" y="294"/>
                </a:cubicBezTo>
                <a:lnTo>
                  <a:pt x="506" y="329"/>
                </a:lnTo>
                <a:lnTo>
                  <a:pt x="506" y="251"/>
                </a:lnTo>
                <a:cubicBezTo>
                  <a:pt x="506" y="245"/>
                  <a:pt x="501" y="240"/>
                  <a:pt x="494" y="240"/>
                </a:cubicBezTo>
                <a:cubicBezTo>
                  <a:pt x="488" y="240"/>
                  <a:pt x="482" y="245"/>
                  <a:pt x="482" y="251"/>
                </a:cubicBezTo>
                <a:lnTo>
                  <a:pt x="482" y="306"/>
                </a:lnTo>
                <a:lnTo>
                  <a:pt x="448" y="272"/>
                </a:lnTo>
                <a:cubicBezTo>
                  <a:pt x="443" y="267"/>
                  <a:pt x="436" y="267"/>
                  <a:pt x="431" y="272"/>
                </a:cubicBezTo>
                <a:cubicBezTo>
                  <a:pt x="427" y="276"/>
                  <a:pt x="427" y="284"/>
                  <a:pt x="431" y="288"/>
                </a:cubicBezTo>
                <a:lnTo>
                  <a:pt x="482" y="340"/>
                </a:lnTo>
                <a:lnTo>
                  <a:pt x="482" y="413"/>
                </a:lnTo>
                <a:cubicBezTo>
                  <a:pt x="476" y="420"/>
                  <a:pt x="467" y="430"/>
                  <a:pt x="452" y="436"/>
                </a:cubicBezTo>
                <a:cubicBezTo>
                  <a:pt x="444" y="439"/>
                  <a:pt x="421" y="446"/>
                  <a:pt x="398" y="435"/>
                </a:cubicBezTo>
                <a:cubicBezTo>
                  <a:pt x="387" y="429"/>
                  <a:pt x="378" y="421"/>
                  <a:pt x="372" y="410"/>
                </a:cubicBezTo>
                <a:cubicBezTo>
                  <a:pt x="374" y="358"/>
                  <a:pt x="359" y="282"/>
                  <a:pt x="336" y="210"/>
                </a:cubicBezTo>
                <a:cubicBezTo>
                  <a:pt x="339" y="208"/>
                  <a:pt x="343" y="206"/>
                  <a:pt x="346" y="205"/>
                </a:cubicBezTo>
                <a:cubicBezTo>
                  <a:pt x="356" y="201"/>
                  <a:pt x="363" y="190"/>
                  <a:pt x="361" y="179"/>
                </a:cubicBezTo>
                <a:cubicBezTo>
                  <a:pt x="361" y="177"/>
                  <a:pt x="361" y="175"/>
                  <a:pt x="361" y="173"/>
                </a:cubicBezTo>
                <a:cubicBezTo>
                  <a:pt x="361" y="149"/>
                  <a:pt x="377" y="129"/>
                  <a:pt x="400" y="123"/>
                </a:cubicBezTo>
                <a:cubicBezTo>
                  <a:pt x="411" y="120"/>
                  <a:pt x="419" y="111"/>
                  <a:pt x="419" y="99"/>
                </a:cubicBezTo>
                <a:cubicBezTo>
                  <a:pt x="419" y="57"/>
                  <a:pt x="453" y="24"/>
                  <a:pt x="494" y="24"/>
                </a:cubicBezTo>
                <a:cubicBezTo>
                  <a:pt x="536" y="24"/>
                  <a:pt x="569" y="57"/>
                  <a:pt x="569" y="99"/>
                </a:cubicBezTo>
                <a:cubicBezTo>
                  <a:pt x="569" y="111"/>
                  <a:pt x="577" y="120"/>
                  <a:pt x="588" y="123"/>
                </a:cubicBezTo>
                <a:cubicBezTo>
                  <a:pt x="614" y="129"/>
                  <a:pt x="630" y="154"/>
                  <a:pt x="627" y="179"/>
                </a:cubicBezTo>
                <a:cubicBezTo>
                  <a:pt x="626" y="190"/>
                  <a:pt x="632" y="201"/>
                  <a:pt x="643" y="205"/>
                </a:cubicBezTo>
                <a:cubicBezTo>
                  <a:pt x="665" y="214"/>
                  <a:pt x="682" y="231"/>
                  <a:pt x="691" y="253"/>
                </a:cubicBezTo>
                <a:cubicBezTo>
                  <a:pt x="694" y="259"/>
                  <a:pt x="700" y="262"/>
                  <a:pt x="706" y="260"/>
                </a:cubicBezTo>
                <a:cubicBezTo>
                  <a:pt x="712" y="257"/>
                  <a:pt x="715" y="250"/>
                  <a:pt x="713" y="244"/>
                </a:cubicBezTo>
                <a:cubicBezTo>
                  <a:pt x="701" y="217"/>
                  <a:pt x="679" y="194"/>
                  <a:pt x="651" y="183"/>
                </a:cubicBezTo>
                <a:cubicBezTo>
                  <a:pt x="651" y="183"/>
                  <a:pt x="650" y="183"/>
                  <a:pt x="650" y="182"/>
                </a:cubicBezTo>
                <a:cubicBezTo>
                  <a:pt x="655" y="144"/>
                  <a:pt x="630" y="109"/>
                  <a:pt x="594" y="100"/>
                </a:cubicBezTo>
                <a:cubicBezTo>
                  <a:pt x="593" y="100"/>
                  <a:pt x="593" y="100"/>
                  <a:pt x="593" y="99"/>
                </a:cubicBezTo>
                <a:cubicBezTo>
                  <a:pt x="593" y="44"/>
                  <a:pt x="549" y="0"/>
                  <a:pt x="494" y="0"/>
                </a:cubicBezTo>
                <a:cubicBezTo>
                  <a:pt x="440" y="0"/>
                  <a:pt x="395" y="44"/>
                  <a:pt x="395" y="99"/>
                </a:cubicBezTo>
                <a:cubicBezTo>
                  <a:pt x="395" y="100"/>
                  <a:pt x="395" y="100"/>
                  <a:pt x="394" y="100"/>
                </a:cubicBezTo>
                <a:cubicBezTo>
                  <a:pt x="361" y="109"/>
                  <a:pt x="337" y="139"/>
                  <a:pt x="337" y="173"/>
                </a:cubicBezTo>
                <a:cubicBezTo>
                  <a:pt x="337" y="176"/>
                  <a:pt x="338" y="179"/>
                  <a:pt x="338" y="182"/>
                </a:cubicBezTo>
                <a:cubicBezTo>
                  <a:pt x="338" y="184"/>
                  <a:pt x="331" y="186"/>
                  <a:pt x="329" y="187"/>
                </a:cubicBezTo>
                <a:cubicBezTo>
                  <a:pt x="326" y="178"/>
                  <a:pt x="323" y="170"/>
                  <a:pt x="320" y="162"/>
                </a:cubicBezTo>
                <a:cubicBezTo>
                  <a:pt x="270" y="28"/>
                  <a:pt x="219" y="0"/>
                  <a:pt x="186" y="0"/>
                </a:cubicBezTo>
                <a:cubicBezTo>
                  <a:pt x="128" y="0"/>
                  <a:pt x="83" y="82"/>
                  <a:pt x="56" y="151"/>
                </a:cubicBezTo>
                <a:cubicBezTo>
                  <a:pt x="54" y="157"/>
                  <a:pt x="57" y="164"/>
                  <a:pt x="63" y="166"/>
                </a:cubicBezTo>
                <a:cubicBezTo>
                  <a:pt x="69" y="169"/>
                  <a:pt x="75" y="166"/>
                  <a:pt x="78" y="160"/>
                </a:cubicBezTo>
                <a:cubicBezTo>
                  <a:pt x="112" y="73"/>
                  <a:pt x="151" y="24"/>
                  <a:pt x="186" y="24"/>
                </a:cubicBezTo>
                <a:cubicBezTo>
                  <a:pt x="222" y="24"/>
                  <a:pt x="263" y="77"/>
                  <a:pt x="298" y="170"/>
                </a:cubicBezTo>
                <a:cubicBezTo>
                  <a:pt x="331" y="257"/>
                  <a:pt x="348" y="352"/>
                  <a:pt x="348" y="400"/>
                </a:cubicBezTo>
                <a:cubicBezTo>
                  <a:pt x="348" y="497"/>
                  <a:pt x="282" y="576"/>
                  <a:pt x="198" y="583"/>
                </a:cubicBezTo>
                <a:lnTo>
                  <a:pt x="198" y="487"/>
                </a:lnTo>
                <a:lnTo>
                  <a:pt x="198" y="487"/>
                </a:lnTo>
                <a:lnTo>
                  <a:pt x="198" y="443"/>
                </a:lnTo>
                <a:lnTo>
                  <a:pt x="247" y="394"/>
                </a:lnTo>
                <a:cubicBezTo>
                  <a:pt x="251" y="389"/>
                  <a:pt x="251" y="382"/>
                  <a:pt x="247" y="377"/>
                </a:cubicBezTo>
                <a:cubicBezTo>
                  <a:pt x="242" y="373"/>
                  <a:pt x="235" y="373"/>
                  <a:pt x="230" y="377"/>
                </a:cubicBezTo>
                <a:lnTo>
                  <a:pt x="198" y="410"/>
                </a:lnTo>
                <a:lnTo>
                  <a:pt x="198" y="361"/>
                </a:lnTo>
                <a:cubicBezTo>
                  <a:pt x="198" y="354"/>
                  <a:pt x="193" y="349"/>
                  <a:pt x="186" y="349"/>
                </a:cubicBezTo>
                <a:cubicBezTo>
                  <a:pt x="180" y="349"/>
                  <a:pt x="174" y="354"/>
                  <a:pt x="174" y="361"/>
                </a:cubicBezTo>
                <a:lnTo>
                  <a:pt x="174" y="438"/>
                </a:lnTo>
                <a:lnTo>
                  <a:pt x="174" y="438"/>
                </a:lnTo>
                <a:lnTo>
                  <a:pt x="174" y="459"/>
                </a:lnTo>
                <a:lnTo>
                  <a:pt x="142" y="427"/>
                </a:lnTo>
                <a:cubicBezTo>
                  <a:pt x="137" y="422"/>
                  <a:pt x="130" y="422"/>
                  <a:pt x="125" y="427"/>
                </a:cubicBezTo>
                <a:cubicBezTo>
                  <a:pt x="121" y="431"/>
                  <a:pt x="121" y="439"/>
                  <a:pt x="125" y="443"/>
                </a:cubicBezTo>
                <a:lnTo>
                  <a:pt x="174" y="492"/>
                </a:lnTo>
                <a:lnTo>
                  <a:pt x="174" y="583"/>
                </a:lnTo>
                <a:cubicBezTo>
                  <a:pt x="90" y="576"/>
                  <a:pt x="24" y="497"/>
                  <a:pt x="24" y="400"/>
                </a:cubicBezTo>
                <a:cubicBezTo>
                  <a:pt x="24" y="355"/>
                  <a:pt x="38" y="279"/>
                  <a:pt x="60" y="210"/>
                </a:cubicBezTo>
                <a:cubicBezTo>
                  <a:pt x="62" y="204"/>
                  <a:pt x="58" y="198"/>
                  <a:pt x="52" y="196"/>
                </a:cubicBezTo>
                <a:cubicBezTo>
                  <a:pt x="46" y="194"/>
                  <a:pt x="40" y="197"/>
                  <a:pt x="38" y="203"/>
                </a:cubicBezTo>
                <a:cubicBezTo>
                  <a:pt x="15" y="275"/>
                  <a:pt x="0" y="352"/>
                  <a:pt x="0" y="400"/>
                </a:cubicBezTo>
                <a:cubicBezTo>
                  <a:pt x="0" y="510"/>
                  <a:pt x="77" y="599"/>
                  <a:pt x="174" y="606"/>
                </a:cubicBezTo>
                <a:lnTo>
                  <a:pt x="174" y="777"/>
                </a:lnTo>
                <a:lnTo>
                  <a:pt x="12" y="777"/>
                </a:lnTo>
                <a:cubicBezTo>
                  <a:pt x="6" y="777"/>
                  <a:pt x="0" y="782"/>
                  <a:pt x="0" y="788"/>
                </a:cubicBezTo>
                <a:cubicBezTo>
                  <a:pt x="0" y="795"/>
                  <a:pt x="6" y="800"/>
                  <a:pt x="12" y="800"/>
                </a:cubicBezTo>
                <a:lnTo>
                  <a:pt x="789" y="800"/>
                </a:lnTo>
                <a:cubicBezTo>
                  <a:pt x="795" y="800"/>
                  <a:pt x="800" y="795"/>
                  <a:pt x="800" y="788"/>
                </a:cubicBezTo>
                <a:cubicBezTo>
                  <a:pt x="800" y="782"/>
                  <a:pt x="795" y="777"/>
                  <a:pt x="789" y="777"/>
                </a:cubicBezTo>
                <a:close/>
                <a:moveTo>
                  <a:pt x="482" y="777"/>
                </a:moveTo>
                <a:lnTo>
                  <a:pt x="198" y="777"/>
                </a:lnTo>
                <a:lnTo>
                  <a:pt x="198" y="606"/>
                </a:lnTo>
                <a:cubicBezTo>
                  <a:pt x="282" y="600"/>
                  <a:pt x="351" y="532"/>
                  <a:pt x="368" y="442"/>
                </a:cubicBezTo>
                <a:cubicBezTo>
                  <a:pt x="374" y="448"/>
                  <a:pt x="381" y="452"/>
                  <a:pt x="388" y="456"/>
                </a:cubicBezTo>
                <a:cubicBezTo>
                  <a:pt x="419" y="471"/>
                  <a:pt x="449" y="462"/>
                  <a:pt x="461" y="457"/>
                </a:cubicBezTo>
                <a:cubicBezTo>
                  <a:pt x="469" y="454"/>
                  <a:pt x="476" y="450"/>
                  <a:pt x="482" y="445"/>
                </a:cubicBezTo>
                <a:lnTo>
                  <a:pt x="482" y="777"/>
                </a:lnTo>
                <a:close/>
                <a:moveTo>
                  <a:pt x="671" y="777"/>
                </a:moveTo>
                <a:lnTo>
                  <a:pt x="506" y="777"/>
                </a:lnTo>
                <a:lnTo>
                  <a:pt x="506" y="445"/>
                </a:lnTo>
                <a:cubicBezTo>
                  <a:pt x="512" y="450"/>
                  <a:pt x="519" y="454"/>
                  <a:pt x="527" y="457"/>
                </a:cubicBezTo>
                <a:cubicBezTo>
                  <a:pt x="534" y="460"/>
                  <a:pt x="547" y="464"/>
                  <a:pt x="563" y="464"/>
                </a:cubicBezTo>
                <a:cubicBezTo>
                  <a:pt x="564" y="464"/>
                  <a:pt x="564" y="478"/>
                  <a:pt x="564" y="485"/>
                </a:cubicBezTo>
                <a:cubicBezTo>
                  <a:pt x="564" y="553"/>
                  <a:pt x="611" y="610"/>
                  <a:pt x="671" y="616"/>
                </a:cubicBezTo>
                <a:lnTo>
                  <a:pt x="671" y="777"/>
                </a:lnTo>
                <a:close/>
                <a:moveTo>
                  <a:pt x="682" y="477"/>
                </a:moveTo>
                <a:cubicBezTo>
                  <a:pt x="676" y="477"/>
                  <a:pt x="671" y="482"/>
                  <a:pt x="671" y="489"/>
                </a:cubicBezTo>
                <a:lnTo>
                  <a:pt x="671" y="553"/>
                </a:lnTo>
                <a:lnTo>
                  <a:pt x="671" y="553"/>
                </a:lnTo>
                <a:lnTo>
                  <a:pt x="671" y="593"/>
                </a:lnTo>
                <a:cubicBezTo>
                  <a:pt x="624" y="586"/>
                  <a:pt x="588" y="540"/>
                  <a:pt x="588" y="485"/>
                </a:cubicBezTo>
                <a:cubicBezTo>
                  <a:pt x="588" y="477"/>
                  <a:pt x="589" y="468"/>
                  <a:pt x="590" y="460"/>
                </a:cubicBezTo>
                <a:cubicBezTo>
                  <a:pt x="626" y="448"/>
                  <a:pt x="647" y="406"/>
                  <a:pt x="649" y="389"/>
                </a:cubicBezTo>
                <a:cubicBezTo>
                  <a:pt x="657" y="386"/>
                  <a:pt x="665" y="382"/>
                  <a:pt x="672" y="377"/>
                </a:cubicBezTo>
                <a:cubicBezTo>
                  <a:pt x="729" y="370"/>
                  <a:pt x="777" y="422"/>
                  <a:pt x="777" y="485"/>
                </a:cubicBezTo>
                <a:cubicBezTo>
                  <a:pt x="777" y="540"/>
                  <a:pt x="741" y="586"/>
                  <a:pt x="694" y="593"/>
                </a:cubicBezTo>
                <a:lnTo>
                  <a:pt x="694" y="558"/>
                </a:lnTo>
                <a:lnTo>
                  <a:pt x="731" y="521"/>
                </a:lnTo>
                <a:cubicBezTo>
                  <a:pt x="736" y="516"/>
                  <a:pt x="736" y="509"/>
                  <a:pt x="731" y="504"/>
                </a:cubicBezTo>
                <a:cubicBezTo>
                  <a:pt x="726" y="500"/>
                  <a:pt x="719" y="500"/>
                  <a:pt x="714" y="504"/>
                </a:cubicBezTo>
                <a:lnTo>
                  <a:pt x="694" y="525"/>
                </a:lnTo>
                <a:lnTo>
                  <a:pt x="694" y="489"/>
                </a:lnTo>
                <a:cubicBezTo>
                  <a:pt x="694" y="482"/>
                  <a:pt x="689" y="477"/>
                  <a:pt x="682" y="477"/>
                </a:cubicBezTo>
                <a:close/>
              </a:path>
            </a:pathLst>
          </a:custGeom>
          <a:solidFill>
            <a:srgbClr val="C9532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D60D5E25-72E0-242C-BA6A-CEB0FAF95D28}"/>
              </a:ext>
            </a:extLst>
          </p:cNvPr>
          <p:cNvGrpSpPr/>
          <p:nvPr userDrawn="1"/>
        </p:nvGrpSpPr>
        <p:grpSpPr>
          <a:xfrm>
            <a:off x="1314232" y="2214677"/>
            <a:ext cx="557090" cy="455801"/>
            <a:chOff x="3367088" y="5292726"/>
            <a:chExt cx="314325" cy="257175"/>
          </a:xfrm>
          <a:solidFill>
            <a:schemeClr val="accent3"/>
          </a:solidFill>
        </p:grpSpPr>
        <p:sp>
          <p:nvSpPr>
            <p:cNvPr id="124" name="Freeform 39">
              <a:extLst>
                <a:ext uri="{FF2B5EF4-FFF2-40B4-BE49-F238E27FC236}">
                  <a16:creationId xmlns:a16="http://schemas.microsoft.com/office/drawing/2014/main" id="{987C2F63-1E60-266A-1E99-450DA00480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7088" y="5403851"/>
              <a:ext cx="60325" cy="134938"/>
            </a:xfrm>
            <a:custGeom>
              <a:avLst/>
              <a:gdLst>
                <a:gd name="T0" fmla="*/ 125 w 167"/>
                <a:gd name="T1" fmla="*/ 0 h 368"/>
                <a:gd name="T2" fmla="*/ 167 w 167"/>
                <a:gd name="T3" fmla="*/ 41 h 368"/>
                <a:gd name="T4" fmla="*/ 167 w 167"/>
                <a:gd name="T5" fmla="*/ 326 h 368"/>
                <a:gd name="T6" fmla="*/ 125 w 167"/>
                <a:gd name="T7" fmla="*/ 368 h 368"/>
                <a:gd name="T8" fmla="*/ 0 w 167"/>
                <a:gd name="T9" fmla="*/ 368 h 368"/>
                <a:gd name="T10" fmla="*/ 0 w 167"/>
                <a:gd name="T11" fmla="*/ 342 h 368"/>
                <a:gd name="T12" fmla="*/ 114 w 167"/>
                <a:gd name="T13" fmla="*/ 342 h 368"/>
                <a:gd name="T14" fmla="*/ 141 w 167"/>
                <a:gd name="T15" fmla="*/ 316 h 368"/>
                <a:gd name="T16" fmla="*/ 141 w 167"/>
                <a:gd name="T17" fmla="*/ 52 h 368"/>
                <a:gd name="T18" fmla="*/ 114 w 167"/>
                <a:gd name="T19" fmla="*/ 26 h 368"/>
                <a:gd name="T20" fmla="*/ 0 w 167"/>
                <a:gd name="T21" fmla="*/ 26 h 368"/>
                <a:gd name="T22" fmla="*/ 0 w 167"/>
                <a:gd name="T23" fmla="*/ 0 h 368"/>
                <a:gd name="T24" fmla="*/ 125 w 167"/>
                <a:gd name="T25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7" h="368">
                  <a:moveTo>
                    <a:pt x="125" y="0"/>
                  </a:moveTo>
                  <a:lnTo>
                    <a:pt x="167" y="41"/>
                  </a:lnTo>
                  <a:lnTo>
                    <a:pt x="167" y="326"/>
                  </a:lnTo>
                  <a:lnTo>
                    <a:pt x="125" y="368"/>
                  </a:lnTo>
                  <a:lnTo>
                    <a:pt x="0" y="368"/>
                  </a:lnTo>
                  <a:lnTo>
                    <a:pt x="0" y="342"/>
                  </a:lnTo>
                  <a:lnTo>
                    <a:pt x="114" y="342"/>
                  </a:lnTo>
                  <a:lnTo>
                    <a:pt x="141" y="316"/>
                  </a:lnTo>
                  <a:lnTo>
                    <a:pt x="141" y="52"/>
                  </a:lnTo>
                  <a:lnTo>
                    <a:pt x="114" y="26"/>
                  </a:lnTo>
                  <a:lnTo>
                    <a:pt x="0" y="26"/>
                  </a:lnTo>
                  <a:lnTo>
                    <a:pt x="0" y="0"/>
                  </a:lnTo>
                  <a:lnTo>
                    <a:pt x="1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40">
              <a:extLst>
                <a:ext uri="{FF2B5EF4-FFF2-40B4-BE49-F238E27FC236}">
                  <a16:creationId xmlns:a16="http://schemas.microsoft.com/office/drawing/2014/main" id="{A1BCED57-74C3-00D9-ED27-D15BB0997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113" y="5421313"/>
              <a:ext cx="203200" cy="128588"/>
            </a:xfrm>
            <a:custGeom>
              <a:avLst/>
              <a:gdLst>
                <a:gd name="T0" fmla="*/ 526 w 560"/>
                <a:gd name="T1" fmla="*/ 224 h 352"/>
                <a:gd name="T2" fmla="*/ 560 w 560"/>
                <a:gd name="T3" fmla="*/ 257 h 352"/>
                <a:gd name="T4" fmla="*/ 560 w 560"/>
                <a:gd name="T5" fmla="*/ 318 h 352"/>
                <a:gd name="T6" fmla="*/ 527 w 560"/>
                <a:gd name="T7" fmla="*/ 352 h 352"/>
                <a:gd name="T8" fmla="*/ 166 w 560"/>
                <a:gd name="T9" fmla="*/ 352 h 352"/>
                <a:gd name="T10" fmla="*/ 49 w 560"/>
                <a:gd name="T11" fmla="*/ 235 h 352"/>
                <a:gd name="T12" fmla="*/ 0 w 560"/>
                <a:gd name="T13" fmla="*/ 235 h 352"/>
                <a:gd name="T14" fmla="*/ 0 w 560"/>
                <a:gd name="T15" fmla="*/ 209 h 352"/>
                <a:gd name="T16" fmla="*/ 60 w 560"/>
                <a:gd name="T17" fmla="*/ 209 h 352"/>
                <a:gd name="T18" fmla="*/ 177 w 560"/>
                <a:gd name="T19" fmla="*/ 326 h 352"/>
                <a:gd name="T20" fmla="*/ 515 w 560"/>
                <a:gd name="T21" fmla="*/ 326 h 352"/>
                <a:gd name="T22" fmla="*/ 534 w 560"/>
                <a:gd name="T23" fmla="*/ 308 h 352"/>
                <a:gd name="T24" fmla="*/ 534 w 560"/>
                <a:gd name="T25" fmla="*/ 268 h 352"/>
                <a:gd name="T26" fmla="*/ 515 w 560"/>
                <a:gd name="T27" fmla="*/ 250 h 352"/>
                <a:gd name="T28" fmla="*/ 279 w 560"/>
                <a:gd name="T29" fmla="*/ 250 h 352"/>
                <a:gd name="T30" fmla="*/ 175 w 560"/>
                <a:gd name="T31" fmla="*/ 145 h 352"/>
                <a:gd name="T32" fmla="*/ 193 w 560"/>
                <a:gd name="T33" fmla="*/ 127 h 352"/>
                <a:gd name="T34" fmla="*/ 290 w 560"/>
                <a:gd name="T35" fmla="*/ 224 h 352"/>
                <a:gd name="T36" fmla="*/ 316 w 560"/>
                <a:gd name="T37" fmla="*/ 224 h 352"/>
                <a:gd name="T38" fmla="*/ 344 w 560"/>
                <a:gd name="T39" fmla="*/ 195 h 352"/>
                <a:gd name="T40" fmla="*/ 344 w 560"/>
                <a:gd name="T41" fmla="*/ 169 h 352"/>
                <a:gd name="T42" fmla="*/ 200 w 560"/>
                <a:gd name="T43" fmla="*/ 26 h 352"/>
                <a:gd name="T44" fmla="*/ 0 w 560"/>
                <a:gd name="T45" fmla="*/ 26 h 352"/>
                <a:gd name="T46" fmla="*/ 0 w 560"/>
                <a:gd name="T47" fmla="*/ 0 h 352"/>
                <a:gd name="T48" fmla="*/ 211 w 560"/>
                <a:gd name="T49" fmla="*/ 0 h 352"/>
                <a:gd name="T50" fmla="*/ 370 w 560"/>
                <a:gd name="T51" fmla="*/ 159 h 352"/>
                <a:gd name="T52" fmla="*/ 370 w 560"/>
                <a:gd name="T53" fmla="*/ 206 h 352"/>
                <a:gd name="T54" fmla="*/ 353 w 560"/>
                <a:gd name="T55" fmla="*/ 224 h 352"/>
                <a:gd name="T56" fmla="*/ 526 w 560"/>
                <a:gd name="T57" fmla="*/ 22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60" h="352">
                  <a:moveTo>
                    <a:pt x="526" y="224"/>
                  </a:moveTo>
                  <a:lnTo>
                    <a:pt x="560" y="257"/>
                  </a:lnTo>
                  <a:lnTo>
                    <a:pt x="560" y="318"/>
                  </a:lnTo>
                  <a:lnTo>
                    <a:pt x="527" y="352"/>
                  </a:lnTo>
                  <a:lnTo>
                    <a:pt x="166" y="352"/>
                  </a:lnTo>
                  <a:lnTo>
                    <a:pt x="49" y="235"/>
                  </a:lnTo>
                  <a:lnTo>
                    <a:pt x="0" y="235"/>
                  </a:lnTo>
                  <a:lnTo>
                    <a:pt x="0" y="209"/>
                  </a:lnTo>
                  <a:lnTo>
                    <a:pt x="60" y="209"/>
                  </a:lnTo>
                  <a:lnTo>
                    <a:pt x="177" y="326"/>
                  </a:lnTo>
                  <a:lnTo>
                    <a:pt x="515" y="326"/>
                  </a:lnTo>
                  <a:lnTo>
                    <a:pt x="534" y="308"/>
                  </a:lnTo>
                  <a:lnTo>
                    <a:pt x="534" y="268"/>
                  </a:lnTo>
                  <a:lnTo>
                    <a:pt x="515" y="250"/>
                  </a:lnTo>
                  <a:lnTo>
                    <a:pt x="279" y="250"/>
                  </a:lnTo>
                  <a:lnTo>
                    <a:pt x="175" y="145"/>
                  </a:lnTo>
                  <a:lnTo>
                    <a:pt x="193" y="127"/>
                  </a:lnTo>
                  <a:lnTo>
                    <a:pt x="290" y="224"/>
                  </a:lnTo>
                  <a:lnTo>
                    <a:pt x="316" y="224"/>
                  </a:lnTo>
                  <a:lnTo>
                    <a:pt x="344" y="195"/>
                  </a:lnTo>
                  <a:lnTo>
                    <a:pt x="344" y="169"/>
                  </a:lnTo>
                  <a:lnTo>
                    <a:pt x="200" y="26"/>
                  </a:lnTo>
                  <a:lnTo>
                    <a:pt x="0" y="26"/>
                  </a:lnTo>
                  <a:lnTo>
                    <a:pt x="0" y="0"/>
                  </a:lnTo>
                  <a:lnTo>
                    <a:pt x="211" y="0"/>
                  </a:lnTo>
                  <a:lnTo>
                    <a:pt x="370" y="159"/>
                  </a:lnTo>
                  <a:lnTo>
                    <a:pt x="370" y="206"/>
                  </a:lnTo>
                  <a:lnTo>
                    <a:pt x="353" y="224"/>
                  </a:lnTo>
                  <a:lnTo>
                    <a:pt x="526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41">
              <a:extLst>
                <a:ext uri="{FF2B5EF4-FFF2-40B4-BE49-F238E27FC236}">
                  <a16:creationId xmlns:a16="http://schemas.microsoft.com/office/drawing/2014/main" id="{F7FBAB9A-54F5-F899-4C82-09AC07DFB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9650" y="5292726"/>
              <a:ext cx="131763" cy="174625"/>
            </a:xfrm>
            <a:custGeom>
              <a:avLst/>
              <a:gdLst>
                <a:gd name="T0" fmla="*/ 0 w 363"/>
                <a:gd name="T1" fmla="*/ 472 h 477"/>
                <a:gd name="T2" fmla="*/ 66 w 363"/>
                <a:gd name="T3" fmla="*/ 368 h 477"/>
                <a:gd name="T4" fmla="*/ 182 w 363"/>
                <a:gd name="T5" fmla="*/ 330 h 477"/>
                <a:gd name="T6" fmla="*/ 298 w 363"/>
                <a:gd name="T7" fmla="*/ 368 h 477"/>
                <a:gd name="T8" fmla="*/ 363 w 363"/>
                <a:gd name="T9" fmla="*/ 472 h 477"/>
                <a:gd name="T10" fmla="*/ 341 w 363"/>
                <a:gd name="T11" fmla="*/ 477 h 477"/>
                <a:gd name="T12" fmla="*/ 182 w 363"/>
                <a:gd name="T13" fmla="*/ 354 h 477"/>
                <a:gd name="T14" fmla="*/ 23 w 363"/>
                <a:gd name="T15" fmla="*/ 477 h 477"/>
                <a:gd name="T16" fmla="*/ 0 w 363"/>
                <a:gd name="T17" fmla="*/ 472 h 477"/>
                <a:gd name="T18" fmla="*/ 182 w 363"/>
                <a:gd name="T19" fmla="*/ 286 h 477"/>
                <a:gd name="T20" fmla="*/ 81 w 363"/>
                <a:gd name="T21" fmla="*/ 244 h 477"/>
                <a:gd name="T22" fmla="*/ 39 w 363"/>
                <a:gd name="T23" fmla="*/ 143 h 477"/>
                <a:gd name="T24" fmla="*/ 81 w 363"/>
                <a:gd name="T25" fmla="*/ 42 h 477"/>
                <a:gd name="T26" fmla="*/ 182 w 363"/>
                <a:gd name="T27" fmla="*/ 0 h 477"/>
                <a:gd name="T28" fmla="*/ 284 w 363"/>
                <a:gd name="T29" fmla="*/ 42 h 477"/>
                <a:gd name="T30" fmla="*/ 325 w 363"/>
                <a:gd name="T31" fmla="*/ 143 h 477"/>
                <a:gd name="T32" fmla="*/ 284 w 363"/>
                <a:gd name="T33" fmla="*/ 244 h 477"/>
                <a:gd name="T34" fmla="*/ 182 w 363"/>
                <a:gd name="T35" fmla="*/ 286 h 477"/>
                <a:gd name="T36" fmla="*/ 182 w 363"/>
                <a:gd name="T37" fmla="*/ 23 h 477"/>
                <a:gd name="T38" fmla="*/ 62 w 363"/>
                <a:gd name="T39" fmla="*/ 143 h 477"/>
                <a:gd name="T40" fmla="*/ 182 w 363"/>
                <a:gd name="T41" fmla="*/ 263 h 477"/>
                <a:gd name="T42" fmla="*/ 302 w 363"/>
                <a:gd name="T43" fmla="*/ 143 h 477"/>
                <a:gd name="T44" fmla="*/ 182 w 363"/>
                <a:gd name="T45" fmla="*/ 23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3" h="477">
                  <a:moveTo>
                    <a:pt x="0" y="472"/>
                  </a:moveTo>
                  <a:cubicBezTo>
                    <a:pt x="10" y="429"/>
                    <a:pt x="32" y="393"/>
                    <a:pt x="66" y="368"/>
                  </a:cubicBezTo>
                  <a:cubicBezTo>
                    <a:pt x="98" y="343"/>
                    <a:pt x="139" y="330"/>
                    <a:pt x="182" y="330"/>
                  </a:cubicBezTo>
                  <a:cubicBezTo>
                    <a:pt x="225" y="330"/>
                    <a:pt x="266" y="343"/>
                    <a:pt x="298" y="368"/>
                  </a:cubicBezTo>
                  <a:cubicBezTo>
                    <a:pt x="331" y="393"/>
                    <a:pt x="353" y="429"/>
                    <a:pt x="363" y="472"/>
                  </a:cubicBezTo>
                  <a:lnTo>
                    <a:pt x="341" y="477"/>
                  </a:lnTo>
                  <a:cubicBezTo>
                    <a:pt x="321" y="392"/>
                    <a:pt x="248" y="354"/>
                    <a:pt x="182" y="354"/>
                  </a:cubicBezTo>
                  <a:cubicBezTo>
                    <a:pt x="117" y="354"/>
                    <a:pt x="44" y="392"/>
                    <a:pt x="23" y="477"/>
                  </a:cubicBezTo>
                  <a:lnTo>
                    <a:pt x="0" y="472"/>
                  </a:lnTo>
                  <a:close/>
                  <a:moveTo>
                    <a:pt x="182" y="286"/>
                  </a:moveTo>
                  <a:cubicBezTo>
                    <a:pt x="144" y="286"/>
                    <a:pt x="108" y="271"/>
                    <a:pt x="81" y="244"/>
                  </a:cubicBezTo>
                  <a:cubicBezTo>
                    <a:pt x="54" y="218"/>
                    <a:pt x="39" y="182"/>
                    <a:pt x="39" y="143"/>
                  </a:cubicBezTo>
                  <a:cubicBezTo>
                    <a:pt x="39" y="105"/>
                    <a:pt x="54" y="69"/>
                    <a:pt x="81" y="42"/>
                  </a:cubicBezTo>
                  <a:cubicBezTo>
                    <a:pt x="108" y="15"/>
                    <a:pt x="144" y="0"/>
                    <a:pt x="182" y="0"/>
                  </a:cubicBezTo>
                  <a:cubicBezTo>
                    <a:pt x="221" y="0"/>
                    <a:pt x="257" y="15"/>
                    <a:pt x="284" y="42"/>
                  </a:cubicBezTo>
                  <a:cubicBezTo>
                    <a:pt x="310" y="69"/>
                    <a:pt x="325" y="105"/>
                    <a:pt x="325" y="143"/>
                  </a:cubicBezTo>
                  <a:cubicBezTo>
                    <a:pt x="325" y="182"/>
                    <a:pt x="310" y="218"/>
                    <a:pt x="284" y="244"/>
                  </a:cubicBezTo>
                  <a:cubicBezTo>
                    <a:pt x="257" y="271"/>
                    <a:pt x="221" y="286"/>
                    <a:pt x="182" y="286"/>
                  </a:cubicBezTo>
                  <a:close/>
                  <a:moveTo>
                    <a:pt x="182" y="23"/>
                  </a:moveTo>
                  <a:cubicBezTo>
                    <a:pt x="115" y="23"/>
                    <a:pt x="62" y="76"/>
                    <a:pt x="62" y="143"/>
                  </a:cubicBezTo>
                  <a:cubicBezTo>
                    <a:pt x="62" y="210"/>
                    <a:pt x="115" y="263"/>
                    <a:pt x="182" y="263"/>
                  </a:cubicBezTo>
                  <a:cubicBezTo>
                    <a:pt x="250" y="263"/>
                    <a:pt x="302" y="210"/>
                    <a:pt x="302" y="143"/>
                  </a:cubicBezTo>
                  <a:cubicBezTo>
                    <a:pt x="302" y="76"/>
                    <a:pt x="250" y="23"/>
                    <a:pt x="18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27" name="Freeform 42">
            <a:extLst>
              <a:ext uri="{FF2B5EF4-FFF2-40B4-BE49-F238E27FC236}">
                <a16:creationId xmlns:a16="http://schemas.microsoft.com/office/drawing/2014/main" id="{BD1C914E-2747-80D4-E543-B57FC6AFCD2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359535" y="2222500"/>
            <a:ext cx="547803" cy="514264"/>
          </a:xfrm>
          <a:custGeom>
            <a:avLst/>
            <a:gdLst>
              <a:gd name="T0" fmla="*/ 653 w 1076"/>
              <a:gd name="T1" fmla="*/ 221 h 1000"/>
              <a:gd name="T2" fmla="*/ 555 w 1076"/>
              <a:gd name="T3" fmla="*/ 299 h 1000"/>
              <a:gd name="T4" fmla="*/ 478 w 1076"/>
              <a:gd name="T5" fmla="*/ 397 h 1000"/>
              <a:gd name="T6" fmla="*/ 257 w 1076"/>
              <a:gd name="T7" fmla="*/ 299 h 1000"/>
              <a:gd name="T8" fmla="*/ 478 w 1076"/>
              <a:gd name="T9" fmla="*/ 520 h 1000"/>
              <a:gd name="T10" fmla="*/ 555 w 1076"/>
              <a:gd name="T11" fmla="*/ 423 h 1000"/>
              <a:gd name="T12" fmla="*/ 777 w 1076"/>
              <a:gd name="T13" fmla="*/ 520 h 1000"/>
              <a:gd name="T14" fmla="*/ 679 w 1076"/>
              <a:gd name="T15" fmla="*/ 299 h 1000"/>
              <a:gd name="T16" fmla="*/ 777 w 1076"/>
              <a:gd name="T17" fmla="*/ 221 h 1000"/>
              <a:gd name="T18" fmla="*/ 555 w 1076"/>
              <a:gd name="T19" fmla="*/ 0 h 1000"/>
              <a:gd name="T20" fmla="*/ 452 w 1076"/>
              <a:gd name="T21" fmla="*/ 494 h 1000"/>
              <a:gd name="T22" fmla="*/ 283 w 1076"/>
              <a:gd name="T23" fmla="*/ 325 h 1000"/>
              <a:gd name="T24" fmla="*/ 452 w 1076"/>
              <a:gd name="T25" fmla="*/ 494 h 1000"/>
              <a:gd name="T26" fmla="*/ 581 w 1076"/>
              <a:gd name="T27" fmla="*/ 494 h 1000"/>
              <a:gd name="T28" fmla="*/ 751 w 1076"/>
              <a:gd name="T29" fmla="*/ 325 h 1000"/>
              <a:gd name="T30" fmla="*/ 581 w 1076"/>
              <a:gd name="T31" fmla="*/ 26 h 1000"/>
              <a:gd name="T32" fmla="*/ 751 w 1076"/>
              <a:gd name="T33" fmla="*/ 195 h 1000"/>
              <a:gd name="T34" fmla="*/ 581 w 1076"/>
              <a:gd name="T35" fmla="*/ 26 h 1000"/>
              <a:gd name="T36" fmla="*/ 1075 w 1076"/>
              <a:gd name="T37" fmla="*/ 442 h 1000"/>
              <a:gd name="T38" fmla="*/ 997 w 1076"/>
              <a:gd name="T39" fmla="*/ 520 h 1000"/>
              <a:gd name="T40" fmla="*/ 1049 w 1076"/>
              <a:gd name="T41" fmla="*/ 494 h 1000"/>
              <a:gd name="T42" fmla="*/ 881 w 1076"/>
              <a:gd name="T43" fmla="*/ 494 h 1000"/>
              <a:gd name="T44" fmla="*/ 932 w 1076"/>
              <a:gd name="T45" fmla="*/ 520 h 1000"/>
              <a:gd name="T46" fmla="*/ 855 w 1076"/>
              <a:gd name="T47" fmla="*/ 442 h 1000"/>
              <a:gd name="T48" fmla="*/ 881 w 1076"/>
              <a:gd name="T49" fmla="*/ 494 h 1000"/>
              <a:gd name="T50" fmla="*/ 932 w 1076"/>
              <a:gd name="T51" fmla="*/ 299 h 1000"/>
              <a:gd name="T52" fmla="*/ 881 w 1076"/>
              <a:gd name="T53" fmla="*/ 325 h 1000"/>
              <a:gd name="T54" fmla="*/ 855 w 1076"/>
              <a:gd name="T55" fmla="*/ 376 h 1000"/>
              <a:gd name="T56" fmla="*/ 1076 w 1076"/>
              <a:gd name="T57" fmla="*/ 299 h 1000"/>
              <a:gd name="T58" fmla="*/ 1049 w 1076"/>
              <a:gd name="T59" fmla="*/ 376 h 1000"/>
              <a:gd name="T60" fmla="*/ 997 w 1076"/>
              <a:gd name="T61" fmla="*/ 325 h 1000"/>
              <a:gd name="T62" fmla="*/ 1076 w 1076"/>
              <a:gd name="T63" fmla="*/ 299 h 1000"/>
              <a:gd name="T64" fmla="*/ 166 w 1076"/>
              <a:gd name="T65" fmla="*/ 643 h 1000"/>
              <a:gd name="T66" fmla="*/ 125 w 1076"/>
              <a:gd name="T67" fmla="*/ 970 h 1000"/>
              <a:gd name="T68" fmla="*/ 0 w 1076"/>
              <a:gd name="T69" fmla="*/ 944 h 1000"/>
              <a:gd name="T70" fmla="*/ 140 w 1076"/>
              <a:gd name="T71" fmla="*/ 917 h 1000"/>
              <a:gd name="T72" fmla="*/ 114 w 1076"/>
              <a:gd name="T73" fmla="*/ 627 h 1000"/>
              <a:gd name="T74" fmla="*/ 0 w 1076"/>
              <a:gd name="T75" fmla="*/ 601 h 1000"/>
              <a:gd name="T76" fmla="*/ 730 w 1076"/>
              <a:gd name="T77" fmla="*/ 872 h 1000"/>
              <a:gd name="T78" fmla="*/ 764 w 1076"/>
              <a:gd name="T79" fmla="*/ 967 h 1000"/>
              <a:gd name="T80" fmla="*/ 370 w 1076"/>
              <a:gd name="T81" fmla="*/ 1000 h 1000"/>
              <a:gd name="T82" fmla="*/ 204 w 1076"/>
              <a:gd name="T83" fmla="*/ 884 h 1000"/>
              <a:gd name="T84" fmla="*/ 264 w 1076"/>
              <a:gd name="T85" fmla="*/ 858 h 1000"/>
              <a:gd name="T86" fmla="*/ 719 w 1076"/>
              <a:gd name="T87" fmla="*/ 974 h 1000"/>
              <a:gd name="T88" fmla="*/ 738 w 1076"/>
              <a:gd name="T89" fmla="*/ 916 h 1000"/>
              <a:gd name="T90" fmla="*/ 483 w 1076"/>
              <a:gd name="T91" fmla="*/ 898 h 1000"/>
              <a:gd name="T92" fmla="*/ 397 w 1076"/>
              <a:gd name="T93" fmla="*/ 775 h 1000"/>
              <a:gd name="T94" fmla="*/ 519 w 1076"/>
              <a:gd name="T95" fmla="*/ 872 h 1000"/>
              <a:gd name="T96" fmla="*/ 548 w 1076"/>
              <a:gd name="T97" fmla="*/ 818 h 1000"/>
              <a:gd name="T98" fmla="*/ 204 w 1076"/>
              <a:gd name="T99" fmla="*/ 674 h 1000"/>
              <a:gd name="T100" fmla="*/ 414 w 1076"/>
              <a:gd name="T101" fmla="*/ 648 h 1000"/>
              <a:gd name="T102" fmla="*/ 574 w 1076"/>
              <a:gd name="T103" fmla="*/ 855 h 1000"/>
              <a:gd name="T104" fmla="*/ 730 w 1076"/>
              <a:gd name="T105" fmla="*/ 872 h 1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076" h="1000">
                <a:moveTo>
                  <a:pt x="555" y="221"/>
                </a:moveTo>
                <a:lnTo>
                  <a:pt x="653" y="221"/>
                </a:lnTo>
                <a:lnTo>
                  <a:pt x="653" y="299"/>
                </a:lnTo>
                <a:lnTo>
                  <a:pt x="555" y="299"/>
                </a:lnTo>
                <a:lnTo>
                  <a:pt x="555" y="397"/>
                </a:lnTo>
                <a:lnTo>
                  <a:pt x="478" y="397"/>
                </a:lnTo>
                <a:lnTo>
                  <a:pt x="478" y="299"/>
                </a:lnTo>
                <a:lnTo>
                  <a:pt x="257" y="299"/>
                </a:lnTo>
                <a:lnTo>
                  <a:pt x="257" y="520"/>
                </a:lnTo>
                <a:lnTo>
                  <a:pt x="478" y="520"/>
                </a:lnTo>
                <a:lnTo>
                  <a:pt x="478" y="423"/>
                </a:lnTo>
                <a:lnTo>
                  <a:pt x="555" y="423"/>
                </a:lnTo>
                <a:lnTo>
                  <a:pt x="555" y="520"/>
                </a:lnTo>
                <a:lnTo>
                  <a:pt x="777" y="520"/>
                </a:lnTo>
                <a:lnTo>
                  <a:pt x="777" y="299"/>
                </a:lnTo>
                <a:lnTo>
                  <a:pt x="679" y="299"/>
                </a:lnTo>
                <a:lnTo>
                  <a:pt x="679" y="221"/>
                </a:lnTo>
                <a:lnTo>
                  <a:pt x="777" y="221"/>
                </a:lnTo>
                <a:lnTo>
                  <a:pt x="777" y="0"/>
                </a:lnTo>
                <a:lnTo>
                  <a:pt x="555" y="0"/>
                </a:lnTo>
                <a:lnTo>
                  <a:pt x="555" y="221"/>
                </a:lnTo>
                <a:close/>
                <a:moveTo>
                  <a:pt x="452" y="494"/>
                </a:moveTo>
                <a:lnTo>
                  <a:pt x="283" y="494"/>
                </a:lnTo>
                <a:lnTo>
                  <a:pt x="283" y="325"/>
                </a:lnTo>
                <a:lnTo>
                  <a:pt x="452" y="325"/>
                </a:lnTo>
                <a:lnTo>
                  <a:pt x="452" y="494"/>
                </a:lnTo>
                <a:close/>
                <a:moveTo>
                  <a:pt x="751" y="494"/>
                </a:moveTo>
                <a:lnTo>
                  <a:pt x="581" y="494"/>
                </a:lnTo>
                <a:lnTo>
                  <a:pt x="581" y="325"/>
                </a:lnTo>
                <a:lnTo>
                  <a:pt x="751" y="325"/>
                </a:lnTo>
                <a:lnTo>
                  <a:pt x="751" y="494"/>
                </a:lnTo>
                <a:close/>
                <a:moveTo>
                  <a:pt x="581" y="26"/>
                </a:moveTo>
                <a:lnTo>
                  <a:pt x="751" y="26"/>
                </a:lnTo>
                <a:lnTo>
                  <a:pt x="751" y="195"/>
                </a:lnTo>
                <a:lnTo>
                  <a:pt x="581" y="195"/>
                </a:lnTo>
                <a:lnTo>
                  <a:pt x="581" y="26"/>
                </a:lnTo>
                <a:close/>
                <a:moveTo>
                  <a:pt x="1049" y="442"/>
                </a:moveTo>
                <a:lnTo>
                  <a:pt x="1075" y="442"/>
                </a:lnTo>
                <a:lnTo>
                  <a:pt x="1075" y="520"/>
                </a:lnTo>
                <a:lnTo>
                  <a:pt x="997" y="520"/>
                </a:lnTo>
                <a:lnTo>
                  <a:pt x="997" y="494"/>
                </a:lnTo>
                <a:lnTo>
                  <a:pt x="1049" y="494"/>
                </a:lnTo>
                <a:lnTo>
                  <a:pt x="1049" y="442"/>
                </a:lnTo>
                <a:close/>
                <a:moveTo>
                  <a:pt x="881" y="494"/>
                </a:moveTo>
                <a:lnTo>
                  <a:pt x="932" y="494"/>
                </a:lnTo>
                <a:lnTo>
                  <a:pt x="932" y="520"/>
                </a:lnTo>
                <a:lnTo>
                  <a:pt x="855" y="520"/>
                </a:lnTo>
                <a:lnTo>
                  <a:pt x="855" y="442"/>
                </a:lnTo>
                <a:lnTo>
                  <a:pt x="881" y="442"/>
                </a:lnTo>
                <a:lnTo>
                  <a:pt x="881" y="494"/>
                </a:lnTo>
                <a:close/>
                <a:moveTo>
                  <a:pt x="855" y="299"/>
                </a:moveTo>
                <a:lnTo>
                  <a:pt x="932" y="299"/>
                </a:lnTo>
                <a:lnTo>
                  <a:pt x="932" y="325"/>
                </a:lnTo>
                <a:lnTo>
                  <a:pt x="881" y="325"/>
                </a:lnTo>
                <a:lnTo>
                  <a:pt x="881" y="376"/>
                </a:lnTo>
                <a:lnTo>
                  <a:pt x="855" y="376"/>
                </a:lnTo>
                <a:lnTo>
                  <a:pt x="855" y="299"/>
                </a:lnTo>
                <a:close/>
                <a:moveTo>
                  <a:pt x="1076" y="299"/>
                </a:moveTo>
                <a:lnTo>
                  <a:pt x="1076" y="376"/>
                </a:lnTo>
                <a:lnTo>
                  <a:pt x="1049" y="376"/>
                </a:lnTo>
                <a:lnTo>
                  <a:pt x="1049" y="325"/>
                </a:lnTo>
                <a:lnTo>
                  <a:pt x="997" y="325"/>
                </a:lnTo>
                <a:lnTo>
                  <a:pt x="997" y="299"/>
                </a:lnTo>
                <a:lnTo>
                  <a:pt x="1076" y="299"/>
                </a:lnTo>
                <a:close/>
                <a:moveTo>
                  <a:pt x="125" y="601"/>
                </a:moveTo>
                <a:lnTo>
                  <a:pt x="166" y="643"/>
                </a:lnTo>
                <a:lnTo>
                  <a:pt x="166" y="928"/>
                </a:lnTo>
                <a:lnTo>
                  <a:pt x="125" y="970"/>
                </a:lnTo>
                <a:lnTo>
                  <a:pt x="0" y="970"/>
                </a:lnTo>
                <a:lnTo>
                  <a:pt x="0" y="944"/>
                </a:lnTo>
                <a:lnTo>
                  <a:pt x="114" y="944"/>
                </a:lnTo>
                <a:lnTo>
                  <a:pt x="140" y="917"/>
                </a:lnTo>
                <a:lnTo>
                  <a:pt x="140" y="654"/>
                </a:lnTo>
                <a:lnTo>
                  <a:pt x="114" y="627"/>
                </a:lnTo>
                <a:lnTo>
                  <a:pt x="0" y="627"/>
                </a:lnTo>
                <a:lnTo>
                  <a:pt x="0" y="601"/>
                </a:lnTo>
                <a:lnTo>
                  <a:pt x="125" y="601"/>
                </a:lnTo>
                <a:close/>
                <a:moveTo>
                  <a:pt x="730" y="872"/>
                </a:moveTo>
                <a:lnTo>
                  <a:pt x="764" y="906"/>
                </a:lnTo>
                <a:lnTo>
                  <a:pt x="764" y="967"/>
                </a:lnTo>
                <a:lnTo>
                  <a:pt x="730" y="1000"/>
                </a:lnTo>
                <a:lnTo>
                  <a:pt x="370" y="1000"/>
                </a:lnTo>
                <a:lnTo>
                  <a:pt x="253" y="884"/>
                </a:lnTo>
                <a:lnTo>
                  <a:pt x="204" y="884"/>
                </a:lnTo>
                <a:lnTo>
                  <a:pt x="204" y="858"/>
                </a:lnTo>
                <a:lnTo>
                  <a:pt x="264" y="858"/>
                </a:lnTo>
                <a:lnTo>
                  <a:pt x="380" y="974"/>
                </a:lnTo>
                <a:lnTo>
                  <a:pt x="719" y="974"/>
                </a:lnTo>
                <a:lnTo>
                  <a:pt x="738" y="956"/>
                </a:lnTo>
                <a:lnTo>
                  <a:pt x="738" y="916"/>
                </a:lnTo>
                <a:lnTo>
                  <a:pt x="719" y="898"/>
                </a:lnTo>
                <a:lnTo>
                  <a:pt x="483" y="898"/>
                </a:lnTo>
                <a:lnTo>
                  <a:pt x="379" y="793"/>
                </a:lnTo>
                <a:lnTo>
                  <a:pt x="397" y="775"/>
                </a:lnTo>
                <a:lnTo>
                  <a:pt x="494" y="872"/>
                </a:lnTo>
                <a:lnTo>
                  <a:pt x="519" y="872"/>
                </a:lnTo>
                <a:lnTo>
                  <a:pt x="548" y="844"/>
                </a:lnTo>
                <a:lnTo>
                  <a:pt x="548" y="818"/>
                </a:lnTo>
                <a:lnTo>
                  <a:pt x="404" y="674"/>
                </a:lnTo>
                <a:lnTo>
                  <a:pt x="204" y="674"/>
                </a:lnTo>
                <a:lnTo>
                  <a:pt x="204" y="648"/>
                </a:lnTo>
                <a:lnTo>
                  <a:pt x="414" y="648"/>
                </a:lnTo>
                <a:lnTo>
                  <a:pt x="574" y="807"/>
                </a:lnTo>
                <a:lnTo>
                  <a:pt x="574" y="855"/>
                </a:lnTo>
                <a:lnTo>
                  <a:pt x="557" y="872"/>
                </a:lnTo>
                <a:lnTo>
                  <a:pt x="730" y="87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1D33A932-C6ED-E17A-0F11-0D4374F7C4C2}"/>
              </a:ext>
            </a:extLst>
          </p:cNvPr>
          <p:cNvGrpSpPr/>
          <p:nvPr userDrawn="1"/>
        </p:nvGrpSpPr>
        <p:grpSpPr>
          <a:xfrm>
            <a:off x="7197725" y="5294313"/>
            <a:ext cx="319088" cy="250826"/>
            <a:chOff x="7197725" y="5294313"/>
            <a:chExt cx="319088" cy="250826"/>
          </a:xfrm>
        </p:grpSpPr>
        <p:sp>
          <p:nvSpPr>
            <p:cNvPr id="129" name="Freeform 43">
              <a:extLst>
                <a:ext uri="{FF2B5EF4-FFF2-40B4-BE49-F238E27FC236}">
                  <a16:creationId xmlns:a16="http://schemas.microsoft.com/office/drawing/2014/main" id="{5F986E43-5DBF-CFB5-6797-BA37CC7FF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7725" y="5399088"/>
              <a:ext cx="60325" cy="134938"/>
            </a:xfrm>
            <a:custGeom>
              <a:avLst/>
              <a:gdLst>
                <a:gd name="T0" fmla="*/ 124 w 166"/>
                <a:gd name="T1" fmla="*/ 0 h 368"/>
                <a:gd name="T2" fmla="*/ 166 w 166"/>
                <a:gd name="T3" fmla="*/ 41 h 368"/>
                <a:gd name="T4" fmla="*/ 166 w 166"/>
                <a:gd name="T5" fmla="*/ 326 h 368"/>
                <a:gd name="T6" fmla="*/ 124 w 166"/>
                <a:gd name="T7" fmla="*/ 368 h 368"/>
                <a:gd name="T8" fmla="*/ 0 w 166"/>
                <a:gd name="T9" fmla="*/ 368 h 368"/>
                <a:gd name="T10" fmla="*/ 0 w 166"/>
                <a:gd name="T11" fmla="*/ 342 h 368"/>
                <a:gd name="T12" fmla="*/ 114 w 166"/>
                <a:gd name="T13" fmla="*/ 342 h 368"/>
                <a:gd name="T14" fmla="*/ 140 w 166"/>
                <a:gd name="T15" fmla="*/ 316 h 368"/>
                <a:gd name="T16" fmla="*/ 140 w 166"/>
                <a:gd name="T17" fmla="*/ 52 h 368"/>
                <a:gd name="T18" fmla="*/ 114 w 166"/>
                <a:gd name="T19" fmla="*/ 26 h 368"/>
                <a:gd name="T20" fmla="*/ 0 w 166"/>
                <a:gd name="T21" fmla="*/ 26 h 368"/>
                <a:gd name="T22" fmla="*/ 0 w 166"/>
                <a:gd name="T23" fmla="*/ 0 h 368"/>
                <a:gd name="T24" fmla="*/ 124 w 166"/>
                <a:gd name="T25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368">
                  <a:moveTo>
                    <a:pt x="124" y="0"/>
                  </a:moveTo>
                  <a:lnTo>
                    <a:pt x="166" y="41"/>
                  </a:lnTo>
                  <a:lnTo>
                    <a:pt x="166" y="326"/>
                  </a:lnTo>
                  <a:lnTo>
                    <a:pt x="124" y="368"/>
                  </a:lnTo>
                  <a:lnTo>
                    <a:pt x="0" y="368"/>
                  </a:lnTo>
                  <a:lnTo>
                    <a:pt x="0" y="342"/>
                  </a:lnTo>
                  <a:lnTo>
                    <a:pt x="114" y="342"/>
                  </a:lnTo>
                  <a:lnTo>
                    <a:pt x="140" y="316"/>
                  </a:lnTo>
                  <a:lnTo>
                    <a:pt x="140" y="52"/>
                  </a:lnTo>
                  <a:lnTo>
                    <a:pt x="114" y="26"/>
                  </a:lnTo>
                  <a:lnTo>
                    <a:pt x="0" y="26"/>
                  </a:lnTo>
                  <a:lnTo>
                    <a:pt x="0" y="0"/>
                  </a:lnTo>
                  <a:lnTo>
                    <a:pt x="124" y="0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44">
              <a:extLst>
                <a:ext uri="{FF2B5EF4-FFF2-40B4-BE49-F238E27FC236}">
                  <a16:creationId xmlns:a16="http://schemas.microsoft.com/office/drawing/2014/main" id="{D8FD5622-BF6A-963C-293B-83BA862EF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2338" y="5416551"/>
              <a:ext cx="201613" cy="128588"/>
            </a:xfrm>
            <a:custGeom>
              <a:avLst/>
              <a:gdLst>
                <a:gd name="T0" fmla="*/ 526 w 560"/>
                <a:gd name="T1" fmla="*/ 224 h 352"/>
                <a:gd name="T2" fmla="*/ 560 w 560"/>
                <a:gd name="T3" fmla="*/ 257 h 352"/>
                <a:gd name="T4" fmla="*/ 560 w 560"/>
                <a:gd name="T5" fmla="*/ 318 h 352"/>
                <a:gd name="T6" fmla="*/ 526 w 560"/>
                <a:gd name="T7" fmla="*/ 352 h 352"/>
                <a:gd name="T8" fmla="*/ 165 w 560"/>
                <a:gd name="T9" fmla="*/ 352 h 352"/>
                <a:gd name="T10" fmla="*/ 49 w 560"/>
                <a:gd name="T11" fmla="*/ 235 h 352"/>
                <a:gd name="T12" fmla="*/ 0 w 560"/>
                <a:gd name="T13" fmla="*/ 235 h 352"/>
                <a:gd name="T14" fmla="*/ 0 w 560"/>
                <a:gd name="T15" fmla="*/ 209 h 352"/>
                <a:gd name="T16" fmla="*/ 60 w 560"/>
                <a:gd name="T17" fmla="*/ 209 h 352"/>
                <a:gd name="T18" fmla="*/ 176 w 560"/>
                <a:gd name="T19" fmla="*/ 326 h 352"/>
                <a:gd name="T20" fmla="*/ 515 w 560"/>
                <a:gd name="T21" fmla="*/ 326 h 352"/>
                <a:gd name="T22" fmla="*/ 534 w 560"/>
                <a:gd name="T23" fmla="*/ 308 h 352"/>
                <a:gd name="T24" fmla="*/ 534 w 560"/>
                <a:gd name="T25" fmla="*/ 268 h 352"/>
                <a:gd name="T26" fmla="*/ 515 w 560"/>
                <a:gd name="T27" fmla="*/ 249 h 352"/>
                <a:gd name="T28" fmla="*/ 279 w 560"/>
                <a:gd name="T29" fmla="*/ 249 h 352"/>
                <a:gd name="T30" fmla="*/ 174 w 560"/>
                <a:gd name="T31" fmla="*/ 145 h 352"/>
                <a:gd name="T32" fmla="*/ 193 w 560"/>
                <a:gd name="T33" fmla="*/ 127 h 352"/>
                <a:gd name="T34" fmla="*/ 289 w 560"/>
                <a:gd name="T35" fmla="*/ 224 h 352"/>
                <a:gd name="T36" fmla="*/ 315 w 560"/>
                <a:gd name="T37" fmla="*/ 224 h 352"/>
                <a:gd name="T38" fmla="*/ 344 w 560"/>
                <a:gd name="T39" fmla="*/ 195 h 352"/>
                <a:gd name="T40" fmla="*/ 344 w 560"/>
                <a:gd name="T41" fmla="*/ 169 h 352"/>
                <a:gd name="T42" fmla="*/ 200 w 560"/>
                <a:gd name="T43" fmla="*/ 26 h 352"/>
                <a:gd name="T44" fmla="*/ 0 w 560"/>
                <a:gd name="T45" fmla="*/ 26 h 352"/>
                <a:gd name="T46" fmla="*/ 0 w 560"/>
                <a:gd name="T47" fmla="*/ 0 h 352"/>
                <a:gd name="T48" fmla="*/ 210 w 560"/>
                <a:gd name="T49" fmla="*/ 0 h 352"/>
                <a:gd name="T50" fmla="*/ 370 w 560"/>
                <a:gd name="T51" fmla="*/ 159 h 352"/>
                <a:gd name="T52" fmla="*/ 370 w 560"/>
                <a:gd name="T53" fmla="*/ 206 h 352"/>
                <a:gd name="T54" fmla="*/ 353 w 560"/>
                <a:gd name="T55" fmla="*/ 224 h 352"/>
                <a:gd name="T56" fmla="*/ 526 w 560"/>
                <a:gd name="T57" fmla="*/ 22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60" h="352">
                  <a:moveTo>
                    <a:pt x="526" y="224"/>
                  </a:moveTo>
                  <a:lnTo>
                    <a:pt x="560" y="257"/>
                  </a:lnTo>
                  <a:lnTo>
                    <a:pt x="560" y="318"/>
                  </a:lnTo>
                  <a:lnTo>
                    <a:pt x="526" y="352"/>
                  </a:lnTo>
                  <a:lnTo>
                    <a:pt x="165" y="352"/>
                  </a:lnTo>
                  <a:lnTo>
                    <a:pt x="49" y="235"/>
                  </a:lnTo>
                  <a:lnTo>
                    <a:pt x="0" y="235"/>
                  </a:lnTo>
                  <a:lnTo>
                    <a:pt x="0" y="209"/>
                  </a:lnTo>
                  <a:lnTo>
                    <a:pt x="60" y="209"/>
                  </a:lnTo>
                  <a:lnTo>
                    <a:pt x="176" y="326"/>
                  </a:lnTo>
                  <a:lnTo>
                    <a:pt x="515" y="326"/>
                  </a:lnTo>
                  <a:lnTo>
                    <a:pt x="534" y="308"/>
                  </a:lnTo>
                  <a:lnTo>
                    <a:pt x="534" y="268"/>
                  </a:lnTo>
                  <a:lnTo>
                    <a:pt x="515" y="249"/>
                  </a:lnTo>
                  <a:lnTo>
                    <a:pt x="279" y="249"/>
                  </a:lnTo>
                  <a:lnTo>
                    <a:pt x="174" y="145"/>
                  </a:lnTo>
                  <a:lnTo>
                    <a:pt x="193" y="127"/>
                  </a:lnTo>
                  <a:lnTo>
                    <a:pt x="289" y="224"/>
                  </a:lnTo>
                  <a:lnTo>
                    <a:pt x="315" y="224"/>
                  </a:lnTo>
                  <a:lnTo>
                    <a:pt x="344" y="195"/>
                  </a:lnTo>
                  <a:lnTo>
                    <a:pt x="344" y="169"/>
                  </a:lnTo>
                  <a:lnTo>
                    <a:pt x="200" y="26"/>
                  </a:lnTo>
                  <a:lnTo>
                    <a:pt x="0" y="26"/>
                  </a:lnTo>
                  <a:lnTo>
                    <a:pt x="0" y="0"/>
                  </a:lnTo>
                  <a:lnTo>
                    <a:pt x="210" y="0"/>
                  </a:lnTo>
                  <a:lnTo>
                    <a:pt x="370" y="159"/>
                  </a:lnTo>
                  <a:lnTo>
                    <a:pt x="370" y="206"/>
                  </a:lnTo>
                  <a:lnTo>
                    <a:pt x="353" y="224"/>
                  </a:lnTo>
                  <a:lnTo>
                    <a:pt x="526" y="224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45">
              <a:extLst>
                <a:ext uri="{FF2B5EF4-FFF2-40B4-BE49-F238E27FC236}">
                  <a16:creationId xmlns:a16="http://schemas.microsoft.com/office/drawing/2014/main" id="{A0506775-309E-889F-B586-F7F1F8268F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72350" y="5294313"/>
              <a:ext cx="144463" cy="171450"/>
            </a:xfrm>
            <a:custGeom>
              <a:avLst/>
              <a:gdLst>
                <a:gd name="T0" fmla="*/ 340 w 400"/>
                <a:gd name="T1" fmla="*/ 84 h 469"/>
                <a:gd name="T2" fmla="*/ 207 w 400"/>
                <a:gd name="T3" fmla="*/ 25 h 469"/>
                <a:gd name="T4" fmla="*/ 207 w 400"/>
                <a:gd name="T5" fmla="*/ 8 h 469"/>
                <a:gd name="T6" fmla="*/ 199 w 400"/>
                <a:gd name="T7" fmla="*/ 0 h 469"/>
                <a:gd name="T8" fmla="*/ 192 w 400"/>
                <a:gd name="T9" fmla="*/ 8 h 469"/>
                <a:gd name="T10" fmla="*/ 192 w 400"/>
                <a:gd name="T11" fmla="*/ 25 h 469"/>
                <a:gd name="T12" fmla="*/ 59 w 400"/>
                <a:gd name="T13" fmla="*/ 84 h 469"/>
                <a:gd name="T14" fmla="*/ 0 w 400"/>
                <a:gd name="T15" fmla="*/ 226 h 469"/>
                <a:gd name="T16" fmla="*/ 7 w 400"/>
                <a:gd name="T17" fmla="*/ 234 h 469"/>
                <a:gd name="T18" fmla="*/ 15 w 400"/>
                <a:gd name="T19" fmla="*/ 227 h 469"/>
                <a:gd name="T20" fmla="*/ 55 w 400"/>
                <a:gd name="T21" fmla="*/ 187 h 469"/>
                <a:gd name="T22" fmla="*/ 96 w 400"/>
                <a:gd name="T23" fmla="*/ 228 h 469"/>
                <a:gd name="T24" fmla="*/ 104 w 400"/>
                <a:gd name="T25" fmla="*/ 236 h 469"/>
                <a:gd name="T26" fmla="*/ 111 w 400"/>
                <a:gd name="T27" fmla="*/ 228 h 469"/>
                <a:gd name="T28" fmla="*/ 152 w 400"/>
                <a:gd name="T29" fmla="*/ 187 h 469"/>
                <a:gd name="T30" fmla="*/ 192 w 400"/>
                <a:gd name="T31" fmla="*/ 228 h 469"/>
                <a:gd name="T32" fmla="*/ 192 w 400"/>
                <a:gd name="T33" fmla="*/ 437 h 469"/>
                <a:gd name="T34" fmla="*/ 176 w 400"/>
                <a:gd name="T35" fmla="*/ 453 h 469"/>
                <a:gd name="T36" fmla="*/ 161 w 400"/>
                <a:gd name="T37" fmla="*/ 437 h 469"/>
                <a:gd name="T38" fmla="*/ 161 w 400"/>
                <a:gd name="T39" fmla="*/ 416 h 469"/>
                <a:gd name="T40" fmla="*/ 153 w 400"/>
                <a:gd name="T41" fmla="*/ 408 h 469"/>
                <a:gd name="T42" fmla="*/ 145 w 400"/>
                <a:gd name="T43" fmla="*/ 416 h 469"/>
                <a:gd name="T44" fmla="*/ 145 w 400"/>
                <a:gd name="T45" fmla="*/ 437 h 469"/>
                <a:gd name="T46" fmla="*/ 176 w 400"/>
                <a:gd name="T47" fmla="*/ 469 h 469"/>
                <a:gd name="T48" fmla="*/ 208 w 400"/>
                <a:gd name="T49" fmla="*/ 437 h 469"/>
                <a:gd name="T50" fmla="*/ 208 w 400"/>
                <a:gd name="T51" fmla="*/ 228 h 469"/>
                <a:gd name="T52" fmla="*/ 248 w 400"/>
                <a:gd name="T53" fmla="*/ 187 h 469"/>
                <a:gd name="T54" fmla="*/ 288 w 400"/>
                <a:gd name="T55" fmla="*/ 228 h 469"/>
                <a:gd name="T56" fmla="*/ 296 w 400"/>
                <a:gd name="T57" fmla="*/ 236 h 469"/>
                <a:gd name="T58" fmla="*/ 304 w 400"/>
                <a:gd name="T59" fmla="*/ 228 h 469"/>
                <a:gd name="T60" fmla="*/ 344 w 400"/>
                <a:gd name="T61" fmla="*/ 187 h 469"/>
                <a:gd name="T62" fmla="*/ 384 w 400"/>
                <a:gd name="T63" fmla="*/ 227 h 469"/>
                <a:gd name="T64" fmla="*/ 392 w 400"/>
                <a:gd name="T65" fmla="*/ 234 h 469"/>
                <a:gd name="T66" fmla="*/ 392 w 400"/>
                <a:gd name="T67" fmla="*/ 234 h 469"/>
                <a:gd name="T68" fmla="*/ 400 w 400"/>
                <a:gd name="T69" fmla="*/ 226 h 469"/>
                <a:gd name="T70" fmla="*/ 340 w 400"/>
                <a:gd name="T71" fmla="*/ 84 h 469"/>
                <a:gd name="T72" fmla="*/ 344 w 400"/>
                <a:gd name="T73" fmla="*/ 171 h 469"/>
                <a:gd name="T74" fmla="*/ 295 w 400"/>
                <a:gd name="T75" fmla="*/ 199 h 469"/>
                <a:gd name="T76" fmla="*/ 247 w 400"/>
                <a:gd name="T77" fmla="*/ 171 h 469"/>
                <a:gd name="T78" fmla="*/ 199 w 400"/>
                <a:gd name="T79" fmla="*/ 199 h 469"/>
                <a:gd name="T80" fmla="*/ 151 w 400"/>
                <a:gd name="T81" fmla="*/ 171 h 469"/>
                <a:gd name="T82" fmla="*/ 103 w 400"/>
                <a:gd name="T83" fmla="*/ 199 h 469"/>
                <a:gd name="T84" fmla="*/ 55 w 400"/>
                <a:gd name="T85" fmla="*/ 171 h 469"/>
                <a:gd name="T86" fmla="*/ 21 w 400"/>
                <a:gd name="T87" fmla="*/ 183 h 469"/>
                <a:gd name="T88" fmla="*/ 70 w 400"/>
                <a:gd name="T89" fmla="*/ 95 h 469"/>
                <a:gd name="T90" fmla="*/ 199 w 400"/>
                <a:gd name="T91" fmla="*/ 41 h 469"/>
                <a:gd name="T92" fmla="*/ 328 w 400"/>
                <a:gd name="T93" fmla="*/ 95 h 469"/>
                <a:gd name="T94" fmla="*/ 378 w 400"/>
                <a:gd name="T95" fmla="*/ 183 h 469"/>
                <a:gd name="T96" fmla="*/ 344 w 400"/>
                <a:gd name="T97" fmla="*/ 171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0" h="469">
                  <a:moveTo>
                    <a:pt x="340" y="84"/>
                  </a:moveTo>
                  <a:cubicBezTo>
                    <a:pt x="304" y="47"/>
                    <a:pt x="257" y="27"/>
                    <a:pt x="207" y="25"/>
                  </a:cubicBezTo>
                  <a:lnTo>
                    <a:pt x="207" y="8"/>
                  </a:lnTo>
                  <a:cubicBezTo>
                    <a:pt x="207" y="4"/>
                    <a:pt x="204" y="0"/>
                    <a:pt x="199" y="0"/>
                  </a:cubicBezTo>
                  <a:cubicBezTo>
                    <a:pt x="195" y="0"/>
                    <a:pt x="192" y="4"/>
                    <a:pt x="192" y="8"/>
                  </a:cubicBezTo>
                  <a:lnTo>
                    <a:pt x="192" y="25"/>
                  </a:lnTo>
                  <a:cubicBezTo>
                    <a:pt x="142" y="27"/>
                    <a:pt x="95" y="47"/>
                    <a:pt x="59" y="84"/>
                  </a:cubicBezTo>
                  <a:cubicBezTo>
                    <a:pt x="22" y="122"/>
                    <a:pt x="1" y="172"/>
                    <a:pt x="0" y="226"/>
                  </a:cubicBezTo>
                  <a:cubicBezTo>
                    <a:pt x="0" y="231"/>
                    <a:pt x="3" y="234"/>
                    <a:pt x="7" y="234"/>
                  </a:cubicBezTo>
                  <a:cubicBezTo>
                    <a:pt x="12" y="235"/>
                    <a:pt x="15" y="231"/>
                    <a:pt x="15" y="227"/>
                  </a:cubicBezTo>
                  <a:cubicBezTo>
                    <a:pt x="16" y="204"/>
                    <a:pt x="34" y="187"/>
                    <a:pt x="55" y="187"/>
                  </a:cubicBezTo>
                  <a:cubicBezTo>
                    <a:pt x="78" y="187"/>
                    <a:pt x="96" y="205"/>
                    <a:pt x="96" y="228"/>
                  </a:cubicBezTo>
                  <a:cubicBezTo>
                    <a:pt x="96" y="233"/>
                    <a:pt x="99" y="236"/>
                    <a:pt x="104" y="236"/>
                  </a:cubicBezTo>
                  <a:cubicBezTo>
                    <a:pt x="108" y="236"/>
                    <a:pt x="111" y="233"/>
                    <a:pt x="111" y="228"/>
                  </a:cubicBezTo>
                  <a:cubicBezTo>
                    <a:pt x="111" y="205"/>
                    <a:pt x="129" y="187"/>
                    <a:pt x="152" y="187"/>
                  </a:cubicBezTo>
                  <a:cubicBezTo>
                    <a:pt x="174" y="187"/>
                    <a:pt x="192" y="205"/>
                    <a:pt x="192" y="228"/>
                  </a:cubicBezTo>
                  <a:lnTo>
                    <a:pt x="192" y="437"/>
                  </a:lnTo>
                  <a:cubicBezTo>
                    <a:pt x="192" y="446"/>
                    <a:pt x="185" y="453"/>
                    <a:pt x="176" y="453"/>
                  </a:cubicBezTo>
                  <a:cubicBezTo>
                    <a:pt x="168" y="453"/>
                    <a:pt x="161" y="446"/>
                    <a:pt x="161" y="437"/>
                  </a:cubicBezTo>
                  <a:lnTo>
                    <a:pt x="161" y="416"/>
                  </a:lnTo>
                  <a:cubicBezTo>
                    <a:pt x="161" y="412"/>
                    <a:pt x="157" y="408"/>
                    <a:pt x="153" y="408"/>
                  </a:cubicBezTo>
                  <a:cubicBezTo>
                    <a:pt x="149" y="408"/>
                    <a:pt x="145" y="412"/>
                    <a:pt x="145" y="416"/>
                  </a:cubicBezTo>
                  <a:lnTo>
                    <a:pt x="145" y="437"/>
                  </a:lnTo>
                  <a:cubicBezTo>
                    <a:pt x="145" y="455"/>
                    <a:pt x="159" y="469"/>
                    <a:pt x="176" y="469"/>
                  </a:cubicBezTo>
                  <a:cubicBezTo>
                    <a:pt x="194" y="469"/>
                    <a:pt x="208" y="455"/>
                    <a:pt x="208" y="437"/>
                  </a:cubicBezTo>
                  <a:lnTo>
                    <a:pt x="208" y="228"/>
                  </a:lnTo>
                  <a:cubicBezTo>
                    <a:pt x="208" y="205"/>
                    <a:pt x="226" y="187"/>
                    <a:pt x="248" y="187"/>
                  </a:cubicBezTo>
                  <a:cubicBezTo>
                    <a:pt x="270" y="187"/>
                    <a:pt x="288" y="205"/>
                    <a:pt x="288" y="228"/>
                  </a:cubicBezTo>
                  <a:cubicBezTo>
                    <a:pt x="288" y="233"/>
                    <a:pt x="292" y="236"/>
                    <a:pt x="296" y="236"/>
                  </a:cubicBezTo>
                  <a:cubicBezTo>
                    <a:pt x="300" y="236"/>
                    <a:pt x="304" y="233"/>
                    <a:pt x="304" y="228"/>
                  </a:cubicBezTo>
                  <a:cubicBezTo>
                    <a:pt x="304" y="205"/>
                    <a:pt x="322" y="187"/>
                    <a:pt x="344" y="187"/>
                  </a:cubicBezTo>
                  <a:cubicBezTo>
                    <a:pt x="366" y="187"/>
                    <a:pt x="384" y="204"/>
                    <a:pt x="384" y="227"/>
                  </a:cubicBezTo>
                  <a:cubicBezTo>
                    <a:pt x="384" y="231"/>
                    <a:pt x="388" y="234"/>
                    <a:pt x="392" y="234"/>
                  </a:cubicBezTo>
                  <a:lnTo>
                    <a:pt x="392" y="234"/>
                  </a:lnTo>
                  <a:cubicBezTo>
                    <a:pt x="396" y="234"/>
                    <a:pt x="400" y="231"/>
                    <a:pt x="400" y="226"/>
                  </a:cubicBezTo>
                  <a:cubicBezTo>
                    <a:pt x="398" y="172"/>
                    <a:pt x="377" y="122"/>
                    <a:pt x="340" y="84"/>
                  </a:cubicBezTo>
                  <a:close/>
                  <a:moveTo>
                    <a:pt x="344" y="171"/>
                  </a:moveTo>
                  <a:cubicBezTo>
                    <a:pt x="323" y="171"/>
                    <a:pt x="305" y="182"/>
                    <a:pt x="295" y="199"/>
                  </a:cubicBezTo>
                  <a:cubicBezTo>
                    <a:pt x="286" y="182"/>
                    <a:pt x="268" y="171"/>
                    <a:pt x="247" y="171"/>
                  </a:cubicBezTo>
                  <a:cubicBezTo>
                    <a:pt x="227" y="171"/>
                    <a:pt x="209" y="182"/>
                    <a:pt x="199" y="199"/>
                  </a:cubicBezTo>
                  <a:cubicBezTo>
                    <a:pt x="190" y="182"/>
                    <a:pt x="172" y="171"/>
                    <a:pt x="151" y="171"/>
                  </a:cubicBezTo>
                  <a:cubicBezTo>
                    <a:pt x="131" y="171"/>
                    <a:pt x="113" y="182"/>
                    <a:pt x="103" y="199"/>
                  </a:cubicBezTo>
                  <a:cubicBezTo>
                    <a:pt x="93" y="182"/>
                    <a:pt x="75" y="171"/>
                    <a:pt x="55" y="171"/>
                  </a:cubicBezTo>
                  <a:cubicBezTo>
                    <a:pt x="42" y="171"/>
                    <a:pt x="30" y="175"/>
                    <a:pt x="21" y="183"/>
                  </a:cubicBezTo>
                  <a:cubicBezTo>
                    <a:pt x="29" y="150"/>
                    <a:pt x="46" y="119"/>
                    <a:pt x="70" y="95"/>
                  </a:cubicBezTo>
                  <a:cubicBezTo>
                    <a:pt x="105" y="60"/>
                    <a:pt x="150" y="41"/>
                    <a:pt x="199" y="41"/>
                  </a:cubicBezTo>
                  <a:cubicBezTo>
                    <a:pt x="248" y="41"/>
                    <a:pt x="294" y="60"/>
                    <a:pt x="328" y="95"/>
                  </a:cubicBezTo>
                  <a:cubicBezTo>
                    <a:pt x="353" y="119"/>
                    <a:pt x="369" y="150"/>
                    <a:pt x="378" y="183"/>
                  </a:cubicBezTo>
                  <a:cubicBezTo>
                    <a:pt x="369" y="175"/>
                    <a:pt x="357" y="171"/>
                    <a:pt x="344" y="171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46">
              <a:extLst>
                <a:ext uri="{FF2B5EF4-FFF2-40B4-BE49-F238E27FC236}">
                  <a16:creationId xmlns:a16="http://schemas.microsoft.com/office/drawing/2014/main" id="{66520C8C-8E47-8FF2-2B91-C93CC9E44C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72350" y="5294313"/>
              <a:ext cx="144463" cy="171450"/>
            </a:xfrm>
            <a:custGeom>
              <a:avLst/>
              <a:gdLst>
                <a:gd name="T0" fmla="*/ 340 w 400"/>
                <a:gd name="T1" fmla="*/ 84 h 469"/>
                <a:gd name="T2" fmla="*/ 207 w 400"/>
                <a:gd name="T3" fmla="*/ 25 h 469"/>
                <a:gd name="T4" fmla="*/ 207 w 400"/>
                <a:gd name="T5" fmla="*/ 8 h 469"/>
                <a:gd name="T6" fmla="*/ 199 w 400"/>
                <a:gd name="T7" fmla="*/ 0 h 469"/>
                <a:gd name="T8" fmla="*/ 192 w 400"/>
                <a:gd name="T9" fmla="*/ 8 h 469"/>
                <a:gd name="T10" fmla="*/ 192 w 400"/>
                <a:gd name="T11" fmla="*/ 25 h 469"/>
                <a:gd name="T12" fmla="*/ 59 w 400"/>
                <a:gd name="T13" fmla="*/ 84 h 469"/>
                <a:gd name="T14" fmla="*/ 0 w 400"/>
                <a:gd name="T15" fmla="*/ 226 h 469"/>
                <a:gd name="T16" fmla="*/ 7 w 400"/>
                <a:gd name="T17" fmla="*/ 234 h 469"/>
                <a:gd name="T18" fmla="*/ 15 w 400"/>
                <a:gd name="T19" fmla="*/ 227 h 469"/>
                <a:gd name="T20" fmla="*/ 55 w 400"/>
                <a:gd name="T21" fmla="*/ 187 h 469"/>
                <a:gd name="T22" fmla="*/ 96 w 400"/>
                <a:gd name="T23" fmla="*/ 228 h 469"/>
                <a:gd name="T24" fmla="*/ 104 w 400"/>
                <a:gd name="T25" fmla="*/ 236 h 469"/>
                <a:gd name="T26" fmla="*/ 111 w 400"/>
                <a:gd name="T27" fmla="*/ 228 h 469"/>
                <a:gd name="T28" fmla="*/ 152 w 400"/>
                <a:gd name="T29" fmla="*/ 187 h 469"/>
                <a:gd name="T30" fmla="*/ 192 w 400"/>
                <a:gd name="T31" fmla="*/ 228 h 469"/>
                <a:gd name="T32" fmla="*/ 192 w 400"/>
                <a:gd name="T33" fmla="*/ 437 h 469"/>
                <a:gd name="T34" fmla="*/ 176 w 400"/>
                <a:gd name="T35" fmla="*/ 453 h 469"/>
                <a:gd name="T36" fmla="*/ 161 w 400"/>
                <a:gd name="T37" fmla="*/ 437 h 469"/>
                <a:gd name="T38" fmla="*/ 161 w 400"/>
                <a:gd name="T39" fmla="*/ 416 h 469"/>
                <a:gd name="T40" fmla="*/ 153 w 400"/>
                <a:gd name="T41" fmla="*/ 408 h 469"/>
                <a:gd name="T42" fmla="*/ 145 w 400"/>
                <a:gd name="T43" fmla="*/ 416 h 469"/>
                <a:gd name="T44" fmla="*/ 145 w 400"/>
                <a:gd name="T45" fmla="*/ 437 h 469"/>
                <a:gd name="T46" fmla="*/ 176 w 400"/>
                <a:gd name="T47" fmla="*/ 469 h 469"/>
                <a:gd name="T48" fmla="*/ 208 w 400"/>
                <a:gd name="T49" fmla="*/ 437 h 469"/>
                <a:gd name="T50" fmla="*/ 208 w 400"/>
                <a:gd name="T51" fmla="*/ 228 h 469"/>
                <a:gd name="T52" fmla="*/ 248 w 400"/>
                <a:gd name="T53" fmla="*/ 187 h 469"/>
                <a:gd name="T54" fmla="*/ 288 w 400"/>
                <a:gd name="T55" fmla="*/ 228 h 469"/>
                <a:gd name="T56" fmla="*/ 296 w 400"/>
                <a:gd name="T57" fmla="*/ 236 h 469"/>
                <a:gd name="T58" fmla="*/ 304 w 400"/>
                <a:gd name="T59" fmla="*/ 228 h 469"/>
                <a:gd name="T60" fmla="*/ 344 w 400"/>
                <a:gd name="T61" fmla="*/ 187 h 469"/>
                <a:gd name="T62" fmla="*/ 384 w 400"/>
                <a:gd name="T63" fmla="*/ 227 h 469"/>
                <a:gd name="T64" fmla="*/ 392 w 400"/>
                <a:gd name="T65" fmla="*/ 234 h 469"/>
                <a:gd name="T66" fmla="*/ 392 w 400"/>
                <a:gd name="T67" fmla="*/ 234 h 469"/>
                <a:gd name="T68" fmla="*/ 400 w 400"/>
                <a:gd name="T69" fmla="*/ 226 h 469"/>
                <a:gd name="T70" fmla="*/ 340 w 400"/>
                <a:gd name="T71" fmla="*/ 84 h 469"/>
                <a:gd name="T72" fmla="*/ 344 w 400"/>
                <a:gd name="T73" fmla="*/ 171 h 469"/>
                <a:gd name="T74" fmla="*/ 295 w 400"/>
                <a:gd name="T75" fmla="*/ 199 h 469"/>
                <a:gd name="T76" fmla="*/ 247 w 400"/>
                <a:gd name="T77" fmla="*/ 171 h 469"/>
                <a:gd name="T78" fmla="*/ 199 w 400"/>
                <a:gd name="T79" fmla="*/ 199 h 469"/>
                <a:gd name="T80" fmla="*/ 151 w 400"/>
                <a:gd name="T81" fmla="*/ 171 h 469"/>
                <a:gd name="T82" fmla="*/ 103 w 400"/>
                <a:gd name="T83" fmla="*/ 199 h 469"/>
                <a:gd name="T84" fmla="*/ 55 w 400"/>
                <a:gd name="T85" fmla="*/ 171 h 469"/>
                <a:gd name="T86" fmla="*/ 21 w 400"/>
                <a:gd name="T87" fmla="*/ 183 h 469"/>
                <a:gd name="T88" fmla="*/ 70 w 400"/>
                <a:gd name="T89" fmla="*/ 95 h 469"/>
                <a:gd name="T90" fmla="*/ 199 w 400"/>
                <a:gd name="T91" fmla="*/ 41 h 469"/>
                <a:gd name="T92" fmla="*/ 328 w 400"/>
                <a:gd name="T93" fmla="*/ 95 h 469"/>
                <a:gd name="T94" fmla="*/ 378 w 400"/>
                <a:gd name="T95" fmla="*/ 183 h 469"/>
                <a:gd name="T96" fmla="*/ 344 w 400"/>
                <a:gd name="T97" fmla="*/ 171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0" h="469">
                  <a:moveTo>
                    <a:pt x="340" y="84"/>
                  </a:moveTo>
                  <a:cubicBezTo>
                    <a:pt x="304" y="47"/>
                    <a:pt x="257" y="27"/>
                    <a:pt x="207" y="25"/>
                  </a:cubicBezTo>
                  <a:lnTo>
                    <a:pt x="207" y="8"/>
                  </a:lnTo>
                  <a:cubicBezTo>
                    <a:pt x="207" y="4"/>
                    <a:pt x="204" y="0"/>
                    <a:pt x="199" y="0"/>
                  </a:cubicBezTo>
                  <a:cubicBezTo>
                    <a:pt x="195" y="0"/>
                    <a:pt x="192" y="4"/>
                    <a:pt x="192" y="8"/>
                  </a:cubicBezTo>
                  <a:lnTo>
                    <a:pt x="192" y="25"/>
                  </a:lnTo>
                  <a:cubicBezTo>
                    <a:pt x="142" y="27"/>
                    <a:pt x="95" y="47"/>
                    <a:pt x="59" y="84"/>
                  </a:cubicBezTo>
                  <a:cubicBezTo>
                    <a:pt x="22" y="122"/>
                    <a:pt x="1" y="172"/>
                    <a:pt x="0" y="226"/>
                  </a:cubicBezTo>
                  <a:cubicBezTo>
                    <a:pt x="0" y="231"/>
                    <a:pt x="3" y="234"/>
                    <a:pt x="7" y="234"/>
                  </a:cubicBezTo>
                  <a:cubicBezTo>
                    <a:pt x="12" y="235"/>
                    <a:pt x="15" y="231"/>
                    <a:pt x="15" y="227"/>
                  </a:cubicBezTo>
                  <a:cubicBezTo>
                    <a:pt x="16" y="204"/>
                    <a:pt x="34" y="187"/>
                    <a:pt x="55" y="187"/>
                  </a:cubicBezTo>
                  <a:cubicBezTo>
                    <a:pt x="78" y="187"/>
                    <a:pt x="96" y="205"/>
                    <a:pt x="96" y="228"/>
                  </a:cubicBezTo>
                  <a:cubicBezTo>
                    <a:pt x="96" y="233"/>
                    <a:pt x="99" y="236"/>
                    <a:pt x="104" y="236"/>
                  </a:cubicBezTo>
                  <a:cubicBezTo>
                    <a:pt x="108" y="236"/>
                    <a:pt x="111" y="233"/>
                    <a:pt x="111" y="228"/>
                  </a:cubicBezTo>
                  <a:cubicBezTo>
                    <a:pt x="111" y="205"/>
                    <a:pt x="129" y="187"/>
                    <a:pt x="152" y="187"/>
                  </a:cubicBezTo>
                  <a:cubicBezTo>
                    <a:pt x="174" y="187"/>
                    <a:pt x="192" y="205"/>
                    <a:pt x="192" y="228"/>
                  </a:cubicBezTo>
                  <a:lnTo>
                    <a:pt x="192" y="437"/>
                  </a:lnTo>
                  <a:cubicBezTo>
                    <a:pt x="192" y="446"/>
                    <a:pt x="185" y="453"/>
                    <a:pt x="176" y="453"/>
                  </a:cubicBezTo>
                  <a:cubicBezTo>
                    <a:pt x="168" y="453"/>
                    <a:pt x="161" y="446"/>
                    <a:pt x="161" y="437"/>
                  </a:cubicBezTo>
                  <a:lnTo>
                    <a:pt x="161" y="416"/>
                  </a:lnTo>
                  <a:cubicBezTo>
                    <a:pt x="161" y="412"/>
                    <a:pt x="157" y="408"/>
                    <a:pt x="153" y="408"/>
                  </a:cubicBezTo>
                  <a:cubicBezTo>
                    <a:pt x="149" y="408"/>
                    <a:pt x="145" y="412"/>
                    <a:pt x="145" y="416"/>
                  </a:cubicBezTo>
                  <a:lnTo>
                    <a:pt x="145" y="437"/>
                  </a:lnTo>
                  <a:cubicBezTo>
                    <a:pt x="145" y="455"/>
                    <a:pt x="159" y="469"/>
                    <a:pt x="176" y="469"/>
                  </a:cubicBezTo>
                  <a:cubicBezTo>
                    <a:pt x="194" y="469"/>
                    <a:pt x="208" y="455"/>
                    <a:pt x="208" y="437"/>
                  </a:cubicBezTo>
                  <a:lnTo>
                    <a:pt x="208" y="228"/>
                  </a:lnTo>
                  <a:cubicBezTo>
                    <a:pt x="208" y="205"/>
                    <a:pt x="226" y="187"/>
                    <a:pt x="248" y="187"/>
                  </a:cubicBezTo>
                  <a:cubicBezTo>
                    <a:pt x="270" y="187"/>
                    <a:pt x="288" y="205"/>
                    <a:pt x="288" y="228"/>
                  </a:cubicBezTo>
                  <a:cubicBezTo>
                    <a:pt x="288" y="233"/>
                    <a:pt x="292" y="236"/>
                    <a:pt x="296" y="236"/>
                  </a:cubicBezTo>
                  <a:cubicBezTo>
                    <a:pt x="300" y="236"/>
                    <a:pt x="304" y="233"/>
                    <a:pt x="304" y="228"/>
                  </a:cubicBezTo>
                  <a:cubicBezTo>
                    <a:pt x="304" y="205"/>
                    <a:pt x="322" y="187"/>
                    <a:pt x="344" y="187"/>
                  </a:cubicBezTo>
                  <a:cubicBezTo>
                    <a:pt x="366" y="187"/>
                    <a:pt x="384" y="204"/>
                    <a:pt x="384" y="227"/>
                  </a:cubicBezTo>
                  <a:cubicBezTo>
                    <a:pt x="384" y="231"/>
                    <a:pt x="388" y="234"/>
                    <a:pt x="392" y="234"/>
                  </a:cubicBezTo>
                  <a:lnTo>
                    <a:pt x="392" y="234"/>
                  </a:lnTo>
                  <a:cubicBezTo>
                    <a:pt x="396" y="234"/>
                    <a:pt x="400" y="231"/>
                    <a:pt x="400" y="226"/>
                  </a:cubicBezTo>
                  <a:cubicBezTo>
                    <a:pt x="398" y="172"/>
                    <a:pt x="377" y="122"/>
                    <a:pt x="340" y="84"/>
                  </a:cubicBezTo>
                  <a:close/>
                  <a:moveTo>
                    <a:pt x="344" y="171"/>
                  </a:moveTo>
                  <a:cubicBezTo>
                    <a:pt x="323" y="171"/>
                    <a:pt x="305" y="182"/>
                    <a:pt x="295" y="199"/>
                  </a:cubicBezTo>
                  <a:cubicBezTo>
                    <a:pt x="286" y="182"/>
                    <a:pt x="268" y="171"/>
                    <a:pt x="247" y="171"/>
                  </a:cubicBezTo>
                  <a:cubicBezTo>
                    <a:pt x="227" y="171"/>
                    <a:pt x="209" y="182"/>
                    <a:pt x="199" y="199"/>
                  </a:cubicBezTo>
                  <a:cubicBezTo>
                    <a:pt x="190" y="182"/>
                    <a:pt x="172" y="171"/>
                    <a:pt x="151" y="171"/>
                  </a:cubicBezTo>
                  <a:cubicBezTo>
                    <a:pt x="131" y="171"/>
                    <a:pt x="113" y="182"/>
                    <a:pt x="103" y="199"/>
                  </a:cubicBezTo>
                  <a:cubicBezTo>
                    <a:pt x="93" y="182"/>
                    <a:pt x="75" y="171"/>
                    <a:pt x="55" y="171"/>
                  </a:cubicBezTo>
                  <a:cubicBezTo>
                    <a:pt x="42" y="171"/>
                    <a:pt x="30" y="175"/>
                    <a:pt x="21" y="183"/>
                  </a:cubicBezTo>
                  <a:cubicBezTo>
                    <a:pt x="29" y="150"/>
                    <a:pt x="46" y="119"/>
                    <a:pt x="70" y="95"/>
                  </a:cubicBezTo>
                  <a:cubicBezTo>
                    <a:pt x="105" y="60"/>
                    <a:pt x="150" y="41"/>
                    <a:pt x="199" y="41"/>
                  </a:cubicBezTo>
                  <a:cubicBezTo>
                    <a:pt x="248" y="41"/>
                    <a:pt x="294" y="60"/>
                    <a:pt x="328" y="95"/>
                  </a:cubicBezTo>
                  <a:cubicBezTo>
                    <a:pt x="353" y="119"/>
                    <a:pt x="369" y="150"/>
                    <a:pt x="378" y="183"/>
                  </a:cubicBezTo>
                  <a:cubicBezTo>
                    <a:pt x="369" y="175"/>
                    <a:pt x="357" y="171"/>
                    <a:pt x="344" y="171"/>
                  </a:cubicBezTo>
                  <a:close/>
                </a:path>
              </a:pathLst>
            </a:custGeom>
            <a:noFill/>
            <a:ln w="3175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BCA05AF2-7FFB-005E-4458-17DD386A2633}"/>
              </a:ext>
            </a:extLst>
          </p:cNvPr>
          <p:cNvGrpSpPr/>
          <p:nvPr userDrawn="1"/>
        </p:nvGrpSpPr>
        <p:grpSpPr>
          <a:xfrm>
            <a:off x="11867900" y="1347788"/>
            <a:ext cx="304740" cy="300766"/>
            <a:chOff x="11867900" y="1347788"/>
            <a:chExt cx="304740" cy="300766"/>
          </a:xfrm>
        </p:grpSpPr>
        <p:sp>
          <p:nvSpPr>
            <p:cNvPr id="135" name="Freeform 50">
              <a:extLst>
                <a:ext uri="{FF2B5EF4-FFF2-40B4-BE49-F238E27FC236}">
                  <a16:creationId xmlns:a16="http://schemas.microsoft.com/office/drawing/2014/main" id="{522A866E-42FB-C744-A307-E3861B75E6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67900" y="1347788"/>
              <a:ext cx="304740" cy="300766"/>
            </a:xfrm>
            <a:custGeom>
              <a:avLst/>
              <a:gdLst>
                <a:gd name="T0" fmla="*/ 500 w 1000"/>
                <a:gd name="T1" fmla="*/ 0 h 1000"/>
                <a:gd name="T2" fmla="*/ 0 w 1000"/>
                <a:gd name="T3" fmla="*/ 500 h 1000"/>
                <a:gd name="T4" fmla="*/ 500 w 1000"/>
                <a:gd name="T5" fmla="*/ 1000 h 1000"/>
                <a:gd name="T6" fmla="*/ 1000 w 1000"/>
                <a:gd name="T7" fmla="*/ 500 h 1000"/>
                <a:gd name="T8" fmla="*/ 500 w 1000"/>
                <a:gd name="T9" fmla="*/ 0 h 1000"/>
                <a:gd name="T10" fmla="*/ 500 w 1000"/>
                <a:gd name="T11" fmla="*/ 970 h 1000"/>
                <a:gd name="T12" fmla="*/ 30 w 1000"/>
                <a:gd name="T13" fmla="*/ 500 h 1000"/>
                <a:gd name="T14" fmla="*/ 500 w 1000"/>
                <a:gd name="T15" fmla="*/ 30 h 1000"/>
                <a:gd name="T16" fmla="*/ 970 w 1000"/>
                <a:gd name="T17" fmla="*/ 500 h 1000"/>
                <a:gd name="T18" fmla="*/ 500 w 1000"/>
                <a:gd name="T19" fmla="*/ 97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0" h="1000">
                  <a:moveTo>
                    <a:pt x="500" y="0"/>
                  </a:moveTo>
                  <a:cubicBezTo>
                    <a:pt x="224" y="0"/>
                    <a:pt x="0" y="224"/>
                    <a:pt x="0" y="500"/>
                  </a:cubicBezTo>
                  <a:cubicBezTo>
                    <a:pt x="0" y="776"/>
                    <a:pt x="224" y="1000"/>
                    <a:pt x="500" y="1000"/>
                  </a:cubicBezTo>
                  <a:cubicBezTo>
                    <a:pt x="776" y="1000"/>
                    <a:pt x="1000" y="776"/>
                    <a:pt x="1000" y="500"/>
                  </a:cubicBezTo>
                  <a:cubicBezTo>
                    <a:pt x="1000" y="224"/>
                    <a:pt x="776" y="0"/>
                    <a:pt x="500" y="0"/>
                  </a:cubicBezTo>
                  <a:close/>
                  <a:moveTo>
                    <a:pt x="500" y="970"/>
                  </a:moveTo>
                  <a:cubicBezTo>
                    <a:pt x="241" y="970"/>
                    <a:pt x="30" y="759"/>
                    <a:pt x="30" y="500"/>
                  </a:cubicBezTo>
                  <a:cubicBezTo>
                    <a:pt x="30" y="241"/>
                    <a:pt x="241" y="30"/>
                    <a:pt x="500" y="30"/>
                  </a:cubicBezTo>
                  <a:cubicBezTo>
                    <a:pt x="759" y="30"/>
                    <a:pt x="970" y="241"/>
                    <a:pt x="970" y="500"/>
                  </a:cubicBezTo>
                  <a:cubicBezTo>
                    <a:pt x="969" y="759"/>
                    <a:pt x="759" y="969"/>
                    <a:pt x="500" y="97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51">
              <a:extLst>
                <a:ext uri="{FF2B5EF4-FFF2-40B4-BE49-F238E27FC236}">
                  <a16:creationId xmlns:a16="http://schemas.microsoft.com/office/drawing/2014/main" id="{2C215BB5-5040-3079-B7A5-C268A6DE95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67900" y="1347788"/>
              <a:ext cx="304740" cy="300766"/>
            </a:xfrm>
            <a:custGeom>
              <a:avLst/>
              <a:gdLst>
                <a:gd name="T0" fmla="*/ 500 w 1000"/>
                <a:gd name="T1" fmla="*/ 0 h 1000"/>
                <a:gd name="T2" fmla="*/ 0 w 1000"/>
                <a:gd name="T3" fmla="*/ 500 h 1000"/>
                <a:gd name="T4" fmla="*/ 500 w 1000"/>
                <a:gd name="T5" fmla="*/ 1000 h 1000"/>
                <a:gd name="T6" fmla="*/ 1000 w 1000"/>
                <a:gd name="T7" fmla="*/ 500 h 1000"/>
                <a:gd name="T8" fmla="*/ 500 w 1000"/>
                <a:gd name="T9" fmla="*/ 0 h 1000"/>
                <a:gd name="T10" fmla="*/ 500 w 1000"/>
                <a:gd name="T11" fmla="*/ 970 h 1000"/>
                <a:gd name="T12" fmla="*/ 30 w 1000"/>
                <a:gd name="T13" fmla="*/ 500 h 1000"/>
                <a:gd name="T14" fmla="*/ 500 w 1000"/>
                <a:gd name="T15" fmla="*/ 30 h 1000"/>
                <a:gd name="T16" fmla="*/ 970 w 1000"/>
                <a:gd name="T17" fmla="*/ 500 h 1000"/>
                <a:gd name="T18" fmla="*/ 500 w 1000"/>
                <a:gd name="T19" fmla="*/ 97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0" h="1000">
                  <a:moveTo>
                    <a:pt x="500" y="0"/>
                  </a:moveTo>
                  <a:cubicBezTo>
                    <a:pt x="224" y="0"/>
                    <a:pt x="0" y="224"/>
                    <a:pt x="0" y="500"/>
                  </a:cubicBezTo>
                  <a:cubicBezTo>
                    <a:pt x="0" y="776"/>
                    <a:pt x="224" y="1000"/>
                    <a:pt x="500" y="1000"/>
                  </a:cubicBezTo>
                  <a:cubicBezTo>
                    <a:pt x="776" y="1000"/>
                    <a:pt x="1000" y="776"/>
                    <a:pt x="1000" y="500"/>
                  </a:cubicBezTo>
                  <a:cubicBezTo>
                    <a:pt x="1000" y="224"/>
                    <a:pt x="776" y="0"/>
                    <a:pt x="500" y="0"/>
                  </a:cubicBezTo>
                  <a:close/>
                  <a:moveTo>
                    <a:pt x="500" y="970"/>
                  </a:moveTo>
                  <a:cubicBezTo>
                    <a:pt x="241" y="970"/>
                    <a:pt x="30" y="759"/>
                    <a:pt x="30" y="500"/>
                  </a:cubicBezTo>
                  <a:cubicBezTo>
                    <a:pt x="30" y="241"/>
                    <a:pt x="241" y="30"/>
                    <a:pt x="500" y="30"/>
                  </a:cubicBezTo>
                  <a:cubicBezTo>
                    <a:pt x="759" y="30"/>
                    <a:pt x="970" y="241"/>
                    <a:pt x="970" y="500"/>
                  </a:cubicBezTo>
                  <a:cubicBezTo>
                    <a:pt x="969" y="759"/>
                    <a:pt x="759" y="969"/>
                    <a:pt x="500" y="970"/>
                  </a:cubicBezTo>
                  <a:close/>
                </a:path>
              </a:pathLst>
            </a:custGeom>
            <a:noFill/>
            <a:ln w="3175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52">
              <a:extLst>
                <a:ext uri="{FF2B5EF4-FFF2-40B4-BE49-F238E27FC236}">
                  <a16:creationId xmlns:a16="http://schemas.microsoft.com/office/drawing/2014/main" id="{EE9CF358-6C08-58F4-822E-529147C2D2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14274" y="1425961"/>
              <a:ext cx="210669" cy="137796"/>
            </a:xfrm>
            <a:custGeom>
              <a:avLst/>
              <a:gdLst>
                <a:gd name="T0" fmla="*/ 346 w 692"/>
                <a:gd name="T1" fmla="*/ 20 h 456"/>
                <a:gd name="T2" fmla="*/ 2 w 692"/>
                <a:gd name="T3" fmla="*/ 231 h 456"/>
                <a:gd name="T4" fmla="*/ 2 w 692"/>
                <a:gd name="T5" fmla="*/ 245 h 456"/>
                <a:gd name="T6" fmla="*/ 346 w 692"/>
                <a:gd name="T7" fmla="*/ 456 h 456"/>
                <a:gd name="T8" fmla="*/ 426 w 692"/>
                <a:gd name="T9" fmla="*/ 447 h 456"/>
                <a:gd name="T10" fmla="*/ 438 w 692"/>
                <a:gd name="T11" fmla="*/ 429 h 456"/>
                <a:gd name="T12" fmla="*/ 420 w 692"/>
                <a:gd name="T13" fmla="*/ 418 h 456"/>
                <a:gd name="T14" fmla="*/ 346 w 692"/>
                <a:gd name="T15" fmla="*/ 425 h 456"/>
                <a:gd name="T16" fmla="*/ 33 w 692"/>
                <a:gd name="T17" fmla="*/ 238 h 456"/>
                <a:gd name="T18" fmla="*/ 513 w 692"/>
                <a:gd name="T19" fmla="*/ 92 h 456"/>
                <a:gd name="T20" fmla="*/ 659 w 692"/>
                <a:gd name="T21" fmla="*/ 238 h 456"/>
                <a:gd name="T22" fmla="*/ 522 w 692"/>
                <a:gd name="T23" fmla="*/ 378 h 456"/>
                <a:gd name="T24" fmla="*/ 487 w 692"/>
                <a:gd name="T25" fmla="*/ 343 h 456"/>
                <a:gd name="T26" fmla="*/ 465 w 692"/>
                <a:gd name="T27" fmla="*/ 336 h 456"/>
                <a:gd name="T28" fmla="*/ 444 w 692"/>
                <a:gd name="T29" fmla="*/ 314 h 456"/>
                <a:gd name="T30" fmla="*/ 422 w 692"/>
                <a:gd name="T31" fmla="*/ 139 h 456"/>
                <a:gd name="T32" fmla="*/ 247 w 692"/>
                <a:gd name="T33" fmla="*/ 161 h 456"/>
                <a:gd name="T34" fmla="*/ 269 w 692"/>
                <a:gd name="T35" fmla="*/ 336 h 456"/>
                <a:gd name="T36" fmla="*/ 422 w 692"/>
                <a:gd name="T37" fmla="*/ 336 h 456"/>
                <a:gd name="T38" fmla="*/ 444 w 692"/>
                <a:gd name="T39" fmla="*/ 357 h 456"/>
                <a:gd name="T40" fmla="*/ 451 w 692"/>
                <a:gd name="T41" fmla="*/ 379 h 456"/>
                <a:gd name="T42" fmla="*/ 517 w 692"/>
                <a:gd name="T43" fmla="*/ 445 h 456"/>
                <a:gd name="T44" fmla="*/ 553 w 692"/>
                <a:gd name="T45" fmla="*/ 445 h 456"/>
                <a:gd name="T46" fmla="*/ 553 w 692"/>
                <a:gd name="T47" fmla="*/ 409 h 456"/>
                <a:gd name="T48" fmla="*/ 544 w 692"/>
                <a:gd name="T49" fmla="*/ 401 h 456"/>
                <a:gd name="T50" fmla="*/ 689 w 692"/>
                <a:gd name="T51" fmla="*/ 245 h 456"/>
                <a:gd name="T52" fmla="*/ 689 w 692"/>
                <a:gd name="T53" fmla="*/ 231 h 456"/>
                <a:gd name="T54" fmla="*/ 346 w 692"/>
                <a:gd name="T55" fmla="*/ 20 h 456"/>
                <a:gd name="T56" fmla="*/ 252 w 692"/>
                <a:gd name="T57" fmla="*/ 238 h 456"/>
                <a:gd name="T58" fmla="*/ 346 w 692"/>
                <a:gd name="T59" fmla="*/ 144 h 456"/>
                <a:gd name="T60" fmla="*/ 440 w 692"/>
                <a:gd name="T61" fmla="*/ 238 h 456"/>
                <a:gd name="T62" fmla="*/ 346 w 692"/>
                <a:gd name="T63" fmla="*/ 332 h 456"/>
                <a:gd name="T64" fmla="*/ 252 w 692"/>
                <a:gd name="T65" fmla="*/ 238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92" h="456">
                  <a:moveTo>
                    <a:pt x="346" y="20"/>
                  </a:moveTo>
                  <a:cubicBezTo>
                    <a:pt x="201" y="20"/>
                    <a:pt x="68" y="101"/>
                    <a:pt x="2" y="231"/>
                  </a:cubicBezTo>
                  <a:cubicBezTo>
                    <a:pt x="0" y="235"/>
                    <a:pt x="0" y="240"/>
                    <a:pt x="2" y="245"/>
                  </a:cubicBezTo>
                  <a:cubicBezTo>
                    <a:pt x="68" y="374"/>
                    <a:pt x="201" y="456"/>
                    <a:pt x="346" y="456"/>
                  </a:cubicBezTo>
                  <a:cubicBezTo>
                    <a:pt x="373" y="456"/>
                    <a:pt x="400" y="453"/>
                    <a:pt x="426" y="447"/>
                  </a:cubicBezTo>
                  <a:cubicBezTo>
                    <a:pt x="434" y="446"/>
                    <a:pt x="440" y="438"/>
                    <a:pt x="438" y="429"/>
                  </a:cubicBezTo>
                  <a:cubicBezTo>
                    <a:pt x="436" y="421"/>
                    <a:pt x="428" y="416"/>
                    <a:pt x="420" y="418"/>
                  </a:cubicBezTo>
                  <a:cubicBezTo>
                    <a:pt x="396" y="423"/>
                    <a:pt x="371" y="425"/>
                    <a:pt x="346" y="425"/>
                  </a:cubicBezTo>
                  <a:cubicBezTo>
                    <a:pt x="215" y="426"/>
                    <a:pt x="94" y="354"/>
                    <a:pt x="33" y="238"/>
                  </a:cubicBezTo>
                  <a:cubicBezTo>
                    <a:pt x="125" y="65"/>
                    <a:pt x="340" y="0"/>
                    <a:pt x="513" y="92"/>
                  </a:cubicBezTo>
                  <a:cubicBezTo>
                    <a:pt x="575" y="125"/>
                    <a:pt x="626" y="176"/>
                    <a:pt x="659" y="238"/>
                  </a:cubicBezTo>
                  <a:cubicBezTo>
                    <a:pt x="627" y="297"/>
                    <a:pt x="580" y="345"/>
                    <a:pt x="522" y="378"/>
                  </a:cubicBezTo>
                  <a:lnTo>
                    <a:pt x="487" y="343"/>
                  </a:lnTo>
                  <a:cubicBezTo>
                    <a:pt x="481" y="337"/>
                    <a:pt x="473" y="335"/>
                    <a:pt x="465" y="336"/>
                  </a:cubicBezTo>
                  <a:lnTo>
                    <a:pt x="444" y="314"/>
                  </a:lnTo>
                  <a:cubicBezTo>
                    <a:pt x="486" y="260"/>
                    <a:pt x="477" y="182"/>
                    <a:pt x="422" y="139"/>
                  </a:cubicBezTo>
                  <a:cubicBezTo>
                    <a:pt x="368" y="97"/>
                    <a:pt x="290" y="106"/>
                    <a:pt x="247" y="161"/>
                  </a:cubicBezTo>
                  <a:cubicBezTo>
                    <a:pt x="205" y="215"/>
                    <a:pt x="214" y="293"/>
                    <a:pt x="269" y="336"/>
                  </a:cubicBezTo>
                  <a:cubicBezTo>
                    <a:pt x="314" y="371"/>
                    <a:pt x="377" y="371"/>
                    <a:pt x="422" y="336"/>
                  </a:cubicBezTo>
                  <a:lnTo>
                    <a:pt x="444" y="357"/>
                  </a:lnTo>
                  <a:cubicBezTo>
                    <a:pt x="443" y="365"/>
                    <a:pt x="445" y="373"/>
                    <a:pt x="451" y="379"/>
                  </a:cubicBezTo>
                  <a:lnTo>
                    <a:pt x="517" y="445"/>
                  </a:lnTo>
                  <a:cubicBezTo>
                    <a:pt x="527" y="455"/>
                    <a:pt x="543" y="455"/>
                    <a:pt x="553" y="445"/>
                  </a:cubicBezTo>
                  <a:cubicBezTo>
                    <a:pt x="563" y="435"/>
                    <a:pt x="563" y="419"/>
                    <a:pt x="553" y="409"/>
                  </a:cubicBezTo>
                  <a:lnTo>
                    <a:pt x="544" y="401"/>
                  </a:lnTo>
                  <a:cubicBezTo>
                    <a:pt x="606" y="363"/>
                    <a:pt x="657" y="309"/>
                    <a:pt x="689" y="245"/>
                  </a:cubicBezTo>
                  <a:cubicBezTo>
                    <a:pt x="692" y="240"/>
                    <a:pt x="692" y="235"/>
                    <a:pt x="689" y="231"/>
                  </a:cubicBezTo>
                  <a:cubicBezTo>
                    <a:pt x="624" y="101"/>
                    <a:pt x="491" y="20"/>
                    <a:pt x="346" y="20"/>
                  </a:cubicBezTo>
                  <a:close/>
                  <a:moveTo>
                    <a:pt x="252" y="238"/>
                  </a:moveTo>
                  <a:cubicBezTo>
                    <a:pt x="252" y="186"/>
                    <a:pt x="294" y="144"/>
                    <a:pt x="346" y="144"/>
                  </a:cubicBezTo>
                  <a:cubicBezTo>
                    <a:pt x="398" y="144"/>
                    <a:pt x="440" y="186"/>
                    <a:pt x="440" y="238"/>
                  </a:cubicBezTo>
                  <a:cubicBezTo>
                    <a:pt x="440" y="290"/>
                    <a:pt x="398" y="332"/>
                    <a:pt x="346" y="332"/>
                  </a:cubicBezTo>
                  <a:cubicBezTo>
                    <a:pt x="294" y="332"/>
                    <a:pt x="252" y="290"/>
                    <a:pt x="252" y="238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53">
              <a:extLst>
                <a:ext uri="{FF2B5EF4-FFF2-40B4-BE49-F238E27FC236}">
                  <a16:creationId xmlns:a16="http://schemas.microsoft.com/office/drawing/2014/main" id="{3435E1CE-D7E3-01AC-D542-277F4616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14274" y="1425961"/>
              <a:ext cx="210669" cy="137796"/>
            </a:xfrm>
            <a:custGeom>
              <a:avLst/>
              <a:gdLst>
                <a:gd name="T0" fmla="*/ 346 w 692"/>
                <a:gd name="T1" fmla="*/ 20 h 456"/>
                <a:gd name="T2" fmla="*/ 2 w 692"/>
                <a:gd name="T3" fmla="*/ 231 h 456"/>
                <a:gd name="T4" fmla="*/ 2 w 692"/>
                <a:gd name="T5" fmla="*/ 245 h 456"/>
                <a:gd name="T6" fmla="*/ 346 w 692"/>
                <a:gd name="T7" fmla="*/ 456 h 456"/>
                <a:gd name="T8" fmla="*/ 426 w 692"/>
                <a:gd name="T9" fmla="*/ 447 h 456"/>
                <a:gd name="T10" fmla="*/ 438 w 692"/>
                <a:gd name="T11" fmla="*/ 429 h 456"/>
                <a:gd name="T12" fmla="*/ 420 w 692"/>
                <a:gd name="T13" fmla="*/ 418 h 456"/>
                <a:gd name="T14" fmla="*/ 346 w 692"/>
                <a:gd name="T15" fmla="*/ 425 h 456"/>
                <a:gd name="T16" fmla="*/ 33 w 692"/>
                <a:gd name="T17" fmla="*/ 238 h 456"/>
                <a:gd name="T18" fmla="*/ 513 w 692"/>
                <a:gd name="T19" fmla="*/ 92 h 456"/>
                <a:gd name="T20" fmla="*/ 659 w 692"/>
                <a:gd name="T21" fmla="*/ 238 h 456"/>
                <a:gd name="T22" fmla="*/ 522 w 692"/>
                <a:gd name="T23" fmla="*/ 378 h 456"/>
                <a:gd name="T24" fmla="*/ 487 w 692"/>
                <a:gd name="T25" fmla="*/ 343 h 456"/>
                <a:gd name="T26" fmla="*/ 465 w 692"/>
                <a:gd name="T27" fmla="*/ 336 h 456"/>
                <a:gd name="T28" fmla="*/ 444 w 692"/>
                <a:gd name="T29" fmla="*/ 314 h 456"/>
                <a:gd name="T30" fmla="*/ 422 w 692"/>
                <a:gd name="T31" fmla="*/ 139 h 456"/>
                <a:gd name="T32" fmla="*/ 247 w 692"/>
                <a:gd name="T33" fmla="*/ 161 h 456"/>
                <a:gd name="T34" fmla="*/ 269 w 692"/>
                <a:gd name="T35" fmla="*/ 336 h 456"/>
                <a:gd name="T36" fmla="*/ 422 w 692"/>
                <a:gd name="T37" fmla="*/ 336 h 456"/>
                <a:gd name="T38" fmla="*/ 444 w 692"/>
                <a:gd name="T39" fmla="*/ 357 h 456"/>
                <a:gd name="T40" fmla="*/ 451 w 692"/>
                <a:gd name="T41" fmla="*/ 379 h 456"/>
                <a:gd name="T42" fmla="*/ 517 w 692"/>
                <a:gd name="T43" fmla="*/ 445 h 456"/>
                <a:gd name="T44" fmla="*/ 553 w 692"/>
                <a:gd name="T45" fmla="*/ 445 h 456"/>
                <a:gd name="T46" fmla="*/ 553 w 692"/>
                <a:gd name="T47" fmla="*/ 409 h 456"/>
                <a:gd name="T48" fmla="*/ 544 w 692"/>
                <a:gd name="T49" fmla="*/ 401 h 456"/>
                <a:gd name="T50" fmla="*/ 689 w 692"/>
                <a:gd name="T51" fmla="*/ 245 h 456"/>
                <a:gd name="T52" fmla="*/ 689 w 692"/>
                <a:gd name="T53" fmla="*/ 231 h 456"/>
                <a:gd name="T54" fmla="*/ 346 w 692"/>
                <a:gd name="T55" fmla="*/ 20 h 456"/>
                <a:gd name="T56" fmla="*/ 252 w 692"/>
                <a:gd name="T57" fmla="*/ 238 h 456"/>
                <a:gd name="T58" fmla="*/ 346 w 692"/>
                <a:gd name="T59" fmla="*/ 144 h 456"/>
                <a:gd name="T60" fmla="*/ 440 w 692"/>
                <a:gd name="T61" fmla="*/ 238 h 456"/>
                <a:gd name="T62" fmla="*/ 346 w 692"/>
                <a:gd name="T63" fmla="*/ 332 h 456"/>
                <a:gd name="T64" fmla="*/ 252 w 692"/>
                <a:gd name="T65" fmla="*/ 238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92" h="456">
                  <a:moveTo>
                    <a:pt x="346" y="20"/>
                  </a:moveTo>
                  <a:cubicBezTo>
                    <a:pt x="201" y="20"/>
                    <a:pt x="68" y="101"/>
                    <a:pt x="2" y="231"/>
                  </a:cubicBezTo>
                  <a:cubicBezTo>
                    <a:pt x="0" y="235"/>
                    <a:pt x="0" y="240"/>
                    <a:pt x="2" y="245"/>
                  </a:cubicBezTo>
                  <a:cubicBezTo>
                    <a:pt x="68" y="374"/>
                    <a:pt x="201" y="456"/>
                    <a:pt x="346" y="456"/>
                  </a:cubicBezTo>
                  <a:cubicBezTo>
                    <a:pt x="373" y="456"/>
                    <a:pt x="400" y="453"/>
                    <a:pt x="426" y="447"/>
                  </a:cubicBezTo>
                  <a:cubicBezTo>
                    <a:pt x="434" y="446"/>
                    <a:pt x="440" y="438"/>
                    <a:pt x="438" y="429"/>
                  </a:cubicBezTo>
                  <a:cubicBezTo>
                    <a:pt x="436" y="421"/>
                    <a:pt x="428" y="416"/>
                    <a:pt x="420" y="418"/>
                  </a:cubicBezTo>
                  <a:cubicBezTo>
                    <a:pt x="396" y="423"/>
                    <a:pt x="371" y="425"/>
                    <a:pt x="346" y="425"/>
                  </a:cubicBezTo>
                  <a:cubicBezTo>
                    <a:pt x="215" y="426"/>
                    <a:pt x="94" y="354"/>
                    <a:pt x="33" y="238"/>
                  </a:cubicBezTo>
                  <a:cubicBezTo>
                    <a:pt x="125" y="65"/>
                    <a:pt x="340" y="0"/>
                    <a:pt x="513" y="92"/>
                  </a:cubicBezTo>
                  <a:cubicBezTo>
                    <a:pt x="575" y="125"/>
                    <a:pt x="626" y="176"/>
                    <a:pt x="659" y="238"/>
                  </a:cubicBezTo>
                  <a:cubicBezTo>
                    <a:pt x="627" y="297"/>
                    <a:pt x="580" y="345"/>
                    <a:pt x="522" y="378"/>
                  </a:cubicBezTo>
                  <a:lnTo>
                    <a:pt x="487" y="343"/>
                  </a:lnTo>
                  <a:cubicBezTo>
                    <a:pt x="481" y="337"/>
                    <a:pt x="473" y="335"/>
                    <a:pt x="465" y="336"/>
                  </a:cubicBezTo>
                  <a:lnTo>
                    <a:pt x="444" y="314"/>
                  </a:lnTo>
                  <a:cubicBezTo>
                    <a:pt x="486" y="260"/>
                    <a:pt x="477" y="182"/>
                    <a:pt x="422" y="139"/>
                  </a:cubicBezTo>
                  <a:cubicBezTo>
                    <a:pt x="368" y="97"/>
                    <a:pt x="290" y="106"/>
                    <a:pt x="247" y="161"/>
                  </a:cubicBezTo>
                  <a:cubicBezTo>
                    <a:pt x="205" y="215"/>
                    <a:pt x="214" y="293"/>
                    <a:pt x="269" y="336"/>
                  </a:cubicBezTo>
                  <a:cubicBezTo>
                    <a:pt x="314" y="371"/>
                    <a:pt x="377" y="371"/>
                    <a:pt x="422" y="336"/>
                  </a:cubicBezTo>
                  <a:lnTo>
                    <a:pt x="444" y="357"/>
                  </a:lnTo>
                  <a:cubicBezTo>
                    <a:pt x="443" y="365"/>
                    <a:pt x="445" y="373"/>
                    <a:pt x="451" y="379"/>
                  </a:cubicBezTo>
                  <a:lnTo>
                    <a:pt x="517" y="445"/>
                  </a:lnTo>
                  <a:cubicBezTo>
                    <a:pt x="527" y="455"/>
                    <a:pt x="543" y="455"/>
                    <a:pt x="553" y="445"/>
                  </a:cubicBezTo>
                  <a:cubicBezTo>
                    <a:pt x="563" y="435"/>
                    <a:pt x="563" y="419"/>
                    <a:pt x="553" y="409"/>
                  </a:cubicBezTo>
                  <a:lnTo>
                    <a:pt x="544" y="401"/>
                  </a:lnTo>
                  <a:cubicBezTo>
                    <a:pt x="606" y="363"/>
                    <a:pt x="657" y="309"/>
                    <a:pt x="689" y="245"/>
                  </a:cubicBezTo>
                  <a:cubicBezTo>
                    <a:pt x="692" y="240"/>
                    <a:pt x="692" y="235"/>
                    <a:pt x="689" y="231"/>
                  </a:cubicBezTo>
                  <a:cubicBezTo>
                    <a:pt x="624" y="101"/>
                    <a:pt x="491" y="20"/>
                    <a:pt x="346" y="20"/>
                  </a:cubicBezTo>
                  <a:close/>
                  <a:moveTo>
                    <a:pt x="252" y="238"/>
                  </a:moveTo>
                  <a:cubicBezTo>
                    <a:pt x="252" y="186"/>
                    <a:pt x="294" y="144"/>
                    <a:pt x="346" y="144"/>
                  </a:cubicBezTo>
                  <a:cubicBezTo>
                    <a:pt x="398" y="144"/>
                    <a:pt x="440" y="186"/>
                    <a:pt x="440" y="238"/>
                  </a:cubicBezTo>
                  <a:cubicBezTo>
                    <a:pt x="440" y="290"/>
                    <a:pt x="398" y="332"/>
                    <a:pt x="346" y="332"/>
                  </a:cubicBezTo>
                  <a:cubicBezTo>
                    <a:pt x="294" y="332"/>
                    <a:pt x="252" y="290"/>
                    <a:pt x="252" y="238"/>
                  </a:cubicBezTo>
                  <a:close/>
                </a:path>
              </a:pathLst>
            </a:custGeom>
            <a:noFill/>
            <a:ln w="3175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54">
              <a:extLst>
                <a:ext uri="{FF2B5EF4-FFF2-40B4-BE49-F238E27FC236}">
                  <a16:creationId xmlns:a16="http://schemas.microsoft.com/office/drawing/2014/main" id="{E2A99667-B13A-669A-18D5-85AED024E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4971" y="1477634"/>
              <a:ext cx="26499" cy="25175"/>
            </a:xfrm>
            <a:custGeom>
              <a:avLst/>
              <a:gdLst>
                <a:gd name="T0" fmla="*/ 15 w 84"/>
                <a:gd name="T1" fmla="*/ 0 h 84"/>
                <a:gd name="T2" fmla="*/ 0 w 84"/>
                <a:gd name="T3" fmla="*/ 15 h 84"/>
                <a:gd name="T4" fmla="*/ 15 w 84"/>
                <a:gd name="T5" fmla="*/ 30 h 84"/>
                <a:gd name="T6" fmla="*/ 54 w 84"/>
                <a:gd name="T7" fmla="*/ 69 h 84"/>
                <a:gd name="T8" fmla="*/ 69 w 84"/>
                <a:gd name="T9" fmla="*/ 84 h 84"/>
                <a:gd name="T10" fmla="*/ 84 w 84"/>
                <a:gd name="T11" fmla="*/ 69 h 84"/>
                <a:gd name="T12" fmla="*/ 15 w 84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4">
                  <a:moveTo>
                    <a:pt x="15" y="0"/>
                  </a:moveTo>
                  <a:cubicBezTo>
                    <a:pt x="7" y="0"/>
                    <a:pt x="0" y="6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36" y="30"/>
                    <a:pt x="54" y="47"/>
                    <a:pt x="54" y="69"/>
                  </a:cubicBezTo>
                  <a:cubicBezTo>
                    <a:pt x="54" y="77"/>
                    <a:pt x="61" y="84"/>
                    <a:pt x="69" y="84"/>
                  </a:cubicBezTo>
                  <a:cubicBezTo>
                    <a:pt x="78" y="84"/>
                    <a:pt x="84" y="77"/>
                    <a:pt x="84" y="69"/>
                  </a:cubicBezTo>
                  <a:cubicBezTo>
                    <a:pt x="84" y="31"/>
                    <a:pt x="53" y="0"/>
                    <a:pt x="15" y="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55">
              <a:extLst>
                <a:ext uri="{FF2B5EF4-FFF2-40B4-BE49-F238E27FC236}">
                  <a16:creationId xmlns:a16="http://schemas.microsoft.com/office/drawing/2014/main" id="{BC839BDE-ABD1-A813-3B1D-68BC7685F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4971" y="1477634"/>
              <a:ext cx="26499" cy="25175"/>
            </a:xfrm>
            <a:custGeom>
              <a:avLst/>
              <a:gdLst>
                <a:gd name="T0" fmla="*/ 15 w 84"/>
                <a:gd name="T1" fmla="*/ 0 h 84"/>
                <a:gd name="T2" fmla="*/ 0 w 84"/>
                <a:gd name="T3" fmla="*/ 15 h 84"/>
                <a:gd name="T4" fmla="*/ 15 w 84"/>
                <a:gd name="T5" fmla="*/ 30 h 84"/>
                <a:gd name="T6" fmla="*/ 54 w 84"/>
                <a:gd name="T7" fmla="*/ 69 h 84"/>
                <a:gd name="T8" fmla="*/ 69 w 84"/>
                <a:gd name="T9" fmla="*/ 84 h 84"/>
                <a:gd name="T10" fmla="*/ 84 w 84"/>
                <a:gd name="T11" fmla="*/ 69 h 84"/>
                <a:gd name="T12" fmla="*/ 15 w 84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4">
                  <a:moveTo>
                    <a:pt x="15" y="0"/>
                  </a:moveTo>
                  <a:cubicBezTo>
                    <a:pt x="7" y="0"/>
                    <a:pt x="0" y="6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36" y="30"/>
                    <a:pt x="54" y="47"/>
                    <a:pt x="54" y="69"/>
                  </a:cubicBezTo>
                  <a:cubicBezTo>
                    <a:pt x="54" y="77"/>
                    <a:pt x="61" y="84"/>
                    <a:pt x="69" y="84"/>
                  </a:cubicBezTo>
                  <a:cubicBezTo>
                    <a:pt x="78" y="84"/>
                    <a:pt x="84" y="77"/>
                    <a:pt x="84" y="69"/>
                  </a:cubicBezTo>
                  <a:cubicBezTo>
                    <a:pt x="84" y="31"/>
                    <a:pt x="53" y="0"/>
                    <a:pt x="15" y="0"/>
                  </a:cubicBezTo>
                  <a:close/>
                </a:path>
              </a:pathLst>
            </a:custGeom>
            <a:noFill/>
            <a:ln w="3175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85676EC2-3A6C-5724-9186-DEA2CDE9933B}"/>
              </a:ext>
            </a:extLst>
          </p:cNvPr>
          <p:cNvGrpSpPr/>
          <p:nvPr userDrawn="1"/>
        </p:nvGrpSpPr>
        <p:grpSpPr>
          <a:xfrm>
            <a:off x="11858626" y="3732711"/>
            <a:ext cx="280891" cy="300766"/>
            <a:chOff x="11858626" y="3732711"/>
            <a:chExt cx="280891" cy="300766"/>
          </a:xfrm>
        </p:grpSpPr>
        <p:sp>
          <p:nvSpPr>
            <p:cNvPr id="142" name="Freeform 61">
              <a:extLst>
                <a:ext uri="{FF2B5EF4-FFF2-40B4-BE49-F238E27FC236}">
                  <a16:creationId xmlns:a16="http://schemas.microsoft.com/office/drawing/2014/main" id="{C96FE930-A9B0-381E-8C58-F8627A1582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58626" y="3732711"/>
              <a:ext cx="280891" cy="300766"/>
            </a:xfrm>
            <a:custGeom>
              <a:avLst/>
              <a:gdLst>
                <a:gd name="T0" fmla="*/ 170 w 920"/>
                <a:gd name="T1" fmla="*/ 826 h 1000"/>
                <a:gd name="T2" fmla="*/ 294 w 920"/>
                <a:gd name="T3" fmla="*/ 807 h 1000"/>
                <a:gd name="T4" fmla="*/ 627 w 920"/>
                <a:gd name="T5" fmla="*/ 807 h 1000"/>
                <a:gd name="T6" fmla="*/ 750 w 920"/>
                <a:gd name="T7" fmla="*/ 825 h 1000"/>
                <a:gd name="T8" fmla="*/ 785 w 920"/>
                <a:gd name="T9" fmla="*/ 500 h 1000"/>
                <a:gd name="T10" fmla="*/ 670 w 920"/>
                <a:gd name="T11" fmla="*/ 183 h 1000"/>
                <a:gd name="T12" fmla="*/ 460 w 920"/>
                <a:gd name="T13" fmla="*/ 0 h 1000"/>
                <a:gd name="T14" fmla="*/ 251 w 920"/>
                <a:gd name="T15" fmla="*/ 184 h 1000"/>
                <a:gd name="T16" fmla="*/ 136 w 920"/>
                <a:gd name="T17" fmla="*/ 500 h 1000"/>
                <a:gd name="T18" fmla="*/ 460 w 920"/>
                <a:gd name="T19" fmla="*/ 968 h 1000"/>
                <a:gd name="T20" fmla="*/ 460 w 920"/>
                <a:gd name="T21" fmla="*/ 742 h 1000"/>
                <a:gd name="T22" fmla="*/ 460 w 920"/>
                <a:gd name="T23" fmla="*/ 968 h 1000"/>
                <a:gd name="T24" fmla="*/ 287 w 920"/>
                <a:gd name="T25" fmla="*/ 406 h 1000"/>
                <a:gd name="T26" fmla="*/ 460 w 920"/>
                <a:gd name="T27" fmla="*/ 295 h 1000"/>
                <a:gd name="T28" fmla="*/ 634 w 920"/>
                <a:gd name="T29" fmla="*/ 406 h 1000"/>
                <a:gd name="T30" fmla="*/ 634 w 920"/>
                <a:gd name="T31" fmla="*/ 594 h 1000"/>
                <a:gd name="T32" fmla="*/ 460 w 920"/>
                <a:gd name="T33" fmla="*/ 705 h 1000"/>
                <a:gd name="T34" fmla="*/ 287 w 920"/>
                <a:gd name="T35" fmla="*/ 594 h 1000"/>
                <a:gd name="T36" fmla="*/ 253 w 920"/>
                <a:gd name="T37" fmla="*/ 567 h 1000"/>
                <a:gd name="T38" fmla="*/ 253 w 920"/>
                <a:gd name="T39" fmla="*/ 433 h 1000"/>
                <a:gd name="T40" fmla="*/ 253 w 920"/>
                <a:gd name="T41" fmla="*/ 567 h 1000"/>
                <a:gd name="T42" fmla="*/ 315 w 920"/>
                <a:gd name="T43" fmla="*/ 233 h 1000"/>
                <a:gd name="T44" fmla="*/ 346 w 920"/>
                <a:gd name="T45" fmla="*/ 324 h 1000"/>
                <a:gd name="T46" fmla="*/ 496 w 920"/>
                <a:gd name="T47" fmla="*/ 277 h 1000"/>
                <a:gd name="T48" fmla="*/ 630 w 920"/>
                <a:gd name="T49" fmla="*/ 362 h 1000"/>
                <a:gd name="T50" fmla="*/ 496 w 920"/>
                <a:gd name="T51" fmla="*/ 277 h 1000"/>
                <a:gd name="T52" fmla="*/ 741 w 920"/>
                <a:gd name="T53" fmla="*/ 500 h 1000"/>
                <a:gd name="T54" fmla="*/ 670 w 920"/>
                <a:gd name="T55" fmla="*/ 500 h 1000"/>
                <a:gd name="T56" fmla="*/ 630 w 920"/>
                <a:gd name="T57" fmla="*/ 638 h 1000"/>
                <a:gd name="T58" fmla="*/ 496 w 920"/>
                <a:gd name="T59" fmla="*/ 723 h 1000"/>
                <a:gd name="T60" fmla="*/ 630 w 920"/>
                <a:gd name="T61" fmla="*/ 638 h 1000"/>
                <a:gd name="T62" fmla="*/ 425 w 920"/>
                <a:gd name="T63" fmla="*/ 723 h 1000"/>
                <a:gd name="T64" fmla="*/ 291 w 920"/>
                <a:gd name="T65" fmla="*/ 638 h 1000"/>
                <a:gd name="T66" fmla="*/ 853 w 920"/>
                <a:gd name="T67" fmla="*/ 755 h 1000"/>
                <a:gd name="T68" fmla="*/ 636 w 920"/>
                <a:gd name="T69" fmla="*/ 776 h 1000"/>
                <a:gd name="T70" fmla="*/ 762 w 920"/>
                <a:gd name="T71" fmla="*/ 524 h 1000"/>
                <a:gd name="T72" fmla="*/ 675 w 920"/>
                <a:gd name="T73" fmla="*/ 215 h 1000"/>
                <a:gd name="T74" fmla="*/ 852 w 920"/>
                <a:gd name="T75" fmla="*/ 245 h 1000"/>
                <a:gd name="T76" fmla="*/ 664 w 920"/>
                <a:gd name="T77" fmla="*/ 389 h 1000"/>
                <a:gd name="T78" fmla="*/ 676 w 920"/>
                <a:gd name="T79" fmla="*/ 215 h 1000"/>
                <a:gd name="T80" fmla="*/ 460 w 920"/>
                <a:gd name="T81" fmla="*/ 32 h 1000"/>
                <a:gd name="T82" fmla="*/ 460 w 920"/>
                <a:gd name="T83" fmla="*/ 258 h 1000"/>
                <a:gd name="T84" fmla="*/ 460 w 920"/>
                <a:gd name="T85" fmla="*/ 32 h 1000"/>
                <a:gd name="T86" fmla="*/ 170 w 920"/>
                <a:gd name="T87" fmla="*/ 207 h 1000"/>
                <a:gd name="T88" fmla="*/ 285 w 920"/>
                <a:gd name="T89" fmla="*/ 224 h 1000"/>
                <a:gd name="T90" fmla="*/ 158 w 920"/>
                <a:gd name="T91" fmla="*/ 477 h 1000"/>
                <a:gd name="T92" fmla="*/ 158 w 920"/>
                <a:gd name="T93" fmla="*/ 524 h 1000"/>
                <a:gd name="T94" fmla="*/ 285 w 920"/>
                <a:gd name="T95" fmla="*/ 776 h 1000"/>
                <a:gd name="T96" fmla="*/ 68 w 920"/>
                <a:gd name="T97" fmla="*/ 755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20" h="1000">
                  <a:moveTo>
                    <a:pt x="41" y="772"/>
                  </a:moveTo>
                  <a:cubicBezTo>
                    <a:pt x="64" y="808"/>
                    <a:pt x="109" y="826"/>
                    <a:pt x="170" y="826"/>
                  </a:cubicBezTo>
                  <a:cubicBezTo>
                    <a:pt x="197" y="825"/>
                    <a:pt x="224" y="823"/>
                    <a:pt x="251" y="817"/>
                  </a:cubicBezTo>
                  <a:cubicBezTo>
                    <a:pt x="265" y="814"/>
                    <a:pt x="279" y="811"/>
                    <a:pt x="294" y="807"/>
                  </a:cubicBezTo>
                  <a:cubicBezTo>
                    <a:pt x="331" y="925"/>
                    <a:pt x="392" y="1000"/>
                    <a:pt x="460" y="1000"/>
                  </a:cubicBezTo>
                  <a:cubicBezTo>
                    <a:pt x="529" y="1000"/>
                    <a:pt x="589" y="925"/>
                    <a:pt x="627" y="807"/>
                  </a:cubicBezTo>
                  <a:cubicBezTo>
                    <a:pt x="642" y="810"/>
                    <a:pt x="656" y="814"/>
                    <a:pt x="670" y="817"/>
                  </a:cubicBezTo>
                  <a:cubicBezTo>
                    <a:pt x="696" y="822"/>
                    <a:pt x="723" y="825"/>
                    <a:pt x="750" y="825"/>
                  </a:cubicBezTo>
                  <a:cubicBezTo>
                    <a:pt x="812" y="825"/>
                    <a:pt x="856" y="807"/>
                    <a:pt x="879" y="772"/>
                  </a:cubicBezTo>
                  <a:cubicBezTo>
                    <a:pt x="920" y="709"/>
                    <a:pt x="879" y="606"/>
                    <a:pt x="785" y="500"/>
                  </a:cubicBezTo>
                  <a:cubicBezTo>
                    <a:pt x="880" y="394"/>
                    <a:pt x="920" y="290"/>
                    <a:pt x="879" y="228"/>
                  </a:cubicBezTo>
                  <a:cubicBezTo>
                    <a:pt x="847" y="178"/>
                    <a:pt x="773" y="163"/>
                    <a:pt x="670" y="183"/>
                  </a:cubicBezTo>
                  <a:cubicBezTo>
                    <a:pt x="656" y="186"/>
                    <a:pt x="642" y="189"/>
                    <a:pt x="627" y="193"/>
                  </a:cubicBezTo>
                  <a:cubicBezTo>
                    <a:pt x="589" y="75"/>
                    <a:pt x="529" y="0"/>
                    <a:pt x="460" y="0"/>
                  </a:cubicBezTo>
                  <a:cubicBezTo>
                    <a:pt x="392" y="0"/>
                    <a:pt x="331" y="75"/>
                    <a:pt x="294" y="194"/>
                  </a:cubicBezTo>
                  <a:cubicBezTo>
                    <a:pt x="279" y="190"/>
                    <a:pt x="265" y="186"/>
                    <a:pt x="251" y="184"/>
                  </a:cubicBezTo>
                  <a:cubicBezTo>
                    <a:pt x="148" y="163"/>
                    <a:pt x="74" y="179"/>
                    <a:pt x="41" y="228"/>
                  </a:cubicBezTo>
                  <a:cubicBezTo>
                    <a:pt x="0" y="290"/>
                    <a:pt x="41" y="394"/>
                    <a:pt x="136" y="500"/>
                  </a:cubicBezTo>
                  <a:cubicBezTo>
                    <a:pt x="41" y="606"/>
                    <a:pt x="0" y="710"/>
                    <a:pt x="41" y="772"/>
                  </a:cubicBezTo>
                  <a:close/>
                  <a:moveTo>
                    <a:pt x="460" y="968"/>
                  </a:moveTo>
                  <a:cubicBezTo>
                    <a:pt x="411" y="968"/>
                    <a:pt x="359" y="905"/>
                    <a:pt x="325" y="798"/>
                  </a:cubicBezTo>
                  <a:cubicBezTo>
                    <a:pt x="371" y="783"/>
                    <a:pt x="417" y="764"/>
                    <a:pt x="460" y="742"/>
                  </a:cubicBezTo>
                  <a:cubicBezTo>
                    <a:pt x="504" y="764"/>
                    <a:pt x="550" y="783"/>
                    <a:pt x="596" y="798"/>
                  </a:cubicBezTo>
                  <a:cubicBezTo>
                    <a:pt x="562" y="905"/>
                    <a:pt x="510" y="968"/>
                    <a:pt x="460" y="968"/>
                  </a:cubicBezTo>
                  <a:close/>
                  <a:moveTo>
                    <a:pt x="283" y="500"/>
                  </a:moveTo>
                  <a:cubicBezTo>
                    <a:pt x="283" y="468"/>
                    <a:pt x="284" y="436"/>
                    <a:pt x="287" y="406"/>
                  </a:cubicBezTo>
                  <a:cubicBezTo>
                    <a:pt x="311" y="387"/>
                    <a:pt x="336" y="369"/>
                    <a:pt x="364" y="351"/>
                  </a:cubicBezTo>
                  <a:cubicBezTo>
                    <a:pt x="396" y="331"/>
                    <a:pt x="428" y="312"/>
                    <a:pt x="460" y="295"/>
                  </a:cubicBezTo>
                  <a:cubicBezTo>
                    <a:pt x="493" y="311"/>
                    <a:pt x="525" y="331"/>
                    <a:pt x="557" y="351"/>
                  </a:cubicBezTo>
                  <a:cubicBezTo>
                    <a:pt x="585" y="369"/>
                    <a:pt x="610" y="388"/>
                    <a:pt x="634" y="406"/>
                  </a:cubicBezTo>
                  <a:cubicBezTo>
                    <a:pt x="637" y="436"/>
                    <a:pt x="638" y="468"/>
                    <a:pt x="638" y="500"/>
                  </a:cubicBezTo>
                  <a:cubicBezTo>
                    <a:pt x="638" y="532"/>
                    <a:pt x="637" y="564"/>
                    <a:pt x="634" y="594"/>
                  </a:cubicBezTo>
                  <a:cubicBezTo>
                    <a:pt x="610" y="613"/>
                    <a:pt x="585" y="631"/>
                    <a:pt x="557" y="649"/>
                  </a:cubicBezTo>
                  <a:cubicBezTo>
                    <a:pt x="525" y="670"/>
                    <a:pt x="493" y="688"/>
                    <a:pt x="460" y="705"/>
                  </a:cubicBezTo>
                  <a:cubicBezTo>
                    <a:pt x="428" y="689"/>
                    <a:pt x="396" y="670"/>
                    <a:pt x="364" y="649"/>
                  </a:cubicBezTo>
                  <a:cubicBezTo>
                    <a:pt x="336" y="631"/>
                    <a:pt x="310" y="613"/>
                    <a:pt x="287" y="594"/>
                  </a:cubicBezTo>
                  <a:cubicBezTo>
                    <a:pt x="284" y="564"/>
                    <a:pt x="283" y="533"/>
                    <a:pt x="283" y="500"/>
                  </a:cubicBezTo>
                  <a:close/>
                  <a:moveTo>
                    <a:pt x="253" y="567"/>
                  </a:moveTo>
                  <a:cubicBezTo>
                    <a:pt x="226" y="545"/>
                    <a:pt x="201" y="522"/>
                    <a:pt x="180" y="500"/>
                  </a:cubicBezTo>
                  <a:cubicBezTo>
                    <a:pt x="201" y="478"/>
                    <a:pt x="226" y="456"/>
                    <a:pt x="253" y="433"/>
                  </a:cubicBezTo>
                  <a:cubicBezTo>
                    <a:pt x="251" y="455"/>
                    <a:pt x="251" y="477"/>
                    <a:pt x="251" y="500"/>
                  </a:cubicBezTo>
                  <a:cubicBezTo>
                    <a:pt x="251" y="523"/>
                    <a:pt x="251" y="545"/>
                    <a:pt x="253" y="567"/>
                  </a:cubicBezTo>
                  <a:close/>
                  <a:moveTo>
                    <a:pt x="291" y="362"/>
                  </a:moveTo>
                  <a:cubicBezTo>
                    <a:pt x="296" y="319"/>
                    <a:pt x="304" y="276"/>
                    <a:pt x="315" y="233"/>
                  </a:cubicBezTo>
                  <a:cubicBezTo>
                    <a:pt x="353" y="246"/>
                    <a:pt x="389" y="260"/>
                    <a:pt x="425" y="277"/>
                  </a:cubicBezTo>
                  <a:cubicBezTo>
                    <a:pt x="399" y="292"/>
                    <a:pt x="372" y="307"/>
                    <a:pt x="346" y="324"/>
                  </a:cubicBezTo>
                  <a:cubicBezTo>
                    <a:pt x="327" y="337"/>
                    <a:pt x="309" y="349"/>
                    <a:pt x="291" y="362"/>
                  </a:cubicBezTo>
                  <a:close/>
                  <a:moveTo>
                    <a:pt x="496" y="277"/>
                  </a:moveTo>
                  <a:cubicBezTo>
                    <a:pt x="531" y="260"/>
                    <a:pt x="568" y="246"/>
                    <a:pt x="606" y="233"/>
                  </a:cubicBezTo>
                  <a:cubicBezTo>
                    <a:pt x="617" y="276"/>
                    <a:pt x="625" y="319"/>
                    <a:pt x="630" y="362"/>
                  </a:cubicBezTo>
                  <a:cubicBezTo>
                    <a:pt x="612" y="349"/>
                    <a:pt x="594" y="337"/>
                    <a:pt x="575" y="324"/>
                  </a:cubicBezTo>
                  <a:cubicBezTo>
                    <a:pt x="549" y="307"/>
                    <a:pt x="522" y="292"/>
                    <a:pt x="496" y="277"/>
                  </a:cubicBezTo>
                  <a:close/>
                  <a:moveTo>
                    <a:pt x="668" y="433"/>
                  </a:moveTo>
                  <a:cubicBezTo>
                    <a:pt x="695" y="456"/>
                    <a:pt x="719" y="478"/>
                    <a:pt x="741" y="500"/>
                  </a:cubicBezTo>
                  <a:cubicBezTo>
                    <a:pt x="719" y="522"/>
                    <a:pt x="695" y="545"/>
                    <a:pt x="668" y="567"/>
                  </a:cubicBezTo>
                  <a:cubicBezTo>
                    <a:pt x="670" y="545"/>
                    <a:pt x="670" y="523"/>
                    <a:pt x="670" y="500"/>
                  </a:cubicBezTo>
                  <a:cubicBezTo>
                    <a:pt x="670" y="477"/>
                    <a:pt x="670" y="455"/>
                    <a:pt x="668" y="433"/>
                  </a:cubicBezTo>
                  <a:close/>
                  <a:moveTo>
                    <a:pt x="630" y="638"/>
                  </a:moveTo>
                  <a:cubicBezTo>
                    <a:pt x="625" y="681"/>
                    <a:pt x="617" y="725"/>
                    <a:pt x="605" y="767"/>
                  </a:cubicBezTo>
                  <a:cubicBezTo>
                    <a:pt x="568" y="755"/>
                    <a:pt x="531" y="740"/>
                    <a:pt x="496" y="723"/>
                  </a:cubicBezTo>
                  <a:cubicBezTo>
                    <a:pt x="522" y="708"/>
                    <a:pt x="548" y="693"/>
                    <a:pt x="575" y="676"/>
                  </a:cubicBezTo>
                  <a:cubicBezTo>
                    <a:pt x="594" y="664"/>
                    <a:pt x="612" y="651"/>
                    <a:pt x="630" y="638"/>
                  </a:cubicBezTo>
                  <a:close/>
                  <a:moveTo>
                    <a:pt x="346" y="676"/>
                  </a:moveTo>
                  <a:cubicBezTo>
                    <a:pt x="372" y="693"/>
                    <a:pt x="399" y="709"/>
                    <a:pt x="425" y="723"/>
                  </a:cubicBezTo>
                  <a:cubicBezTo>
                    <a:pt x="389" y="740"/>
                    <a:pt x="353" y="755"/>
                    <a:pt x="315" y="767"/>
                  </a:cubicBezTo>
                  <a:cubicBezTo>
                    <a:pt x="304" y="725"/>
                    <a:pt x="296" y="681"/>
                    <a:pt x="291" y="638"/>
                  </a:cubicBezTo>
                  <a:cubicBezTo>
                    <a:pt x="309" y="651"/>
                    <a:pt x="327" y="664"/>
                    <a:pt x="346" y="676"/>
                  </a:cubicBezTo>
                  <a:close/>
                  <a:moveTo>
                    <a:pt x="853" y="755"/>
                  </a:moveTo>
                  <a:cubicBezTo>
                    <a:pt x="829" y="792"/>
                    <a:pt x="764" y="803"/>
                    <a:pt x="675" y="785"/>
                  </a:cubicBezTo>
                  <a:cubicBezTo>
                    <a:pt x="662" y="783"/>
                    <a:pt x="649" y="780"/>
                    <a:pt x="636" y="776"/>
                  </a:cubicBezTo>
                  <a:cubicBezTo>
                    <a:pt x="650" y="722"/>
                    <a:pt x="660" y="667"/>
                    <a:pt x="664" y="611"/>
                  </a:cubicBezTo>
                  <a:cubicBezTo>
                    <a:pt x="699" y="584"/>
                    <a:pt x="732" y="555"/>
                    <a:pt x="762" y="524"/>
                  </a:cubicBezTo>
                  <a:cubicBezTo>
                    <a:pt x="850" y="621"/>
                    <a:pt x="882" y="710"/>
                    <a:pt x="853" y="755"/>
                  </a:cubicBezTo>
                  <a:close/>
                  <a:moveTo>
                    <a:pt x="675" y="215"/>
                  </a:moveTo>
                  <a:cubicBezTo>
                    <a:pt x="700" y="210"/>
                    <a:pt x="725" y="207"/>
                    <a:pt x="750" y="207"/>
                  </a:cubicBezTo>
                  <a:cubicBezTo>
                    <a:pt x="800" y="207"/>
                    <a:pt x="836" y="220"/>
                    <a:pt x="852" y="245"/>
                  </a:cubicBezTo>
                  <a:cubicBezTo>
                    <a:pt x="882" y="291"/>
                    <a:pt x="849" y="379"/>
                    <a:pt x="762" y="477"/>
                  </a:cubicBezTo>
                  <a:cubicBezTo>
                    <a:pt x="732" y="445"/>
                    <a:pt x="699" y="416"/>
                    <a:pt x="664" y="389"/>
                  </a:cubicBezTo>
                  <a:cubicBezTo>
                    <a:pt x="660" y="333"/>
                    <a:pt x="650" y="278"/>
                    <a:pt x="636" y="224"/>
                  </a:cubicBezTo>
                  <a:cubicBezTo>
                    <a:pt x="650" y="221"/>
                    <a:pt x="663" y="217"/>
                    <a:pt x="676" y="215"/>
                  </a:cubicBezTo>
                  <a:lnTo>
                    <a:pt x="675" y="215"/>
                  </a:lnTo>
                  <a:close/>
                  <a:moveTo>
                    <a:pt x="460" y="32"/>
                  </a:moveTo>
                  <a:cubicBezTo>
                    <a:pt x="510" y="32"/>
                    <a:pt x="562" y="95"/>
                    <a:pt x="596" y="203"/>
                  </a:cubicBezTo>
                  <a:cubicBezTo>
                    <a:pt x="550" y="218"/>
                    <a:pt x="504" y="236"/>
                    <a:pt x="460" y="258"/>
                  </a:cubicBezTo>
                  <a:cubicBezTo>
                    <a:pt x="417" y="236"/>
                    <a:pt x="371" y="217"/>
                    <a:pt x="325" y="202"/>
                  </a:cubicBezTo>
                  <a:cubicBezTo>
                    <a:pt x="359" y="95"/>
                    <a:pt x="411" y="32"/>
                    <a:pt x="460" y="32"/>
                  </a:cubicBezTo>
                  <a:close/>
                  <a:moveTo>
                    <a:pt x="68" y="245"/>
                  </a:moveTo>
                  <a:cubicBezTo>
                    <a:pt x="84" y="220"/>
                    <a:pt x="120" y="207"/>
                    <a:pt x="170" y="207"/>
                  </a:cubicBezTo>
                  <a:cubicBezTo>
                    <a:pt x="195" y="207"/>
                    <a:pt x="220" y="210"/>
                    <a:pt x="245" y="215"/>
                  </a:cubicBezTo>
                  <a:cubicBezTo>
                    <a:pt x="258" y="217"/>
                    <a:pt x="271" y="221"/>
                    <a:pt x="285" y="224"/>
                  </a:cubicBezTo>
                  <a:cubicBezTo>
                    <a:pt x="270" y="278"/>
                    <a:pt x="261" y="333"/>
                    <a:pt x="256" y="389"/>
                  </a:cubicBezTo>
                  <a:cubicBezTo>
                    <a:pt x="221" y="416"/>
                    <a:pt x="189" y="445"/>
                    <a:pt x="158" y="477"/>
                  </a:cubicBezTo>
                  <a:cubicBezTo>
                    <a:pt x="71" y="379"/>
                    <a:pt x="39" y="290"/>
                    <a:pt x="68" y="245"/>
                  </a:cubicBezTo>
                  <a:close/>
                  <a:moveTo>
                    <a:pt x="158" y="524"/>
                  </a:moveTo>
                  <a:cubicBezTo>
                    <a:pt x="189" y="555"/>
                    <a:pt x="221" y="584"/>
                    <a:pt x="256" y="611"/>
                  </a:cubicBezTo>
                  <a:cubicBezTo>
                    <a:pt x="261" y="667"/>
                    <a:pt x="270" y="722"/>
                    <a:pt x="285" y="776"/>
                  </a:cubicBezTo>
                  <a:cubicBezTo>
                    <a:pt x="271" y="780"/>
                    <a:pt x="258" y="783"/>
                    <a:pt x="245" y="785"/>
                  </a:cubicBezTo>
                  <a:cubicBezTo>
                    <a:pt x="157" y="803"/>
                    <a:pt x="92" y="792"/>
                    <a:pt x="68" y="755"/>
                  </a:cubicBezTo>
                  <a:cubicBezTo>
                    <a:pt x="39" y="710"/>
                    <a:pt x="71" y="621"/>
                    <a:pt x="158" y="524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62">
              <a:extLst>
                <a:ext uri="{FF2B5EF4-FFF2-40B4-BE49-F238E27FC236}">
                  <a16:creationId xmlns:a16="http://schemas.microsoft.com/office/drawing/2014/main" id="{AAB3DBBA-06FC-1704-F4F5-7BE795A6C5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61973" y="3854607"/>
              <a:ext cx="75523" cy="70223"/>
            </a:xfrm>
            <a:custGeom>
              <a:avLst/>
              <a:gdLst>
                <a:gd name="T0" fmla="*/ 91 w 248"/>
                <a:gd name="T1" fmla="*/ 201 h 234"/>
                <a:gd name="T2" fmla="*/ 112 w 248"/>
                <a:gd name="T3" fmla="*/ 221 h 234"/>
                <a:gd name="T4" fmla="*/ 124 w 248"/>
                <a:gd name="T5" fmla="*/ 234 h 234"/>
                <a:gd name="T6" fmla="*/ 136 w 248"/>
                <a:gd name="T7" fmla="*/ 221 h 234"/>
                <a:gd name="T8" fmla="*/ 157 w 248"/>
                <a:gd name="T9" fmla="*/ 201 h 234"/>
                <a:gd name="T10" fmla="*/ 248 w 248"/>
                <a:gd name="T11" fmla="*/ 74 h 234"/>
                <a:gd name="T12" fmla="*/ 173 w 248"/>
                <a:gd name="T13" fmla="*/ 0 h 234"/>
                <a:gd name="T14" fmla="*/ 172 w 248"/>
                <a:gd name="T15" fmla="*/ 0 h 234"/>
                <a:gd name="T16" fmla="*/ 123 w 248"/>
                <a:gd name="T17" fmla="*/ 18 h 234"/>
                <a:gd name="T18" fmla="*/ 75 w 248"/>
                <a:gd name="T19" fmla="*/ 0 h 234"/>
                <a:gd name="T20" fmla="*/ 0 w 248"/>
                <a:gd name="T21" fmla="*/ 74 h 234"/>
                <a:gd name="T22" fmla="*/ 91 w 248"/>
                <a:gd name="T23" fmla="*/ 201 h 234"/>
                <a:gd name="T24" fmla="*/ 75 w 248"/>
                <a:gd name="T25" fmla="*/ 33 h 234"/>
                <a:gd name="T26" fmla="*/ 111 w 248"/>
                <a:gd name="T27" fmla="*/ 51 h 234"/>
                <a:gd name="T28" fmla="*/ 123 w 248"/>
                <a:gd name="T29" fmla="*/ 71 h 234"/>
                <a:gd name="T30" fmla="*/ 137 w 248"/>
                <a:gd name="T31" fmla="*/ 51 h 234"/>
                <a:gd name="T32" fmla="*/ 172 w 248"/>
                <a:gd name="T33" fmla="*/ 33 h 234"/>
                <a:gd name="T34" fmla="*/ 214 w 248"/>
                <a:gd name="T35" fmla="*/ 74 h 234"/>
                <a:gd name="T36" fmla="*/ 134 w 248"/>
                <a:gd name="T37" fmla="*/ 177 h 234"/>
                <a:gd name="T38" fmla="*/ 123 w 248"/>
                <a:gd name="T39" fmla="*/ 187 h 234"/>
                <a:gd name="T40" fmla="*/ 112 w 248"/>
                <a:gd name="T41" fmla="*/ 178 h 234"/>
                <a:gd name="T42" fmla="*/ 32 w 248"/>
                <a:gd name="T43" fmla="*/ 74 h 234"/>
                <a:gd name="T44" fmla="*/ 74 w 248"/>
                <a:gd name="T45" fmla="*/ 33 h 234"/>
                <a:gd name="T46" fmla="*/ 75 w 248"/>
                <a:gd name="T47" fmla="*/ 33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8" h="234">
                  <a:moveTo>
                    <a:pt x="91" y="201"/>
                  </a:moveTo>
                  <a:cubicBezTo>
                    <a:pt x="100" y="209"/>
                    <a:pt x="107" y="217"/>
                    <a:pt x="112" y="221"/>
                  </a:cubicBezTo>
                  <a:lnTo>
                    <a:pt x="124" y="234"/>
                  </a:lnTo>
                  <a:lnTo>
                    <a:pt x="136" y="221"/>
                  </a:lnTo>
                  <a:cubicBezTo>
                    <a:pt x="140" y="216"/>
                    <a:pt x="148" y="209"/>
                    <a:pt x="157" y="201"/>
                  </a:cubicBezTo>
                  <a:cubicBezTo>
                    <a:pt x="193" y="168"/>
                    <a:pt x="248" y="118"/>
                    <a:pt x="248" y="74"/>
                  </a:cubicBezTo>
                  <a:cubicBezTo>
                    <a:pt x="247" y="33"/>
                    <a:pt x="214" y="0"/>
                    <a:pt x="173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54" y="0"/>
                    <a:pt x="137" y="7"/>
                    <a:pt x="123" y="18"/>
                  </a:cubicBezTo>
                  <a:cubicBezTo>
                    <a:pt x="110" y="7"/>
                    <a:pt x="93" y="0"/>
                    <a:pt x="75" y="0"/>
                  </a:cubicBezTo>
                  <a:cubicBezTo>
                    <a:pt x="34" y="0"/>
                    <a:pt x="1" y="33"/>
                    <a:pt x="0" y="74"/>
                  </a:cubicBezTo>
                  <a:cubicBezTo>
                    <a:pt x="0" y="118"/>
                    <a:pt x="54" y="168"/>
                    <a:pt x="91" y="201"/>
                  </a:cubicBezTo>
                  <a:close/>
                  <a:moveTo>
                    <a:pt x="75" y="33"/>
                  </a:moveTo>
                  <a:cubicBezTo>
                    <a:pt x="89" y="33"/>
                    <a:pt x="103" y="39"/>
                    <a:pt x="111" y="51"/>
                  </a:cubicBezTo>
                  <a:lnTo>
                    <a:pt x="123" y="71"/>
                  </a:lnTo>
                  <a:lnTo>
                    <a:pt x="137" y="51"/>
                  </a:lnTo>
                  <a:cubicBezTo>
                    <a:pt x="145" y="40"/>
                    <a:pt x="158" y="33"/>
                    <a:pt x="172" y="33"/>
                  </a:cubicBezTo>
                  <a:cubicBezTo>
                    <a:pt x="195" y="32"/>
                    <a:pt x="214" y="51"/>
                    <a:pt x="214" y="74"/>
                  </a:cubicBezTo>
                  <a:cubicBezTo>
                    <a:pt x="214" y="103"/>
                    <a:pt x="162" y="151"/>
                    <a:pt x="134" y="177"/>
                  </a:cubicBezTo>
                  <a:lnTo>
                    <a:pt x="123" y="187"/>
                  </a:lnTo>
                  <a:lnTo>
                    <a:pt x="112" y="178"/>
                  </a:lnTo>
                  <a:cubicBezTo>
                    <a:pt x="84" y="152"/>
                    <a:pt x="32" y="104"/>
                    <a:pt x="32" y="74"/>
                  </a:cubicBezTo>
                  <a:cubicBezTo>
                    <a:pt x="32" y="51"/>
                    <a:pt x="51" y="32"/>
                    <a:pt x="74" y="33"/>
                  </a:cubicBezTo>
                  <a:cubicBezTo>
                    <a:pt x="74" y="33"/>
                    <a:pt x="75" y="33"/>
                    <a:pt x="75" y="33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F395876A-DBC7-B80B-4714-4FFC838BB3F0}"/>
              </a:ext>
            </a:extLst>
          </p:cNvPr>
          <p:cNvGrpSpPr/>
          <p:nvPr userDrawn="1"/>
        </p:nvGrpSpPr>
        <p:grpSpPr>
          <a:xfrm>
            <a:off x="11867900" y="2467377"/>
            <a:ext cx="352440" cy="298116"/>
            <a:chOff x="11867900" y="2467377"/>
            <a:chExt cx="352440" cy="298116"/>
          </a:xfrm>
        </p:grpSpPr>
        <p:sp>
          <p:nvSpPr>
            <p:cNvPr id="145" name="Freeform 63">
              <a:extLst>
                <a:ext uri="{FF2B5EF4-FFF2-40B4-BE49-F238E27FC236}">
                  <a16:creationId xmlns:a16="http://schemas.microsoft.com/office/drawing/2014/main" id="{A8291518-7136-C48E-90BB-5A834D05B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67900" y="2467377"/>
              <a:ext cx="302090" cy="298116"/>
            </a:xfrm>
            <a:custGeom>
              <a:avLst/>
              <a:gdLst>
                <a:gd name="T0" fmla="*/ 978 w 988"/>
                <a:gd name="T1" fmla="*/ 484 h 988"/>
                <a:gd name="T2" fmla="*/ 969 w 988"/>
                <a:gd name="T3" fmla="*/ 494 h 988"/>
                <a:gd name="T4" fmla="*/ 964 w 988"/>
                <a:gd name="T5" fmla="*/ 564 h 988"/>
                <a:gd name="T6" fmla="*/ 494 w 988"/>
                <a:gd name="T7" fmla="*/ 969 h 988"/>
                <a:gd name="T8" fmla="*/ 20 w 988"/>
                <a:gd name="T9" fmla="*/ 494 h 988"/>
                <a:gd name="T10" fmla="*/ 494 w 988"/>
                <a:gd name="T11" fmla="*/ 19 h 988"/>
                <a:gd name="T12" fmla="*/ 746 w 988"/>
                <a:gd name="T13" fmla="*/ 92 h 988"/>
                <a:gd name="T14" fmla="*/ 759 w 988"/>
                <a:gd name="T15" fmla="*/ 88 h 988"/>
                <a:gd name="T16" fmla="*/ 756 w 988"/>
                <a:gd name="T17" fmla="*/ 75 h 988"/>
                <a:gd name="T18" fmla="*/ 494 w 988"/>
                <a:gd name="T19" fmla="*/ 0 h 988"/>
                <a:gd name="T20" fmla="*/ 0 w 988"/>
                <a:gd name="T21" fmla="*/ 494 h 988"/>
                <a:gd name="T22" fmla="*/ 494 w 988"/>
                <a:gd name="T23" fmla="*/ 988 h 988"/>
                <a:gd name="T24" fmla="*/ 983 w 988"/>
                <a:gd name="T25" fmla="*/ 567 h 988"/>
                <a:gd name="T26" fmla="*/ 988 w 988"/>
                <a:gd name="T27" fmla="*/ 494 h 988"/>
                <a:gd name="T28" fmla="*/ 979 w 988"/>
                <a:gd name="T29" fmla="*/ 484 h 988"/>
                <a:gd name="T30" fmla="*/ 978 w 988"/>
                <a:gd name="T31" fmla="*/ 484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8" h="988">
                  <a:moveTo>
                    <a:pt x="978" y="484"/>
                  </a:moveTo>
                  <a:cubicBezTo>
                    <a:pt x="973" y="484"/>
                    <a:pt x="969" y="489"/>
                    <a:pt x="969" y="494"/>
                  </a:cubicBezTo>
                  <a:cubicBezTo>
                    <a:pt x="969" y="518"/>
                    <a:pt x="967" y="541"/>
                    <a:pt x="964" y="564"/>
                  </a:cubicBezTo>
                  <a:cubicBezTo>
                    <a:pt x="930" y="795"/>
                    <a:pt x="728" y="969"/>
                    <a:pt x="494" y="969"/>
                  </a:cubicBezTo>
                  <a:cubicBezTo>
                    <a:pt x="233" y="969"/>
                    <a:pt x="20" y="756"/>
                    <a:pt x="20" y="494"/>
                  </a:cubicBezTo>
                  <a:cubicBezTo>
                    <a:pt x="20" y="232"/>
                    <a:pt x="233" y="19"/>
                    <a:pt x="494" y="19"/>
                  </a:cubicBezTo>
                  <a:cubicBezTo>
                    <a:pt x="583" y="19"/>
                    <a:pt x="670" y="44"/>
                    <a:pt x="746" y="92"/>
                  </a:cubicBezTo>
                  <a:cubicBezTo>
                    <a:pt x="751" y="94"/>
                    <a:pt x="756" y="92"/>
                    <a:pt x="759" y="88"/>
                  </a:cubicBezTo>
                  <a:cubicBezTo>
                    <a:pt x="761" y="83"/>
                    <a:pt x="760" y="78"/>
                    <a:pt x="756" y="75"/>
                  </a:cubicBezTo>
                  <a:cubicBezTo>
                    <a:pt x="678" y="26"/>
                    <a:pt x="587" y="0"/>
                    <a:pt x="494" y="0"/>
                  </a:cubicBezTo>
                  <a:cubicBezTo>
                    <a:pt x="222" y="0"/>
                    <a:pt x="0" y="222"/>
                    <a:pt x="0" y="494"/>
                  </a:cubicBezTo>
                  <a:cubicBezTo>
                    <a:pt x="0" y="766"/>
                    <a:pt x="222" y="988"/>
                    <a:pt x="494" y="988"/>
                  </a:cubicBezTo>
                  <a:cubicBezTo>
                    <a:pt x="737" y="988"/>
                    <a:pt x="947" y="807"/>
                    <a:pt x="983" y="567"/>
                  </a:cubicBezTo>
                  <a:cubicBezTo>
                    <a:pt x="986" y="543"/>
                    <a:pt x="988" y="519"/>
                    <a:pt x="988" y="494"/>
                  </a:cubicBezTo>
                  <a:cubicBezTo>
                    <a:pt x="988" y="489"/>
                    <a:pt x="984" y="484"/>
                    <a:pt x="979" y="484"/>
                  </a:cubicBezTo>
                  <a:lnTo>
                    <a:pt x="978" y="484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64">
              <a:extLst>
                <a:ext uri="{FF2B5EF4-FFF2-40B4-BE49-F238E27FC236}">
                  <a16:creationId xmlns:a16="http://schemas.microsoft.com/office/drawing/2014/main" id="{50F47309-4154-2097-2376-4274D90530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67900" y="2467377"/>
              <a:ext cx="302090" cy="298116"/>
            </a:xfrm>
            <a:custGeom>
              <a:avLst/>
              <a:gdLst>
                <a:gd name="T0" fmla="*/ 978 w 988"/>
                <a:gd name="T1" fmla="*/ 484 h 988"/>
                <a:gd name="T2" fmla="*/ 969 w 988"/>
                <a:gd name="T3" fmla="*/ 494 h 988"/>
                <a:gd name="T4" fmla="*/ 964 w 988"/>
                <a:gd name="T5" fmla="*/ 564 h 988"/>
                <a:gd name="T6" fmla="*/ 494 w 988"/>
                <a:gd name="T7" fmla="*/ 969 h 988"/>
                <a:gd name="T8" fmla="*/ 20 w 988"/>
                <a:gd name="T9" fmla="*/ 494 h 988"/>
                <a:gd name="T10" fmla="*/ 494 w 988"/>
                <a:gd name="T11" fmla="*/ 19 h 988"/>
                <a:gd name="T12" fmla="*/ 746 w 988"/>
                <a:gd name="T13" fmla="*/ 92 h 988"/>
                <a:gd name="T14" fmla="*/ 759 w 988"/>
                <a:gd name="T15" fmla="*/ 88 h 988"/>
                <a:gd name="T16" fmla="*/ 756 w 988"/>
                <a:gd name="T17" fmla="*/ 75 h 988"/>
                <a:gd name="T18" fmla="*/ 494 w 988"/>
                <a:gd name="T19" fmla="*/ 0 h 988"/>
                <a:gd name="T20" fmla="*/ 0 w 988"/>
                <a:gd name="T21" fmla="*/ 494 h 988"/>
                <a:gd name="T22" fmla="*/ 494 w 988"/>
                <a:gd name="T23" fmla="*/ 988 h 988"/>
                <a:gd name="T24" fmla="*/ 983 w 988"/>
                <a:gd name="T25" fmla="*/ 567 h 988"/>
                <a:gd name="T26" fmla="*/ 988 w 988"/>
                <a:gd name="T27" fmla="*/ 494 h 988"/>
                <a:gd name="T28" fmla="*/ 979 w 988"/>
                <a:gd name="T29" fmla="*/ 484 h 988"/>
                <a:gd name="T30" fmla="*/ 978 w 988"/>
                <a:gd name="T31" fmla="*/ 484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88" h="988">
                  <a:moveTo>
                    <a:pt x="978" y="484"/>
                  </a:moveTo>
                  <a:cubicBezTo>
                    <a:pt x="973" y="484"/>
                    <a:pt x="969" y="489"/>
                    <a:pt x="969" y="494"/>
                  </a:cubicBezTo>
                  <a:cubicBezTo>
                    <a:pt x="969" y="518"/>
                    <a:pt x="967" y="541"/>
                    <a:pt x="964" y="564"/>
                  </a:cubicBezTo>
                  <a:cubicBezTo>
                    <a:pt x="930" y="795"/>
                    <a:pt x="728" y="969"/>
                    <a:pt x="494" y="969"/>
                  </a:cubicBezTo>
                  <a:cubicBezTo>
                    <a:pt x="233" y="969"/>
                    <a:pt x="20" y="756"/>
                    <a:pt x="20" y="494"/>
                  </a:cubicBezTo>
                  <a:cubicBezTo>
                    <a:pt x="20" y="232"/>
                    <a:pt x="233" y="19"/>
                    <a:pt x="494" y="19"/>
                  </a:cubicBezTo>
                  <a:cubicBezTo>
                    <a:pt x="583" y="19"/>
                    <a:pt x="670" y="44"/>
                    <a:pt x="746" y="92"/>
                  </a:cubicBezTo>
                  <a:cubicBezTo>
                    <a:pt x="751" y="94"/>
                    <a:pt x="756" y="92"/>
                    <a:pt x="759" y="88"/>
                  </a:cubicBezTo>
                  <a:cubicBezTo>
                    <a:pt x="761" y="83"/>
                    <a:pt x="760" y="78"/>
                    <a:pt x="756" y="75"/>
                  </a:cubicBezTo>
                  <a:cubicBezTo>
                    <a:pt x="678" y="26"/>
                    <a:pt x="587" y="0"/>
                    <a:pt x="494" y="0"/>
                  </a:cubicBezTo>
                  <a:cubicBezTo>
                    <a:pt x="222" y="0"/>
                    <a:pt x="0" y="222"/>
                    <a:pt x="0" y="494"/>
                  </a:cubicBezTo>
                  <a:cubicBezTo>
                    <a:pt x="0" y="766"/>
                    <a:pt x="222" y="988"/>
                    <a:pt x="494" y="988"/>
                  </a:cubicBezTo>
                  <a:cubicBezTo>
                    <a:pt x="737" y="988"/>
                    <a:pt x="947" y="807"/>
                    <a:pt x="983" y="567"/>
                  </a:cubicBezTo>
                  <a:cubicBezTo>
                    <a:pt x="986" y="543"/>
                    <a:pt x="988" y="519"/>
                    <a:pt x="988" y="494"/>
                  </a:cubicBezTo>
                  <a:cubicBezTo>
                    <a:pt x="988" y="489"/>
                    <a:pt x="984" y="484"/>
                    <a:pt x="979" y="484"/>
                  </a:cubicBezTo>
                  <a:lnTo>
                    <a:pt x="978" y="484"/>
                  </a:lnTo>
                  <a:close/>
                </a:path>
              </a:pathLst>
            </a:custGeom>
            <a:noFill/>
            <a:ln w="4763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65">
              <a:extLst>
                <a:ext uri="{FF2B5EF4-FFF2-40B4-BE49-F238E27FC236}">
                  <a16:creationId xmlns:a16="http://schemas.microsoft.com/office/drawing/2014/main" id="{DC70620B-6C72-E538-0B45-92B74049D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03675" y="2501826"/>
              <a:ext cx="217293" cy="214643"/>
            </a:xfrm>
            <a:custGeom>
              <a:avLst/>
              <a:gdLst>
                <a:gd name="T0" fmla="*/ 559 w 712"/>
                <a:gd name="T1" fmla="*/ 111 h 711"/>
                <a:gd name="T2" fmla="*/ 556 w 712"/>
                <a:gd name="T3" fmla="*/ 98 h 711"/>
                <a:gd name="T4" fmla="*/ 98 w 712"/>
                <a:gd name="T5" fmla="*/ 202 h 711"/>
                <a:gd name="T6" fmla="*/ 202 w 712"/>
                <a:gd name="T7" fmla="*/ 660 h 711"/>
                <a:gd name="T8" fmla="*/ 379 w 712"/>
                <a:gd name="T9" fmla="*/ 711 h 711"/>
                <a:gd name="T10" fmla="*/ 708 w 712"/>
                <a:gd name="T11" fmla="*/ 430 h 711"/>
                <a:gd name="T12" fmla="*/ 711 w 712"/>
                <a:gd name="T13" fmla="*/ 379 h 711"/>
                <a:gd name="T14" fmla="*/ 702 w 712"/>
                <a:gd name="T15" fmla="*/ 369 h 711"/>
                <a:gd name="T16" fmla="*/ 692 w 712"/>
                <a:gd name="T17" fmla="*/ 378 h 711"/>
                <a:gd name="T18" fmla="*/ 692 w 712"/>
                <a:gd name="T19" fmla="*/ 379 h 711"/>
                <a:gd name="T20" fmla="*/ 689 w 712"/>
                <a:gd name="T21" fmla="*/ 427 h 711"/>
                <a:gd name="T22" fmla="*/ 379 w 712"/>
                <a:gd name="T23" fmla="*/ 692 h 711"/>
                <a:gd name="T24" fmla="*/ 66 w 712"/>
                <a:gd name="T25" fmla="*/ 379 h 711"/>
                <a:gd name="T26" fmla="*/ 379 w 712"/>
                <a:gd name="T27" fmla="*/ 66 h 711"/>
                <a:gd name="T28" fmla="*/ 546 w 712"/>
                <a:gd name="T29" fmla="*/ 114 h 711"/>
                <a:gd name="T30" fmla="*/ 559 w 712"/>
                <a:gd name="T31" fmla="*/ 111 h 711"/>
                <a:gd name="T32" fmla="*/ 559 w 712"/>
                <a:gd name="T33" fmla="*/ 11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12" h="711">
                  <a:moveTo>
                    <a:pt x="559" y="111"/>
                  </a:moveTo>
                  <a:cubicBezTo>
                    <a:pt x="562" y="107"/>
                    <a:pt x="561" y="101"/>
                    <a:pt x="556" y="98"/>
                  </a:cubicBezTo>
                  <a:cubicBezTo>
                    <a:pt x="401" y="0"/>
                    <a:pt x="196" y="47"/>
                    <a:pt x="98" y="202"/>
                  </a:cubicBezTo>
                  <a:cubicBezTo>
                    <a:pt x="0" y="358"/>
                    <a:pt x="47" y="563"/>
                    <a:pt x="202" y="660"/>
                  </a:cubicBezTo>
                  <a:cubicBezTo>
                    <a:pt x="255" y="694"/>
                    <a:pt x="317" y="711"/>
                    <a:pt x="379" y="711"/>
                  </a:cubicBezTo>
                  <a:cubicBezTo>
                    <a:pt x="542" y="711"/>
                    <a:pt x="683" y="590"/>
                    <a:pt x="708" y="430"/>
                  </a:cubicBezTo>
                  <a:cubicBezTo>
                    <a:pt x="710" y="413"/>
                    <a:pt x="711" y="396"/>
                    <a:pt x="711" y="379"/>
                  </a:cubicBezTo>
                  <a:cubicBezTo>
                    <a:pt x="712" y="374"/>
                    <a:pt x="708" y="369"/>
                    <a:pt x="702" y="369"/>
                  </a:cubicBezTo>
                  <a:cubicBezTo>
                    <a:pt x="697" y="369"/>
                    <a:pt x="693" y="373"/>
                    <a:pt x="692" y="378"/>
                  </a:cubicBezTo>
                  <a:cubicBezTo>
                    <a:pt x="692" y="378"/>
                    <a:pt x="692" y="379"/>
                    <a:pt x="692" y="379"/>
                  </a:cubicBezTo>
                  <a:cubicBezTo>
                    <a:pt x="692" y="395"/>
                    <a:pt x="691" y="411"/>
                    <a:pt x="689" y="427"/>
                  </a:cubicBezTo>
                  <a:cubicBezTo>
                    <a:pt x="665" y="578"/>
                    <a:pt x="532" y="692"/>
                    <a:pt x="379" y="692"/>
                  </a:cubicBezTo>
                  <a:cubicBezTo>
                    <a:pt x="206" y="692"/>
                    <a:pt x="66" y="552"/>
                    <a:pt x="66" y="379"/>
                  </a:cubicBezTo>
                  <a:cubicBezTo>
                    <a:pt x="66" y="206"/>
                    <a:pt x="206" y="66"/>
                    <a:pt x="379" y="66"/>
                  </a:cubicBezTo>
                  <a:cubicBezTo>
                    <a:pt x="438" y="66"/>
                    <a:pt x="496" y="83"/>
                    <a:pt x="546" y="114"/>
                  </a:cubicBezTo>
                  <a:cubicBezTo>
                    <a:pt x="550" y="117"/>
                    <a:pt x="556" y="116"/>
                    <a:pt x="559" y="111"/>
                  </a:cubicBezTo>
                  <a:cubicBezTo>
                    <a:pt x="559" y="111"/>
                    <a:pt x="559" y="111"/>
                    <a:pt x="559" y="111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66">
              <a:extLst>
                <a:ext uri="{FF2B5EF4-FFF2-40B4-BE49-F238E27FC236}">
                  <a16:creationId xmlns:a16="http://schemas.microsoft.com/office/drawing/2014/main" id="{64DD5ECC-34A1-4F8C-F8FF-B03A09799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03675" y="2501826"/>
              <a:ext cx="217293" cy="214643"/>
            </a:xfrm>
            <a:custGeom>
              <a:avLst/>
              <a:gdLst>
                <a:gd name="T0" fmla="*/ 559 w 712"/>
                <a:gd name="T1" fmla="*/ 111 h 711"/>
                <a:gd name="T2" fmla="*/ 556 w 712"/>
                <a:gd name="T3" fmla="*/ 98 h 711"/>
                <a:gd name="T4" fmla="*/ 98 w 712"/>
                <a:gd name="T5" fmla="*/ 202 h 711"/>
                <a:gd name="T6" fmla="*/ 202 w 712"/>
                <a:gd name="T7" fmla="*/ 660 h 711"/>
                <a:gd name="T8" fmla="*/ 379 w 712"/>
                <a:gd name="T9" fmla="*/ 711 h 711"/>
                <a:gd name="T10" fmla="*/ 708 w 712"/>
                <a:gd name="T11" fmla="*/ 430 h 711"/>
                <a:gd name="T12" fmla="*/ 711 w 712"/>
                <a:gd name="T13" fmla="*/ 379 h 711"/>
                <a:gd name="T14" fmla="*/ 702 w 712"/>
                <a:gd name="T15" fmla="*/ 369 h 711"/>
                <a:gd name="T16" fmla="*/ 692 w 712"/>
                <a:gd name="T17" fmla="*/ 378 h 711"/>
                <a:gd name="T18" fmla="*/ 692 w 712"/>
                <a:gd name="T19" fmla="*/ 379 h 711"/>
                <a:gd name="T20" fmla="*/ 689 w 712"/>
                <a:gd name="T21" fmla="*/ 427 h 711"/>
                <a:gd name="T22" fmla="*/ 379 w 712"/>
                <a:gd name="T23" fmla="*/ 692 h 711"/>
                <a:gd name="T24" fmla="*/ 66 w 712"/>
                <a:gd name="T25" fmla="*/ 379 h 711"/>
                <a:gd name="T26" fmla="*/ 379 w 712"/>
                <a:gd name="T27" fmla="*/ 66 h 711"/>
                <a:gd name="T28" fmla="*/ 546 w 712"/>
                <a:gd name="T29" fmla="*/ 114 h 711"/>
                <a:gd name="T30" fmla="*/ 559 w 712"/>
                <a:gd name="T31" fmla="*/ 111 h 711"/>
                <a:gd name="T32" fmla="*/ 559 w 712"/>
                <a:gd name="T33" fmla="*/ 11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12" h="711">
                  <a:moveTo>
                    <a:pt x="559" y="111"/>
                  </a:moveTo>
                  <a:cubicBezTo>
                    <a:pt x="562" y="107"/>
                    <a:pt x="561" y="101"/>
                    <a:pt x="556" y="98"/>
                  </a:cubicBezTo>
                  <a:cubicBezTo>
                    <a:pt x="401" y="0"/>
                    <a:pt x="196" y="47"/>
                    <a:pt x="98" y="202"/>
                  </a:cubicBezTo>
                  <a:cubicBezTo>
                    <a:pt x="0" y="358"/>
                    <a:pt x="47" y="563"/>
                    <a:pt x="202" y="660"/>
                  </a:cubicBezTo>
                  <a:cubicBezTo>
                    <a:pt x="255" y="694"/>
                    <a:pt x="317" y="711"/>
                    <a:pt x="379" y="711"/>
                  </a:cubicBezTo>
                  <a:cubicBezTo>
                    <a:pt x="542" y="711"/>
                    <a:pt x="683" y="590"/>
                    <a:pt x="708" y="430"/>
                  </a:cubicBezTo>
                  <a:cubicBezTo>
                    <a:pt x="710" y="413"/>
                    <a:pt x="711" y="396"/>
                    <a:pt x="711" y="379"/>
                  </a:cubicBezTo>
                  <a:cubicBezTo>
                    <a:pt x="712" y="374"/>
                    <a:pt x="708" y="369"/>
                    <a:pt x="702" y="369"/>
                  </a:cubicBezTo>
                  <a:cubicBezTo>
                    <a:pt x="697" y="369"/>
                    <a:pt x="693" y="373"/>
                    <a:pt x="692" y="378"/>
                  </a:cubicBezTo>
                  <a:cubicBezTo>
                    <a:pt x="692" y="378"/>
                    <a:pt x="692" y="379"/>
                    <a:pt x="692" y="379"/>
                  </a:cubicBezTo>
                  <a:cubicBezTo>
                    <a:pt x="692" y="395"/>
                    <a:pt x="691" y="411"/>
                    <a:pt x="689" y="427"/>
                  </a:cubicBezTo>
                  <a:cubicBezTo>
                    <a:pt x="665" y="578"/>
                    <a:pt x="532" y="692"/>
                    <a:pt x="379" y="692"/>
                  </a:cubicBezTo>
                  <a:cubicBezTo>
                    <a:pt x="206" y="692"/>
                    <a:pt x="66" y="552"/>
                    <a:pt x="66" y="379"/>
                  </a:cubicBezTo>
                  <a:cubicBezTo>
                    <a:pt x="66" y="206"/>
                    <a:pt x="206" y="66"/>
                    <a:pt x="379" y="66"/>
                  </a:cubicBezTo>
                  <a:cubicBezTo>
                    <a:pt x="438" y="66"/>
                    <a:pt x="496" y="83"/>
                    <a:pt x="546" y="114"/>
                  </a:cubicBezTo>
                  <a:cubicBezTo>
                    <a:pt x="550" y="117"/>
                    <a:pt x="556" y="116"/>
                    <a:pt x="559" y="111"/>
                  </a:cubicBezTo>
                  <a:cubicBezTo>
                    <a:pt x="559" y="111"/>
                    <a:pt x="559" y="111"/>
                    <a:pt x="559" y="111"/>
                  </a:cubicBezTo>
                  <a:close/>
                </a:path>
              </a:pathLst>
            </a:custGeom>
            <a:noFill/>
            <a:ln w="4763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67">
              <a:extLst>
                <a:ext uri="{FF2B5EF4-FFF2-40B4-BE49-F238E27FC236}">
                  <a16:creationId xmlns:a16="http://schemas.microsoft.com/office/drawing/2014/main" id="{0CCACB54-2383-C619-4204-AC897D83F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1973" y="2560124"/>
              <a:ext cx="107322" cy="112622"/>
            </a:xfrm>
            <a:custGeom>
              <a:avLst/>
              <a:gdLst>
                <a:gd name="T0" fmla="*/ 187 w 352"/>
                <a:gd name="T1" fmla="*/ 42 h 375"/>
                <a:gd name="T2" fmla="*/ 266 w 352"/>
                <a:gd name="T3" fmla="*/ 65 h 375"/>
                <a:gd name="T4" fmla="*/ 279 w 352"/>
                <a:gd name="T5" fmla="*/ 62 h 375"/>
                <a:gd name="T6" fmla="*/ 276 w 352"/>
                <a:gd name="T7" fmla="*/ 49 h 375"/>
                <a:gd name="T8" fmla="*/ 49 w 352"/>
                <a:gd name="T9" fmla="*/ 98 h 375"/>
                <a:gd name="T10" fmla="*/ 99 w 352"/>
                <a:gd name="T11" fmla="*/ 326 h 375"/>
                <a:gd name="T12" fmla="*/ 326 w 352"/>
                <a:gd name="T13" fmla="*/ 276 h 375"/>
                <a:gd name="T14" fmla="*/ 349 w 352"/>
                <a:gd name="T15" fmla="*/ 215 h 375"/>
                <a:gd name="T16" fmla="*/ 352 w 352"/>
                <a:gd name="T17" fmla="*/ 187 h 375"/>
                <a:gd name="T18" fmla="*/ 343 w 352"/>
                <a:gd name="T19" fmla="*/ 177 h 375"/>
                <a:gd name="T20" fmla="*/ 333 w 352"/>
                <a:gd name="T21" fmla="*/ 186 h 375"/>
                <a:gd name="T22" fmla="*/ 333 w 352"/>
                <a:gd name="T23" fmla="*/ 187 h 375"/>
                <a:gd name="T24" fmla="*/ 187 w 352"/>
                <a:gd name="T25" fmla="*/ 332 h 375"/>
                <a:gd name="T26" fmla="*/ 42 w 352"/>
                <a:gd name="T27" fmla="*/ 187 h 375"/>
                <a:gd name="T28" fmla="*/ 187 w 352"/>
                <a:gd name="T29" fmla="*/ 42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2" h="375">
                  <a:moveTo>
                    <a:pt x="187" y="42"/>
                  </a:moveTo>
                  <a:cubicBezTo>
                    <a:pt x="215" y="42"/>
                    <a:pt x="242" y="50"/>
                    <a:pt x="266" y="65"/>
                  </a:cubicBezTo>
                  <a:cubicBezTo>
                    <a:pt x="270" y="68"/>
                    <a:pt x="276" y="66"/>
                    <a:pt x="279" y="62"/>
                  </a:cubicBezTo>
                  <a:cubicBezTo>
                    <a:pt x="282" y="57"/>
                    <a:pt x="281" y="51"/>
                    <a:pt x="276" y="49"/>
                  </a:cubicBezTo>
                  <a:cubicBezTo>
                    <a:pt x="200" y="0"/>
                    <a:pt x="98" y="22"/>
                    <a:pt x="49" y="98"/>
                  </a:cubicBezTo>
                  <a:cubicBezTo>
                    <a:pt x="0" y="175"/>
                    <a:pt x="22" y="277"/>
                    <a:pt x="99" y="326"/>
                  </a:cubicBezTo>
                  <a:cubicBezTo>
                    <a:pt x="175" y="375"/>
                    <a:pt x="277" y="352"/>
                    <a:pt x="326" y="276"/>
                  </a:cubicBezTo>
                  <a:cubicBezTo>
                    <a:pt x="338" y="257"/>
                    <a:pt x="346" y="236"/>
                    <a:pt x="349" y="215"/>
                  </a:cubicBezTo>
                  <a:cubicBezTo>
                    <a:pt x="351" y="206"/>
                    <a:pt x="352" y="196"/>
                    <a:pt x="352" y="187"/>
                  </a:cubicBezTo>
                  <a:cubicBezTo>
                    <a:pt x="352" y="182"/>
                    <a:pt x="348" y="177"/>
                    <a:pt x="343" y="177"/>
                  </a:cubicBezTo>
                  <a:cubicBezTo>
                    <a:pt x="337" y="177"/>
                    <a:pt x="333" y="181"/>
                    <a:pt x="333" y="186"/>
                  </a:cubicBezTo>
                  <a:cubicBezTo>
                    <a:pt x="333" y="186"/>
                    <a:pt x="333" y="187"/>
                    <a:pt x="333" y="187"/>
                  </a:cubicBezTo>
                  <a:cubicBezTo>
                    <a:pt x="333" y="267"/>
                    <a:pt x="268" y="332"/>
                    <a:pt x="187" y="332"/>
                  </a:cubicBezTo>
                  <a:cubicBezTo>
                    <a:pt x="107" y="332"/>
                    <a:pt x="42" y="267"/>
                    <a:pt x="42" y="187"/>
                  </a:cubicBezTo>
                  <a:cubicBezTo>
                    <a:pt x="42" y="107"/>
                    <a:pt x="107" y="42"/>
                    <a:pt x="187" y="42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68">
              <a:extLst>
                <a:ext uri="{FF2B5EF4-FFF2-40B4-BE49-F238E27FC236}">
                  <a16:creationId xmlns:a16="http://schemas.microsoft.com/office/drawing/2014/main" id="{E055EA1A-74AC-ADB0-612D-62665DAD2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1973" y="2560124"/>
              <a:ext cx="107322" cy="112622"/>
            </a:xfrm>
            <a:custGeom>
              <a:avLst/>
              <a:gdLst>
                <a:gd name="T0" fmla="*/ 187 w 352"/>
                <a:gd name="T1" fmla="*/ 42 h 375"/>
                <a:gd name="T2" fmla="*/ 266 w 352"/>
                <a:gd name="T3" fmla="*/ 65 h 375"/>
                <a:gd name="T4" fmla="*/ 279 w 352"/>
                <a:gd name="T5" fmla="*/ 62 h 375"/>
                <a:gd name="T6" fmla="*/ 276 w 352"/>
                <a:gd name="T7" fmla="*/ 49 h 375"/>
                <a:gd name="T8" fmla="*/ 49 w 352"/>
                <a:gd name="T9" fmla="*/ 98 h 375"/>
                <a:gd name="T10" fmla="*/ 99 w 352"/>
                <a:gd name="T11" fmla="*/ 326 h 375"/>
                <a:gd name="T12" fmla="*/ 326 w 352"/>
                <a:gd name="T13" fmla="*/ 276 h 375"/>
                <a:gd name="T14" fmla="*/ 349 w 352"/>
                <a:gd name="T15" fmla="*/ 215 h 375"/>
                <a:gd name="T16" fmla="*/ 352 w 352"/>
                <a:gd name="T17" fmla="*/ 187 h 375"/>
                <a:gd name="T18" fmla="*/ 343 w 352"/>
                <a:gd name="T19" fmla="*/ 177 h 375"/>
                <a:gd name="T20" fmla="*/ 333 w 352"/>
                <a:gd name="T21" fmla="*/ 186 h 375"/>
                <a:gd name="T22" fmla="*/ 333 w 352"/>
                <a:gd name="T23" fmla="*/ 187 h 375"/>
                <a:gd name="T24" fmla="*/ 187 w 352"/>
                <a:gd name="T25" fmla="*/ 332 h 375"/>
                <a:gd name="T26" fmla="*/ 42 w 352"/>
                <a:gd name="T27" fmla="*/ 187 h 375"/>
                <a:gd name="T28" fmla="*/ 187 w 352"/>
                <a:gd name="T29" fmla="*/ 42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2" h="375">
                  <a:moveTo>
                    <a:pt x="187" y="42"/>
                  </a:moveTo>
                  <a:cubicBezTo>
                    <a:pt x="215" y="42"/>
                    <a:pt x="242" y="50"/>
                    <a:pt x="266" y="65"/>
                  </a:cubicBezTo>
                  <a:cubicBezTo>
                    <a:pt x="270" y="68"/>
                    <a:pt x="276" y="66"/>
                    <a:pt x="279" y="62"/>
                  </a:cubicBezTo>
                  <a:cubicBezTo>
                    <a:pt x="282" y="57"/>
                    <a:pt x="281" y="51"/>
                    <a:pt x="276" y="49"/>
                  </a:cubicBezTo>
                  <a:cubicBezTo>
                    <a:pt x="200" y="0"/>
                    <a:pt x="98" y="22"/>
                    <a:pt x="49" y="98"/>
                  </a:cubicBezTo>
                  <a:cubicBezTo>
                    <a:pt x="0" y="175"/>
                    <a:pt x="22" y="277"/>
                    <a:pt x="99" y="326"/>
                  </a:cubicBezTo>
                  <a:cubicBezTo>
                    <a:pt x="175" y="375"/>
                    <a:pt x="277" y="352"/>
                    <a:pt x="326" y="276"/>
                  </a:cubicBezTo>
                  <a:cubicBezTo>
                    <a:pt x="338" y="257"/>
                    <a:pt x="346" y="236"/>
                    <a:pt x="349" y="215"/>
                  </a:cubicBezTo>
                  <a:cubicBezTo>
                    <a:pt x="351" y="206"/>
                    <a:pt x="352" y="196"/>
                    <a:pt x="352" y="187"/>
                  </a:cubicBezTo>
                  <a:cubicBezTo>
                    <a:pt x="352" y="182"/>
                    <a:pt x="348" y="177"/>
                    <a:pt x="343" y="177"/>
                  </a:cubicBezTo>
                  <a:cubicBezTo>
                    <a:pt x="337" y="177"/>
                    <a:pt x="333" y="181"/>
                    <a:pt x="333" y="186"/>
                  </a:cubicBezTo>
                  <a:cubicBezTo>
                    <a:pt x="333" y="186"/>
                    <a:pt x="333" y="187"/>
                    <a:pt x="333" y="187"/>
                  </a:cubicBezTo>
                  <a:cubicBezTo>
                    <a:pt x="333" y="267"/>
                    <a:pt x="268" y="332"/>
                    <a:pt x="187" y="332"/>
                  </a:cubicBezTo>
                  <a:cubicBezTo>
                    <a:pt x="107" y="332"/>
                    <a:pt x="42" y="267"/>
                    <a:pt x="42" y="187"/>
                  </a:cubicBezTo>
                  <a:cubicBezTo>
                    <a:pt x="42" y="107"/>
                    <a:pt x="107" y="42"/>
                    <a:pt x="187" y="42"/>
                  </a:cubicBezTo>
                  <a:close/>
                </a:path>
              </a:pathLst>
            </a:custGeom>
            <a:noFill/>
            <a:ln w="4763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69">
              <a:extLst>
                <a:ext uri="{FF2B5EF4-FFF2-40B4-BE49-F238E27FC236}">
                  <a16:creationId xmlns:a16="http://schemas.microsoft.com/office/drawing/2014/main" id="{3958DAB7-F6DB-266D-60C7-9258ECA33B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14971" y="2499176"/>
              <a:ext cx="205369" cy="121896"/>
            </a:xfrm>
            <a:custGeom>
              <a:avLst/>
              <a:gdLst>
                <a:gd name="T0" fmla="*/ 674 w 675"/>
                <a:gd name="T1" fmla="*/ 199 h 402"/>
                <a:gd name="T2" fmla="*/ 667 w 675"/>
                <a:gd name="T3" fmla="*/ 190 h 402"/>
                <a:gd name="T4" fmla="*/ 518 w 675"/>
                <a:gd name="T5" fmla="*/ 153 h 402"/>
                <a:gd name="T6" fmla="*/ 518 w 675"/>
                <a:gd name="T7" fmla="*/ 152 h 402"/>
                <a:gd name="T8" fmla="*/ 518 w 675"/>
                <a:gd name="T9" fmla="*/ 152 h 402"/>
                <a:gd name="T10" fmla="*/ 585 w 675"/>
                <a:gd name="T11" fmla="*/ 14 h 402"/>
                <a:gd name="T12" fmla="*/ 581 w 675"/>
                <a:gd name="T13" fmla="*/ 1 h 402"/>
                <a:gd name="T14" fmla="*/ 572 w 675"/>
                <a:gd name="T15" fmla="*/ 1 h 402"/>
                <a:gd name="T16" fmla="*/ 332 w 675"/>
                <a:gd name="T17" fmla="*/ 111 h 402"/>
                <a:gd name="T18" fmla="*/ 327 w 675"/>
                <a:gd name="T19" fmla="*/ 117 h 402"/>
                <a:gd name="T20" fmla="*/ 282 w 675"/>
                <a:gd name="T21" fmla="*/ 253 h 402"/>
                <a:gd name="T22" fmla="*/ 282 w 675"/>
                <a:gd name="T23" fmla="*/ 254 h 402"/>
                <a:gd name="T24" fmla="*/ 146 w 675"/>
                <a:gd name="T25" fmla="*/ 318 h 402"/>
                <a:gd name="T26" fmla="*/ 6 w 675"/>
                <a:gd name="T27" fmla="*/ 383 h 402"/>
                <a:gd name="T28" fmla="*/ 2 w 675"/>
                <a:gd name="T29" fmla="*/ 395 h 402"/>
                <a:gd name="T30" fmla="*/ 15 w 675"/>
                <a:gd name="T31" fmla="*/ 400 h 402"/>
                <a:gd name="T32" fmla="*/ 155 w 675"/>
                <a:gd name="T33" fmla="*/ 335 h 402"/>
                <a:gd name="T34" fmla="*/ 295 w 675"/>
                <a:gd name="T35" fmla="*/ 268 h 402"/>
                <a:gd name="T36" fmla="*/ 420 w 675"/>
                <a:gd name="T37" fmla="*/ 319 h 402"/>
                <a:gd name="T38" fmla="*/ 424 w 675"/>
                <a:gd name="T39" fmla="*/ 320 h 402"/>
                <a:gd name="T40" fmla="*/ 428 w 675"/>
                <a:gd name="T41" fmla="*/ 319 h 402"/>
                <a:gd name="T42" fmla="*/ 546 w 675"/>
                <a:gd name="T43" fmla="*/ 265 h 402"/>
                <a:gd name="T44" fmla="*/ 551 w 675"/>
                <a:gd name="T45" fmla="*/ 262 h 402"/>
                <a:gd name="T46" fmla="*/ 669 w 675"/>
                <a:gd name="T47" fmla="*/ 208 h 402"/>
                <a:gd name="T48" fmla="*/ 674 w 675"/>
                <a:gd name="T49" fmla="*/ 199 h 402"/>
                <a:gd name="T50" fmla="*/ 496 w 675"/>
                <a:gd name="T51" fmla="*/ 152 h 402"/>
                <a:gd name="T52" fmla="*/ 423 w 675"/>
                <a:gd name="T53" fmla="*/ 186 h 402"/>
                <a:gd name="T54" fmla="*/ 464 w 675"/>
                <a:gd name="T55" fmla="*/ 72 h 402"/>
                <a:gd name="T56" fmla="*/ 556 w 675"/>
                <a:gd name="T57" fmla="*/ 29 h 402"/>
                <a:gd name="T58" fmla="*/ 496 w 675"/>
                <a:gd name="T59" fmla="*/ 152 h 402"/>
                <a:gd name="T60" fmla="*/ 344 w 675"/>
                <a:gd name="T61" fmla="*/ 127 h 402"/>
                <a:gd name="T62" fmla="*/ 440 w 675"/>
                <a:gd name="T63" fmla="*/ 83 h 402"/>
                <a:gd name="T64" fmla="*/ 398 w 675"/>
                <a:gd name="T65" fmla="*/ 198 h 402"/>
                <a:gd name="T66" fmla="*/ 306 w 675"/>
                <a:gd name="T67" fmla="*/ 242 h 402"/>
                <a:gd name="T68" fmla="*/ 344 w 675"/>
                <a:gd name="T69" fmla="*/ 127 h 402"/>
                <a:gd name="T70" fmla="*/ 424 w 675"/>
                <a:gd name="T71" fmla="*/ 300 h 402"/>
                <a:gd name="T72" fmla="*/ 319 w 675"/>
                <a:gd name="T73" fmla="*/ 257 h 402"/>
                <a:gd name="T74" fmla="*/ 408 w 675"/>
                <a:gd name="T75" fmla="*/ 215 h 402"/>
                <a:gd name="T76" fmla="*/ 519 w 675"/>
                <a:gd name="T77" fmla="*/ 256 h 402"/>
                <a:gd name="T78" fmla="*/ 424 w 675"/>
                <a:gd name="T79" fmla="*/ 300 h 402"/>
                <a:gd name="T80" fmla="*/ 543 w 675"/>
                <a:gd name="T81" fmla="*/ 245 h 402"/>
                <a:gd name="T82" fmla="*/ 433 w 675"/>
                <a:gd name="T83" fmla="*/ 203 h 402"/>
                <a:gd name="T84" fmla="*/ 505 w 675"/>
                <a:gd name="T85" fmla="*/ 169 h 402"/>
                <a:gd name="T86" fmla="*/ 636 w 675"/>
                <a:gd name="T87" fmla="*/ 202 h 402"/>
                <a:gd name="T88" fmla="*/ 543 w 675"/>
                <a:gd name="T89" fmla="*/ 245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75" h="402">
                  <a:moveTo>
                    <a:pt x="674" y="199"/>
                  </a:moveTo>
                  <a:cubicBezTo>
                    <a:pt x="674" y="195"/>
                    <a:pt x="671" y="191"/>
                    <a:pt x="667" y="190"/>
                  </a:cubicBezTo>
                  <a:lnTo>
                    <a:pt x="518" y="153"/>
                  </a:lnTo>
                  <a:lnTo>
                    <a:pt x="518" y="152"/>
                  </a:lnTo>
                  <a:cubicBezTo>
                    <a:pt x="518" y="152"/>
                    <a:pt x="518" y="152"/>
                    <a:pt x="518" y="152"/>
                  </a:cubicBezTo>
                  <a:lnTo>
                    <a:pt x="585" y="14"/>
                  </a:lnTo>
                  <a:cubicBezTo>
                    <a:pt x="587" y="9"/>
                    <a:pt x="586" y="3"/>
                    <a:pt x="581" y="1"/>
                  </a:cubicBezTo>
                  <a:cubicBezTo>
                    <a:pt x="578" y="0"/>
                    <a:pt x="575" y="0"/>
                    <a:pt x="572" y="1"/>
                  </a:cubicBezTo>
                  <a:lnTo>
                    <a:pt x="332" y="111"/>
                  </a:lnTo>
                  <a:cubicBezTo>
                    <a:pt x="329" y="112"/>
                    <a:pt x="327" y="115"/>
                    <a:pt x="327" y="117"/>
                  </a:cubicBezTo>
                  <a:lnTo>
                    <a:pt x="282" y="253"/>
                  </a:lnTo>
                  <a:lnTo>
                    <a:pt x="282" y="254"/>
                  </a:lnTo>
                  <a:lnTo>
                    <a:pt x="146" y="318"/>
                  </a:lnTo>
                  <a:lnTo>
                    <a:pt x="6" y="383"/>
                  </a:lnTo>
                  <a:cubicBezTo>
                    <a:pt x="2" y="385"/>
                    <a:pt x="0" y="391"/>
                    <a:pt x="2" y="395"/>
                  </a:cubicBezTo>
                  <a:cubicBezTo>
                    <a:pt x="4" y="400"/>
                    <a:pt x="10" y="402"/>
                    <a:pt x="15" y="400"/>
                  </a:cubicBezTo>
                  <a:lnTo>
                    <a:pt x="155" y="335"/>
                  </a:lnTo>
                  <a:lnTo>
                    <a:pt x="295" y="268"/>
                  </a:lnTo>
                  <a:lnTo>
                    <a:pt x="420" y="319"/>
                  </a:lnTo>
                  <a:cubicBezTo>
                    <a:pt x="422" y="320"/>
                    <a:pt x="423" y="320"/>
                    <a:pt x="424" y="320"/>
                  </a:cubicBezTo>
                  <a:cubicBezTo>
                    <a:pt x="425" y="320"/>
                    <a:pt x="427" y="319"/>
                    <a:pt x="428" y="319"/>
                  </a:cubicBezTo>
                  <a:lnTo>
                    <a:pt x="546" y="265"/>
                  </a:lnTo>
                  <a:cubicBezTo>
                    <a:pt x="548" y="265"/>
                    <a:pt x="550" y="264"/>
                    <a:pt x="551" y="262"/>
                  </a:cubicBezTo>
                  <a:lnTo>
                    <a:pt x="669" y="208"/>
                  </a:lnTo>
                  <a:cubicBezTo>
                    <a:pt x="672" y="207"/>
                    <a:pt x="675" y="203"/>
                    <a:pt x="674" y="199"/>
                  </a:cubicBezTo>
                  <a:close/>
                  <a:moveTo>
                    <a:pt x="496" y="152"/>
                  </a:moveTo>
                  <a:lnTo>
                    <a:pt x="423" y="186"/>
                  </a:lnTo>
                  <a:lnTo>
                    <a:pt x="464" y="72"/>
                  </a:lnTo>
                  <a:lnTo>
                    <a:pt x="556" y="29"/>
                  </a:lnTo>
                  <a:lnTo>
                    <a:pt x="496" y="152"/>
                  </a:lnTo>
                  <a:close/>
                  <a:moveTo>
                    <a:pt x="344" y="127"/>
                  </a:moveTo>
                  <a:lnTo>
                    <a:pt x="440" y="83"/>
                  </a:lnTo>
                  <a:lnTo>
                    <a:pt x="398" y="198"/>
                  </a:lnTo>
                  <a:lnTo>
                    <a:pt x="306" y="242"/>
                  </a:lnTo>
                  <a:lnTo>
                    <a:pt x="344" y="127"/>
                  </a:lnTo>
                  <a:close/>
                  <a:moveTo>
                    <a:pt x="424" y="300"/>
                  </a:moveTo>
                  <a:lnTo>
                    <a:pt x="319" y="257"/>
                  </a:lnTo>
                  <a:lnTo>
                    <a:pt x="408" y="215"/>
                  </a:lnTo>
                  <a:lnTo>
                    <a:pt x="519" y="256"/>
                  </a:lnTo>
                  <a:lnTo>
                    <a:pt x="424" y="300"/>
                  </a:lnTo>
                  <a:close/>
                  <a:moveTo>
                    <a:pt x="543" y="245"/>
                  </a:moveTo>
                  <a:lnTo>
                    <a:pt x="433" y="203"/>
                  </a:lnTo>
                  <a:lnTo>
                    <a:pt x="505" y="169"/>
                  </a:lnTo>
                  <a:lnTo>
                    <a:pt x="636" y="202"/>
                  </a:lnTo>
                  <a:lnTo>
                    <a:pt x="543" y="245"/>
                  </a:ln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70">
              <a:extLst>
                <a:ext uri="{FF2B5EF4-FFF2-40B4-BE49-F238E27FC236}">
                  <a16:creationId xmlns:a16="http://schemas.microsoft.com/office/drawing/2014/main" id="{C207CB13-088C-1BBF-AD53-9E1E6AD5F1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14971" y="2499176"/>
              <a:ext cx="205369" cy="121896"/>
            </a:xfrm>
            <a:custGeom>
              <a:avLst/>
              <a:gdLst>
                <a:gd name="T0" fmla="*/ 674 w 675"/>
                <a:gd name="T1" fmla="*/ 199 h 402"/>
                <a:gd name="T2" fmla="*/ 667 w 675"/>
                <a:gd name="T3" fmla="*/ 190 h 402"/>
                <a:gd name="T4" fmla="*/ 518 w 675"/>
                <a:gd name="T5" fmla="*/ 153 h 402"/>
                <a:gd name="T6" fmla="*/ 518 w 675"/>
                <a:gd name="T7" fmla="*/ 152 h 402"/>
                <a:gd name="T8" fmla="*/ 518 w 675"/>
                <a:gd name="T9" fmla="*/ 152 h 402"/>
                <a:gd name="T10" fmla="*/ 585 w 675"/>
                <a:gd name="T11" fmla="*/ 14 h 402"/>
                <a:gd name="T12" fmla="*/ 581 w 675"/>
                <a:gd name="T13" fmla="*/ 1 h 402"/>
                <a:gd name="T14" fmla="*/ 572 w 675"/>
                <a:gd name="T15" fmla="*/ 1 h 402"/>
                <a:gd name="T16" fmla="*/ 332 w 675"/>
                <a:gd name="T17" fmla="*/ 111 h 402"/>
                <a:gd name="T18" fmla="*/ 327 w 675"/>
                <a:gd name="T19" fmla="*/ 117 h 402"/>
                <a:gd name="T20" fmla="*/ 282 w 675"/>
                <a:gd name="T21" fmla="*/ 253 h 402"/>
                <a:gd name="T22" fmla="*/ 282 w 675"/>
                <a:gd name="T23" fmla="*/ 254 h 402"/>
                <a:gd name="T24" fmla="*/ 146 w 675"/>
                <a:gd name="T25" fmla="*/ 318 h 402"/>
                <a:gd name="T26" fmla="*/ 6 w 675"/>
                <a:gd name="T27" fmla="*/ 383 h 402"/>
                <a:gd name="T28" fmla="*/ 2 w 675"/>
                <a:gd name="T29" fmla="*/ 395 h 402"/>
                <a:gd name="T30" fmla="*/ 15 w 675"/>
                <a:gd name="T31" fmla="*/ 400 h 402"/>
                <a:gd name="T32" fmla="*/ 155 w 675"/>
                <a:gd name="T33" fmla="*/ 335 h 402"/>
                <a:gd name="T34" fmla="*/ 295 w 675"/>
                <a:gd name="T35" fmla="*/ 268 h 402"/>
                <a:gd name="T36" fmla="*/ 420 w 675"/>
                <a:gd name="T37" fmla="*/ 319 h 402"/>
                <a:gd name="T38" fmla="*/ 424 w 675"/>
                <a:gd name="T39" fmla="*/ 320 h 402"/>
                <a:gd name="T40" fmla="*/ 428 w 675"/>
                <a:gd name="T41" fmla="*/ 319 h 402"/>
                <a:gd name="T42" fmla="*/ 546 w 675"/>
                <a:gd name="T43" fmla="*/ 265 h 402"/>
                <a:gd name="T44" fmla="*/ 551 w 675"/>
                <a:gd name="T45" fmla="*/ 262 h 402"/>
                <a:gd name="T46" fmla="*/ 669 w 675"/>
                <a:gd name="T47" fmla="*/ 208 h 402"/>
                <a:gd name="T48" fmla="*/ 674 w 675"/>
                <a:gd name="T49" fmla="*/ 199 h 402"/>
                <a:gd name="T50" fmla="*/ 496 w 675"/>
                <a:gd name="T51" fmla="*/ 152 h 402"/>
                <a:gd name="T52" fmla="*/ 423 w 675"/>
                <a:gd name="T53" fmla="*/ 186 h 402"/>
                <a:gd name="T54" fmla="*/ 464 w 675"/>
                <a:gd name="T55" fmla="*/ 72 h 402"/>
                <a:gd name="T56" fmla="*/ 556 w 675"/>
                <a:gd name="T57" fmla="*/ 29 h 402"/>
                <a:gd name="T58" fmla="*/ 496 w 675"/>
                <a:gd name="T59" fmla="*/ 152 h 402"/>
                <a:gd name="T60" fmla="*/ 344 w 675"/>
                <a:gd name="T61" fmla="*/ 127 h 402"/>
                <a:gd name="T62" fmla="*/ 440 w 675"/>
                <a:gd name="T63" fmla="*/ 83 h 402"/>
                <a:gd name="T64" fmla="*/ 398 w 675"/>
                <a:gd name="T65" fmla="*/ 198 h 402"/>
                <a:gd name="T66" fmla="*/ 306 w 675"/>
                <a:gd name="T67" fmla="*/ 242 h 402"/>
                <a:gd name="T68" fmla="*/ 344 w 675"/>
                <a:gd name="T69" fmla="*/ 127 h 402"/>
                <a:gd name="T70" fmla="*/ 424 w 675"/>
                <a:gd name="T71" fmla="*/ 300 h 402"/>
                <a:gd name="T72" fmla="*/ 319 w 675"/>
                <a:gd name="T73" fmla="*/ 257 h 402"/>
                <a:gd name="T74" fmla="*/ 408 w 675"/>
                <a:gd name="T75" fmla="*/ 215 h 402"/>
                <a:gd name="T76" fmla="*/ 519 w 675"/>
                <a:gd name="T77" fmla="*/ 256 h 402"/>
                <a:gd name="T78" fmla="*/ 424 w 675"/>
                <a:gd name="T79" fmla="*/ 300 h 402"/>
                <a:gd name="T80" fmla="*/ 543 w 675"/>
                <a:gd name="T81" fmla="*/ 245 h 402"/>
                <a:gd name="T82" fmla="*/ 433 w 675"/>
                <a:gd name="T83" fmla="*/ 203 h 402"/>
                <a:gd name="T84" fmla="*/ 505 w 675"/>
                <a:gd name="T85" fmla="*/ 169 h 402"/>
                <a:gd name="T86" fmla="*/ 636 w 675"/>
                <a:gd name="T87" fmla="*/ 202 h 402"/>
                <a:gd name="T88" fmla="*/ 543 w 675"/>
                <a:gd name="T89" fmla="*/ 245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75" h="402">
                  <a:moveTo>
                    <a:pt x="674" y="199"/>
                  </a:moveTo>
                  <a:cubicBezTo>
                    <a:pt x="674" y="195"/>
                    <a:pt x="671" y="191"/>
                    <a:pt x="667" y="190"/>
                  </a:cubicBezTo>
                  <a:lnTo>
                    <a:pt x="518" y="153"/>
                  </a:lnTo>
                  <a:lnTo>
                    <a:pt x="518" y="152"/>
                  </a:lnTo>
                  <a:cubicBezTo>
                    <a:pt x="518" y="152"/>
                    <a:pt x="518" y="152"/>
                    <a:pt x="518" y="152"/>
                  </a:cubicBezTo>
                  <a:lnTo>
                    <a:pt x="585" y="14"/>
                  </a:lnTo>
                  <a:cubicBezTo>
                    <a:pt x="587" y="9"/>
                    <a:pt x="586" y="3"/>
                    <a:pt x="581" y="1"/>
                  </a:cubicBezTo>
                  <a:cubicBezTo>
                    <a:pt x="578" y="0"/>
                    <a:pt x="575" y="0"/>
                    <a:pt x="572" y="1"/>
                  </a:cubicBezTo>
                  <a:lnTo>
                    <a:pt x="332" y="111"/>
                  </a:lnTo>
                  <a:cubicBezTo>
                    <a:pt x="329" y="112"/>
                    <a:pt x="327" y="115"/>
                    <a:pt x="327" y="117"/>
                  </a:cubicBezTo>
                  <a:lnTo>
                    <a:pt x="282" y="253"/>
                  </a:lnTo>
                  <a:lnTo>
                    <a:pt x="282" y="254"/>
                  </a:lnTo>
                  <a:lnTo>
                    <a:pt x="146" y="318"/>
                  </a:lnTo>
                  <a:lnTo>
                    <a:pt x="6" y="383"/>
                  </a:lnTo>
                  <a:cubicBezTo>
                    <a:pt x="2" y="385"/>
                    <a:pt x="0" y="391"/>
                    <a:pt x="2" y="395"/>
                  </a:cubicBezTo>
                  <a:cubicBezTo>
                    <a:pt x="4" y="400"/>
                    <a:pt x="10" y="402"/>
                    <a:pt x="15" y="400"/>
                  </a:cubicBezTo>
                  <a:lnTo>
                    <a:pt x="155" y="335"/>
                  </a:lnTo>
                  <a:lnTo>
                    <a:pt x="295" y="268"/>
                  </a:lnTo>
                  <a:lnTo>
                    <a:pt x="420" y="319"/>
                  </a:lnTo>
                  <a:cubicBezTo>
                    <a:pt x="422" y="320"/>
                    <a:pt x="423" y="320"/>
                    <a:pt x="424" y="320"/>
                  </a:cubicBezTo>
                  <a:cubicBezTo>
                    <a:pt x="425" y="320"/>
                    <a:pt x="427" y="319"/>
                    <a:pt x="428" y="319"/>
                  </a:cubicBezTo>
                  <a:lnTo>
                    <a:pt x="546" y="265"/>
                  </a:lnTo>
                  <a:cubicBezTo>
                    <a:pt x="548" y="265"/>
                    <a:pt x="550" y="264"/>
                    <a:pt x="551" y="262"/>
                  </a:cubicBezTo>
                  <a:lnTo>
                    <a:pt x="669" y="208"/>
                  </a:lnTo>
                  <a:cubicBezTo>
                    <a:pt x="672" y="207"/>
                    <a:pt x="675" y="203"/>
                    <a:pt x="674" y="199"/>
                  </a:cubicBezTo>
                  <a:close/>
                  <a:moveTo>
                    <a:pt x="496" y="152"/>
                  </a:moveTo>
                  <a:lnTo>
                    <a:pt x="423" y="186"/>
                  </a:lnTo>
                  <a:lnTo>
                    <a:pt x="464" y="72"/>
                  </a:lnTo>
                  <a:lnTo>
                    <a:pt x="556" y="29"/>
                  </a:lnTo>
                  <a:lnTo>
                    <a:pt x="496" y="152"/>
                  </a:lnTo>
                  <a:close/>
                  <a:moveTo>
                    <a:pt x="344" y="127"/>
                  </a:moveTo>
                  <a:lnTo>
                    <a:pt x="440" y="83"/>
                  </a:lnTo>
                  <a:lnTo>
                    <a:pt x="398" y="198"/>
                  </a:lnTo>
                  <a:lnTo>
                    <a:pt x="306" y="242"/>
                  </a:lnTo>
                  <a:lnTo>
                    <a:pt x="344" y="127"/>
                  </a:lnTo>
                  <a:close/>
                  <a:moveTo>
                    <a:pt x="424" y="300"/>
                  </a:moveTo>
                  <a:lnTo>
                    <a:pt x="319" y="257"/>
                  </a:lnTo>
                  <a:lnTo>
                    <a:pt x="408" y="215"/>
                  </a:lnTo>
                  <a:lnTo>
                    <a:pt x="519" y="256"/>
                  </a:lnTo>
                  <a:lnTo>
                    <a:pt x="424" y="300"/>
                  </a:lnTo>
                  <a:close/>
                  <a:moveTo>
                    <a:pt x="543" y="245"/>
                  </a:moveTo>
                  <a:lnTo>
                    <a:pt x="433" y="203"/>
                  </a:lnTo>
                  <a:lnTo>
                    <a:pt x="505" y="169"/>
                  </a:lnTo>
                  <a:lnTo>
                    <a:pt x="636" y="202"/>
                  </a:lnTo>
                  <a:lnTo>
                    <a:pt x="543" y="245"/>
                  </a:lnTo>
                  <a:close/>
                </a:path>
              </a:pathLst>
            </a:custGeom>
            <a:noFill/>
            <a:ln w="4763" cap="flat">
              <a:solidFill>
                <a:srgbClr val="C9532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634B3877-1705-B749-FD93-84B1C75732B4}"/>
              </a:ext>
            </a:extLst>
          </p:cNvPr>
          <p:cNvGrpSpPr/>
          <p:nvPr userDrawn="1"/>
        </p:nvGrpSpPr>
        <p:grpSpPr>
          <a:xfrm>
            <a:off x="4361914" y="2216944"/>
            <a:ext cx="561066" cy="502351"/>
            <a:chOff x="11866576" y="5335909"/>
            <a:chExt cx="341839" cy="306066"/>
          </a:xfrm>
        </p:grpSpPr>
        <p:sp>
          <p:nvSpPr>
            <p:cNvPr id="154" name="Freeform 71">
              <a:extLst>
                <a:ext uri="{FF2B5EF4-FFF2-40B4-BE49-F238E27FC236}">
                  <a16:creationId xmlns:a16="http://schemas.microsoft.com/office/drawing/2014/main" id="{D9037D1B-64C1-0BA6-59FA-CA07249BC3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866576" y="5335909"/>
              <a:ext cx="341839" cy="306066"/>
            </a:xfrm>
            <a:custGeom>
              <a:avLst/>
              <a:gdLst>
                <a:gd name="T0" fmla="*/ 855 w 1122"/>
                <a:gd name="T1" fmla="*/ 129 h 1015"/>
                <a:gd name="T2" fmla="*/ 739 w 1122"/>
                <a:gd name="T3" fmla="*/ 61 h 1015"/>
                <a:gd name="T4" fmla="*/ 247 w 1122"/>
                <a:gd name="T5" fmla="*/ 95 h 1015"/>
                <a:gd name="T6" fmla="*/ 70 w 1122"/>
                <a:gd name="T7" fmla="*/ 446 h 1015"/>
                <a:gd name="T8" fmla="*/ 89 w 1122"/>
                <a:gd name="T9" fmla="*/ 584 h 1015"/>
                <a:gd name="T10" fmla="*/ 364 w 1122"/>
                <a:gd name="T11" fmla="*/ 988 h 1015"/>
                <a:gd name="T12" fmla="*/ 824 w 1122"/>
                <a:gd name="T13" fmla="*/ 1006 h 1015"/>
                <a:gd name="T14" fmla="*/ 1033 w 1122"/>
                <a:gd name="T15" fmla="*/ 584 h 1015"/>
                <a:gd name="T16" fmla="*/ 1052 w 1122"/>
                <a:gd name="T17" fmla="*/ 446 h 1015"/>
                <a:gd name="T18" fmla="*/ 719 w 1122"/>
                <a:gd name="T19" fmla="*/ 499 h 1015"/>
                <a:gd name="T20" fmla="*/ 710 w 1122"/>
                <a:gd name="T21" fmla="*/ 442 h 1015"/>
                <a:gd name="T22" fmla="*/ 824 w 1122"/>
                <a:gd name="T23" fmla="*/ 146 h 1015"/>
                <a:gd name="T24" fmla="*/ 661 w 1122"/>
                <a:gd name="T25" fmla="*/ 591 h 1015"/>
                <a:gd name="T26" fmla="*/ 586 w 1122"/>
                <a:gd name="T27" fmla="*/ 604 h 1015"/>
                <a:gd name="T28" fmla="*/ 544 w 1122"/>
                <a:gd name="T29" fmla="*/ 639 h 1015"/>
                <a:gd name="T30" fmla="*/ 499 w 1122"/>
                <a:gd name="T31" fmla="*/ 604 h 1015"/>
                <a:gd name="T32" fmla="*/ 474 w 1122"/>
                <a:gd name="T33" fmla="*/ 579 h 1015"/>
                <a:gd name="T34" fmla="*/ 438 w 1122"/>
                <a:gd name="T35" fmla="*/ 534 h 1015"/>
                <a:gd name="T36" fmla="*/ 481 w 1122"/>
                <a:gd name="T37" fmla="*/ 472 h 1015"/>
                <a:gd name="T38" fmla="*/ 486 w 1122"/>
                <a:gd name="T39" fmla="*/ 417 h 1015"/>
                <a:gd name="T40" fmla="*/ 544 w 1122"/>
                <a:gd name="T41" fmla="*/ 411 h 1015"/>
                <a:gd name="T42" fmla="*/ 579 w 1122"/>
                <a:gd name="T43" fmla="*/ 411 h 1015"/>
                <a:gd name="T44" fmla="*/ 635 w 1122"/>
                <a:gd name="T45" fmla="*/ 417 h 1015"/>
                <a:gd name="T46" fmla="*/ 647 w 1122"/>
                <a:gd name="T47" fmla="*/ 491 h 1015"/>
                <a:gd name="T48" fmla="*/ 684 w 1122"/>
                <a:gd name="T49" fmla="*/ 534 h 1015"/>
                <a:gd name="T50" fmla="*/ 649 w 1122"/>
                <a:gd name="T51" fmla="*/ 579 h 1015"/>
                <a:gd name="T52" fmla="*/ 365 w 1122"/>
                <a:gd name="T53" fmla="*/ 887 h 1015"/>
                <a:gd name="T54" fmla="*/ 508 w 1122"/>
                <a:gd name="T55" fmla="*/ 674 h 1015"/>
                <a:gd name="T56" fmla="*/ 616 w 1122"/>
                <a:gd name="T57" fmla="*/ 646 h 1015"/>
                <a:gd name="T58" fmla="*/ 383 w 1122"/>
                <a:gd name="T59" fmla="*/ 96 h 1015"/>
                <a:gd name="T60" fmla="*/ 614 w 1122"/>
                <a:gd name="T61" fmla="*/ 387 h 1015"/>
                <a:gd name="T62" fmla="*/ 508 w 1122"/>
                <a:gd name="T63" fmla="*/ 387 h 1015"/>
                <a:gd name="T64" fmla="*/ 806 w 1122"/>
                <a:gd name="T65" fmla="*/ 43 h 1015"/>
                <a:gd name="T66" fmla="*/ 771 w 1122"/>
                <a:gd name="T67" fmla="*/ 78 h 1015"/>
                <a:gd name="T68" fmla="*/ 351 w 1122"/>
                <a:gd name="T69" fmla="*/ 78 h 1015"/>
                <a:gd name="T70" fmla="*/ 316 w 1122"/>
                <a:gd name="T71" fmla="*/ 43 h 1015"/>
                <a:gd name="T72" fmla="*/ 468 w 1122"/>
                <a:gd name="T73" fmla="*/ 386 h 1015"/>
                <a:gd name="T74" fmla="*/ 403 w 1122"/>
                <a:gd name="T75" fmla="*/ 464 h 1015"/>
                <a:gd name="T76" fmla="*/ 119 w 1122"/>
                <a:gd name="T77" fmla="*/ 466 h 1015"/>
                <a:gd name="T78" fmla="*/ 70 w 1122"/>
                <a:gd name="T79" fmla="*/ 481 h 1015"/>
                <a:gd name="T80" fmla="*/ 35 w 1122"/>
                <a:gd name="T81" fmla="*/ 517 h 1015"/>
                <a:gd name="T82" fmla="*/ 403 w 1122"/>
                <a:gd name="T83" fmla="*/ 534 h 1015"/>
                <a:gd name="T84" fmla="*/ 412 w 1122"/>
                <a:gd name="T85" fmla="*/ 591 h 1015"/>
                <a:gd name="T86" fmla="*/ 297 w 1122"/>
                <a:gd name="T87" fmla="*/ 870 h 1015"/>
                <a:gd name="T88" fmla="*/ 281 w 1122"/>
                <a:gd name="T89" fmla="*/ 937 h 1015"/>
                <a:gd name="T90" fmla="*/ 316 w 1122"/>
                <a:gd name="T91" fmla="*/ 972 h 1015"/>
                <a:gd name="T92" fmla="*/ 806 w 1122"/>
                <a:gd name="T93" fmla="*/ 902 h 1015"/>
                <a:gd name="T94" fmla="*/ 825 w 1122"/>
                <a:gd name="T95" fmla="*/ 870 h 1015"/>
                <a:gd name="T96" fmla="*/ 710 w 1122"/>
                <a:gd name="T97" fmla="*/ 591 h 1015"/>
                <a:gd name="T98" fmla="*/ 719 w 1122"/>
                <a:gd name="T99" fmla="*/ 534 h 1015"/>
                <a:gd name="T100" fmla="*/ 825 w 1122"/>
                <a:gd name="T101" fmla="*/ 870 h 1015"/>
                <a:gd name="T102" fmla="*/ 1052 w 1122"/>
                <a:gd name="T103" fmla="*/ 481 h 1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22" h="1015">
                  <a:moveTo>
                    <a:pt x="1052" y="446"/>
                  </a:moveTo>
                  <a:cubicBezTo>
                    <a:pt x="1046" y="446"/>
                    <a:pt x="1040" y="447"/>
                    <a:pt x="1034" y="449"/>
                  </a:cubicBezTo>
                  <a:lnTo>
                    <a:pt x="855" y="129"/>
                  </a:lnTo>
                  <a:cubicBezTo>
                    <a:pt x="883" y="102"/>
                    <a:pt x="884" y="58"/>
                    <a:pt x="858" y="30"/>
                  </a:cubicBezTo>
                  <a:cubicBezTo>
                    <a:pt x="831" y="2"/>
                    <a:pt x="787" y="0"/>
                    <a:pt x="759" y="27"/>
                  </a:cubicBezTo>
                  <a:cubicBezTo>
                    <a:pt x="749" y="36"/>
                    <a:pt x="742" y="48"/>
                    <a:pt x="739" y="61"/>
                  </a:cubicBezTo>
                  <a:lnTo>
                    <a:pt x="383" y="61"/>
                  </a:lnTo>
                  <a:cubicBezTo>
                    <a:pt x="374" y="23"/>
                    <a:pt x="336" y="0"/>
                    <a:pt x="298" y="10"/>
                  </a:cubicBezTo>
                  <a:cubicBezTo>
                    <a:pt x="261" y="19"/>
                    <a:pt x="238" y="57"/>
                    <a:pt x="247" y="95"/>
                  </a:cubicBezTo>
                  <a:cubicBezTo>
                    <a:pt x="251" y="108"/>
                    <a:pt x="258" y="120"/>
                    <a:pt x="267" y="129"/>
                  </a:cubicBezTo>
                  <a:lnTo>
                    <a:pt x="88" y="449"/>
                  </a:lnTo>
                  <a:cubicBezTo>
                    <a:pt x="82" y="447"/>
                    <a:pt x="76" y="446"/>
                    <a:pt x="70" y="446"/>
                  </a:cubicBezTo>
                  <a:cubicBezTo>
                    <a:pt x="32" y="446"/>
                    <a:pt x="0" y="478"/>
                    <a:pt x="0" y="517"/>
                  </a:cubicBezTo>
                  <a:cubicBezTo>
                    <a:pt x="0" y="555"/>
                    <a:pt x="32" y="587"/>
                    <a:pt x="70" y="587"/>
                  </a:cubicBezTo>
                  <a:cubicBezTo>
                    <a:pt x="77" y="587"/>
                    <a:pt x="83" y="586"/>
                    <a:pt x="89" y="584"/>
                  </a:cubicBezTo>
                  <a:lnTo>
                    <a:pt x="266" y="887"/>
                  </a:lnTo>
                  <a:cubicBezTo>
                    <a:pt x="239" y="914"/>
                    <a:pt x="238" y="959"/>
                    <a:pt x="265" y="986"/>
                  </a:cubicBezTo>
                  <a:cubicBezTo>
                    <a:pt x="292" y="1014"/>
                    <a:pt x="337" y="1015"/>
                    <a:pt x="364" y="988"/>
                  </a:cubicBezTo>
                  <a:cubicBezTo>
                    <a:pt x="374" y="979"/>
                    <a:pt x="380" y="967"/>
                    <a:pt x="383" y="955"/>
                  </a:cubicBezTo>
                  <a:lnTo>
                    <a:pt x="739" y="955"/>
                  </a:lnTo>
                  <a:cubicBezTo>
                    <a:pt x="748" y="992"/>
                    <a:pt x="786" y="1015"/>
                    <a:pt x="824" y="1006"/>
                  </a:cubicBezTo>
                  <a:cubicBezTo>
                    <a:pt x="861" y="996"/>
                    <a:pt x="884" y="958"/>
                    <a:pt x="875" y="920"/>
                  </a:cubicBezTo>
                  <a:cubicBezTo>
                    <a:pt x="872" y="908"/>
                    <a:pt x="865" y="896"/>
                    <a:pt x="856" y="887"/>
                  </a:cubicBezTo>
                  <a:lnTo>
                    <a:pt x="1033" y="584"/>
                  </a:lnTo>
                  <a:cubicBezTo>
                    <a:pt x="1039" y="586"/>
                    <a:pt x="1045" y="587"/>
                    <a:pt x="1052" y="587"/>
                  </a:cubicBezTo>
                  <a:cubicBezTo>
                    <a:pt x="1090" y="587"/>
                    <a:pt x="1122" y="555"/>
                    <a:pt x="1122" y="517"/>
                  </a:cubicBezTo>
                  <a:cubicBezTo>
                    <a:pt x="1122" y="478"/>
                    <a:pt x="1090" y="446"/>
                    <a:pt x="1052" y="446"/>
                  </a:cubicBezTo>
                  <a:close/>
                  <a:moveTo>
                    <a:pt x="1003" y="466"/>
                  </a:moveTo>
                  <a:cubicBezTo>
                    <a:pt x="994" y="475"/>
                    <a:pt x="987" y="486"/>
                    <a:pt x="984" y="499"/>
                  </a:cubicBezTo>
                  <a:lnTo>
                    <a:pt x="719" y="499"/>
                  </a:lnTo>
                  <a:lnTo>
                    <a:pt x="719" y="464"/>
                  </a:lnTo>
                  <a:lnTo>
                    <a:pt x="688" y="464"/>
                  </a:lnTo>
                  <a:lnTo>
                    <a:pt x="710" y="442"/>
                  </a:lnTo>
                  <a:lnTo>
                    <a:pt x="654" y="386"/>
                  </a:lnTo>
                  <a:lnTo>
                    <a:pt x="789" y="146"/>
                  </a:lnTo>
                  <a:cubicBezTo>
                    <a:pt x="800" y="149"/>
                    <a:pt x="812" y="149"/>
                    <a:pt x="824" y="146"/>
                  </a:cubicBezTo>
                  <a:lnTo>
                    <a:pt x="1003" y="466"/>
                  </a:lnTo>
                  <a:close/>
                  <a:moveTo>
                    <a:pt x="649" y="579"/>
                  </a:moveTo>
                  <a:lnTo>
                    <a:pt x="661" y="591"/>
                  </a:lnTo>
                  <a:lnTo>
                    <a:pt x="636" y="616"/>
                  </a:lnTo>
                  <a:lnTo>
                    <a:pt x="623" y="604"/>
                  </a:lnTo>
                  <a:cubicBezTo>
                    <a:pt x="613" y="594"/>
                    <a:pt x="597" y="594"/>
                    <a:pt x="586" y="604"/>
                  </a:cubicBezTo>
                  <a:cubicBezTo>
                    <a:pt x="582" y="609"/>
                    <a:pt x="579" y="615"/>
                    <a:pt x="579" y="622"/>
                  </a:cubicBezTo>
                  <a:lnTo>
                    <a:pt x="579" y="639"/>
                  </a:lnTo>
                  <a:lnTo>
                    <a:pt x="544" y="639"/>
                  </a:lnTo>
                  <a:lnTo>
                    <a:pt x="544" y="622"/>
                  </a:lnTo>
                  <a:cubicBezTo>
                    <a:pt x="543" y="607"/>
                    <a:pt x="531" y="596"/>
                    <a:pt x="516" y="596"/>
                  </a:cubicBezTo>
                  <a:cubicBezTo>
                    <a:pt x="510" y="597"/>
                    <a:pt x="503" y="599"/>
                    <a:pt x="499" y="604"/>
                  </a:cubicBezTo>
                  <a:lnTo>
                    <a:pt x="487" y="616"/>
                  </a:lnTo>
                  <a:lnTo>
                    <a:pt x="462" y="591"/>
                  </a:lnTo>
                  <a:lnTo>
                    <a:pt x="474" y="579"/>
                  </a:lnTo>
                  <a:cubicBezTo>
                    <a:pt x="484" y="569"/>
                    <a:pt x="485" y="553"/>
                    <a:pt x="475" y="542"/>
                  </a:cubicBezTo>
                  <a:cubicBezTo>
                    <a:pt x="470" y="537"/>
                    <a:pt x="463" y="534"/>
                    <a:pt x="456" y="534"/>
                  </a:cubicBezTo>
                  <a:lnTo>
                    <a:pt x="438" y="534"/>
                  </a:lnTo>
                  <a:lnTo>
                    <a:pt x="438" y="499"/>
                  </a:lnTo>
                  <a:lnTo>
                    <a:pt x="456" y="499"/>
                  </a:lnTo>
                  <a:cubicBezTo>
                    <a:pt x="470" y="498"/>
                    <a:pt x="482" y="486"/>
                    <a:pt x="481" y="472"/>
                  </a:cubicBezTo>
                  <a:cubicBezTo>
                    <a:pt x="481" y="465"/>
                    <a:pt x="478" y="459"/>
                    <a:pt x="473" y="454"/>
                  </a:cubicBezTo>
                  <a:lnTo>
                    <a:pt x="461" y="442"/>
                  </a:lnTo>
                  <a:lnTo>
                    <a:pt x="486" y="417"/>
                  </a:lnTo>
                  <a:lnTo>
                    <a:pt x="498" y="429"/>
                  </a:lnTo>
                  <a:cubicBezTo>
                    <a:pt x="508" y="440"/>
                    <a:pt x="525" y="440"/>
                    <a:pt x="535" y="430"/>
                  </a:cubicBezTo>
                  <a:cubicBezTo>
                    <a:pt x="541" y="425"/>
                    <a:pt x="544" y="419"/>
                    <a:pt x="544" y="411"/>
                  </a:cubicBezTo>
                  <a:lnTo>
                    <a:pt x="544" y="394"/>
                  </a:lnTo>
                  <a:lnTo>
                    <a:pt x="579" y="394"/>
                  </a:lnTo>
                  <a:lnTo>
                    <a:pt x="579" y="411"/>
                  </a:lnTo>
                  <a:cubicBezTo>
                    <a:pt x="579" y="426"/>
                    <a:pt x="591" y="437"/>
                    <a:pt x="606" y="437"/>
                  </a:cubicBezTo>
                  <a:cubicBezTo>
                    <a:pt x="612" y="436"/>
                    <a:pt x="619" y="434"/>
                    <a:pt x="623" y="429"/>
                  </a:cubicBezTo>
                  <a:lnTo>
                    <a:pt x="635" y="417"/>
                  </a:lnTo>
                  <a:lnTo>
                    <a:pt x="660" y="442"/>
                  </a:lnTo>
                  <a:lnTo>
                    <a:pt x="648" y="454"/>
                  </a:lnTo>
                  <a:cubicBezTo>
                    <a:pt x="638" y="464"/>
                    <a:pt x="637" y="480"/>
                    <a:pt x="647" y="491"/>
                  </a:cubicBezTo>
                  <a:cubicBezTo>
                    <a:pt x="652" y="496"/>
                    <a:pt x="659" y="499"/>
                    <a:pt x="666" y="499"/>
                  </a:cubicBezTo>
                  <a:lnTo>
                    <a:pt x="684" y="499"/>
                  </a:lnTo>
                  <a:lnTo>
                    <a:pt x="684" y="534"/>
                  </a:lnTo>
                  <a:lnTo>
                    <a:pt x="666" y="534"/>
                  </a:lnTo>
                  <a:cubicBezTo>
                    <a:pt x="652" y="535"/>
                    <a:pt x="640" y="547"/>
                    <a:pt x="641" y="561"/>
                  </a:cubicBezTo>
                  <a:cubicBezTo>
                    <a:pt x="641" y="568"/>
                    <a:pt x="644" y="574"/>
                    <a:pt x="649" y="579"/>
                  </a:cubicBezTo>
                  <a:close/>
                  <a:moveTo>
                    <a:pt x="739" y="920"/>
                  </a:moveTo>
                  <a:lnTo>
                    <a:pt x="383" y="920"/>
                  </a:lnTo>
                  <a:cubicBezTo>
                    <a:pt x="380" y="907"/>
                    <a:pt x="374" y="896"/>
                    <a:pt x="365" y="887"/>
                  </a:cubicBezTo>
                  <a:lnTo>
                    <a:pt x="505" y="646"/>
                  </a:lnTo>
                  <a:lnTo>
                    <a:pt x="508" y="643"/>
                  </a:lnTo>
                  <a:lnTo>
                    <a:pt x="508" y="674"/>
                  </a:lnTo>
                  <a:lnTo>
                    <a:pt x="613" y="674"/>
                  </a:lnTo>
                  <a:lnTo>
                    <a:pt x="613" y="643"/>
                  </a:lnTo>
                  <a:lnTo>
                    <a:pt x="616" y="646"/>
                  </a:lnTo>
                  <a:lnTo>
                    <a:pt x="756" y="887"/>
                  </a:lnTo>
                  <a:cubicBezTo>
                    <a:pt x="748" y="896"/>
                    <a:pt x="742" y="907"/>
                    <a:pt x="739" y="920"/>
                  </a:cubicBezTo>
                  <a:close/>
                  <a:moveTo>
                    <a:pt x="383" y="96"/>
                  </a:moveTo>
                  <a:lnTo>
                    <a:pt x="739" y="96"/>
                  </a:lnTo>
                  <a:cubicBezTo>
                    <a:pt x="742" y="109"/>
                    <a:pt x="749" y="120"/>
                    <a:pt x="758" y="129"/>
                  </a:cubicBezTo>
                  <a:lnTo>
                    <a:pt x="614" y="387"/>
                  </a:lnTo>
                  <a:lnTo>
                    <a:pt x="614" y="359"/>
                  </a:lnTo>
                  <a:lnTo>
                    <a:pt x="508" y="359"/>
                  </a:lnTo>
                  <a:lnTo>
                    <a:pt x="508" y="387"/>
                  </a:lnTo>
                  <a:lnTo>
                    <a:pt x="364" y="129"/>
                  </a:lnTo>
                  <a:cubicBezTo>
                    <a:pt x="373" y="120"/>
                    <a:pt x="380" y="109"/>
                    <a:pt x="383" y="96"/>
                  </a:cubicBezTo>
                  <a:close/>
                  <a:moveTo>
                    <a:pt x="806" y="43"/>
                  </a:moveTo>
                  <a:cubicBezTo>
                    <a:pt x="826" y="43"/>
                    <a:pt x="841" y="59"/>
                    <a:pt x="841" y="78"/>
                  </a:cubicBezTo>
                  <a:cubicBezTo>
                    <a:pt x="841" y="98"/>
                    <a:pt x="826" y="113"/>
                    <a:pt x="806" y="113"/>
                  </a:cubicBezTo>
                  <a:cubicBezTo>
                    <a:pt x="787" y="113"/>
                    <a:pt x="771" y="98"/>
                    <a:pt x="771" y="78"/>
                  </a:cubicBezTo>
                  <a:cubicBezTo>
                    <a:pt x="771" y="59"/>
                    <a:pt x="787" y="43"/>
                    <a:pt x="806" y="43"/>
                  </a:cubicBezTo>
                  <a:close/>
                  <a:moveTo>
                    <a:pt x="316" y="43"/>
                  </a:moveTo>
                  <a:cubicBezTo>
                    <a:pt x="335" y="43"/>
                    <a:pt x="351" y="59"/>
                    <a:pt x="351" y="78"/>
                  </a:cubicBezTo>
                  <a:cubicBezTo>
                    <a:pt x="351" y="98"/>
                    <a:pt x="335" y="113"/>
                    <a:pt x="316" y="113"/>
                  </a:cubicBezTo>
                  <a:cubicBezTo>
                    <a:pt x="296" y="113"/>
                    <a:pt x="281" y="98"/>
                    <a:pt x="281" y="78"/>
                  </a:cubicBezTo>
                  <a:cubicBezTo>
                    <a:pt x="281" y="59"/>
                    <a:pt x="296" y="43"/>
                    <a:pt x="316" y="43"/>
                  </a:cubicBezTo>
                  <a:close/>
                  <a:moveTo>
                    <a:pt x="298" y="146"/>
                  </a:moveTo>
                  <a:cubicBezTo>
                    <a:pt x="310" y="149"/>
                    <a:pt x="322" y="149"/>
                    <a:pt x="333" y="146"/>
                  </a:cubicBezTo>
                  <a:lnTo>
                    <a:pt x="468" y="386"/>
                  </a:lnTo>
                  <a:lnTo>
                    <a:pt x="412" y="442"/>
                  </a:lnTo>
                  <a:lnTo>
                    <a:pt x="434" y="464"/>
                  </a:lnTo>
                  <a:lnTo>
                    <a:pt x="403" y="464"/>
                  </a:lnTo>
                  <a:lnTo>
                    <a:pt x="403" y="499"/>
                  </a:lnTo>
                  <a:lnTo>
                    <a:pt x="138" y="499"/>
                  </a:lnTo>
                  <a:cubicBezTo>
                    <a:pt x="135" y="486"/>
                    <a:pt x="128" y="475"/>
                    <a:pt x="119" y="466"/>
                  </a:cubicBezTo>
                  <a:lnTo>
                    <a:pt x="298" y="146"/>
                  </a:lnTo>
                  <a:close/>
                  <a:moveTo>
                    <a:pt x="35" y="517"/>
                  </a:moveTo>
                  <a:cubicBezTo>
                    <a:pt x="35" y="497"/>
                    <a:pt x="51" y="481"/>
                    <a:pt x="70" y="481"/>
                  </a:cubicBezTo>
                  <a:cubicBezTo>
                    <a:pt x="90" y="481"/>
                    <a:pt x="105" y="497"/>
                    <a:pt x="105" y="517"/>
                  </a:cubicBezTo>
                  <a:cubicBezTo>
                    <a:pt x="105" y="536"/>
                    <a:pt x="90" y="552"/>
                    <a:pt x="70" y="552"/>
                  </a:cubicBezTo>
                  <a:cubicBezTo>
                    <a:pt x="51" y="552"/>
                    <a:pt x="35" y="536"/>
                    <a:pt x="35" y="517"/>
                  </a:cubicBezTo>
                  <a:close/>
                  <a:moveTo>
                    <a:pt x="120" y="566"/>
                  </a:moveTo>
                  <a:cubicBezTo>
                    <a:pt x="128" y="557"/>
                    <a:pt x="134" y="546"/>
                    <a:pt x="137" y="534"/>
                  </a:cubicBezTo>
                  <a:lnTo>
                    <a:pt x="403" y="534"/>
                  </a:lnTo>
                  <a:lnTo>
                    <a:pt x="403" y="569"/>
                  </a:lnTo>
                  <a:lnTo>
                    <a:pt x="434" y="569"/>
                  </a:lnTo>
                  <a:lnTo>
                    <a:pt x="412" y="591"/>
                  </a:lnTo>
                  <a:lnTo>
                    <a:pt x="466" y="645"/>
                  </a:lnTo>
                  <a:lnTo>
                    <a:pt x="335" y="870"/>
                  </a:lnTo>
                  <a:cubicBezTo>
                    <a:pt x="322" y="866"/>
                    <a:pt x="309" y="866"/>
                    <a:pt x="297" y="870"/>
                  </a:cubicBezTo>
                  <a:lnTo>
                    <a:pt x="120" y="566"/>
                  </a:lnTo>
                  <a:close/>
                  <a:moveTo>
                    <a:pt x="316" y="972"/>
                  </a:moveTo>
                  <a:cubicBezTo>
                    <a:pt x="296" y="972"/>
                    <a:pt x="281" y="956"/>
                    <a:pt x="281" y="937"/>
                  </a:cubicBezTo>
                  <a:cubicBezTo>
                    <a:pt x="281" y="918"/>
                    <a:pt x="296" y="902"/>
                    <a:pt x="316" y="902"/>
                  </a:cubicBezTo>
                  <a:cubicBezTo>
                    <a:pt x="335" y="902"/>
                    <a:pt x="351" y="918"/>
                    <a:pt x="351" y="937"/>
                  </a:cubicBezTo>
                  <a:cubicBezTo>
                    <a:pt x="351" y="956"/>
                    <a:pt x="335" y="972"/>
                    <a:pt x="316" y="972"/>
                  </a:cubicBezTo>
                  <a:close/>
                  <a:moveTo>
                    <a:pt x="806" y="972"/>
                  </a:moveTo>
                  <a:cubicBezTo>
                    <a:pt x="787" y="972"/>
                    <a:pt x="771" y="956"/>
                    <a:pt x="771" y="937"/>
                  </a:cubicBezTo>
                  <a:cubicBezTo>
                    <a:pt x="771" y="918"/>
                    <a:pt x="787" y="902"/>
                    <a:pt x="806" y="902"/>
                  </a:cubicBezTo>
                  <a:cubicBezTo>
                    <a:pt x="826" y="902"/>
                    <a:pt x="841" y="918"/>
                    <a:pt x="841" y="937"/>
                  </a:cubicBezTo>
                  <a:cubicBezTo>
                    <a:pt x="841" y="956"/>
                    <a:pt x="826" y="972"/>
                    <a:pt x="806" y="972"/>
                  </a:cubicBezTo>
                  <a:close/>
                  <a:moveTo>
                    <a:pt x="825" y="870"/>
                  </a:moveTo>
                  <a:cubicBezTo>
                    <a:pt x="813" y="866"/>
                    <a:pt x="800" y="866"/>
                    <a:pt x="787" y="870"/>
                  </a:cubicBezTo>
                  <a:lnTo>
                    <a:pt x="656" y="645"/>
                  </a:lnTo>
                  <a:lnTo>
                    <a:pt x="710" y="591"/>
                  </a:lnTo>
                  <a:lnTo>
                    <a:pt x="688" y="569"/>
                  </a:lnTo>
                  <a:lnTo>
                    <a:pt x="719" y="569"/>
                  </a:lnTo>
                  <a:lnTo>
                    <a:pt x="719" y="534"/>
                  </a:lnTo>
                  <a:lnTo>
                    <a:pt x="984" y="534"/>
                  </a:lnTo>
                  <a:cubicBezTo>
                    <a:pt x="987" y="546"/>
                    <a:pt x="993" y="557"/>
                    <a:pt x="1002" y="566"/>
                  </a:cubicBezTo>
                  <a:lnTo>
                    <a:pt x="825" y="870"/>
                  </a:lnTo>
                  <a:close/>
                  <a:moveTo>
                    <a:pt x="1052" y="552"/>
                  </a:moveTo>
                  <a:cubicBezTo>
                    <a:pt x="1032" y="552"/>
                    <a:pt x="1017" y="536"/>
                    <a:pt x="1017" y="517"/>
                  </a:cubicBezTo>
                  <a:cubicBezTo>
                    <a:pt x="1017" y="497"/>
                    <a:pt x="1032" y="481"/>
                    <a:pt x="1052" y="481"/>
                  </a:cubicBezTo>
                  <a:cubicBezTo>
                    <a:pt x="1071" y="481"/>
                    <a:pt x="1087" y="497"/>
                    <a:pt x="1087" y="517"/>
                  </a:cubicBezTo>
                  <a:cubicBezTo>
                    <a:pt x="1087" y="536"/>
                    <a:pt x="1071" y="552"/>
                    <a:pt x="1052" y="552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72">
              <a:extLst>
                <a:ext uri="{FF2B5EF4-FFF2-40B4-BE49-F238E27FC236}">
                  <a16:creationId xmlns:a16="http://schemas.microsoft.com/office/drawing/2014/main" id="{A5881125-69F6-D8A7-5F50-65908A2538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21595" y="5476355"/>
              <a:ext cx="31799" cy="31799"/>
            </a:xfrm>
            <a:custGeom>
              <a:avLst/>
              <a:gdLst>
                <a:gd name="T0" fmla="*/ 53 w 106"/>
                <a:gd name="T1" fmla="*/ 0 h 105"/>
                <a:gd name="T2" fmla="*/ 0 w 106"/>
                <a:gd name="T3" fmla="*/ 52 h 105"/>
                <a:gd name="T4" fmla="*/ 53 w 106"/>
                <a:gd name="T5" fmla="*/ 105 h 105"/>
                <a:gd name="T6" fmla="*/ 106 w 106"/>
                <a:gd name="T7" fmla="*/ 52 h 105"/>
                <a:gd name="T8" fmla="*/ 53 w 106"/>
                <a:gd name="T9" fmla="*/ 0 h 105"/>
                <a:gd name="T10" fmla="*/ 53 w 106"/>
                <a:gd name="T11" fmla="*/ 70 h 105"/>
                <a:gd name="T12" fmla="*/ 36 w 106"/>
                <a:gd name="T13" fmla="*/ 52 h 105"/>
                <a:gd name="T14" fmla="*/ 53 w 106"/>
                <a:gd name="T15" fmla="*/ 35 h 105"/>
                <a:gd name="T16" fmla="*/ 71 w 106"/>
                <a:gd name="T17" fmla="*/ 52 h 105"/>
                <a:gd name="T18" fmla="*/ 53 w 106"/>
                <a:gd name="T19" fmla="*/ 7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5">
                  <a:moveTo>
                    <a:pt x="53" y="0"/>
                  </a:moveTo>
                  <a:cubicBezTo>
                    <a:pt x="24" y="0"/>
                    <a:pt x="0" y="23"/>
                    <a:pt x="0" y="52"/>
                  </a:cubicBezTo>
                  <a:cubicBezTo>
                    <a:pt x="0" y="82"/>
                    <a:pt x="24" y="105"/>
                    <a:pt x="53" y="105"/>
                  </a:cubicBezTo>
                  <a:cubicBezTo>
                    <a:pt x="82" y="105"/>
                    <a:pt x="106" y="82"/>
                    <a:pt x="106" y="52"/>
                  </a:cubicBezTo>
                  <a:cubicBezTo>
                    <a:pt x="106" y="23"/>
                    <a:pt x="82" y="0"/>
                    <a:pt x="53" y="0"/>
                  </a:cubicBezTo>
                  <a:close/>
                  <a:moveTo>
                    <a:pt x="53" y="70"/>
                  </a:moveTo>
                  <a:cubicBezTo>
                    <a:pt x="43" y="70"/>
                    <a:pt x="36" y="62"/>
                    <a:pt x="36" y="52"/>
                  </a:cubicBezTo>
                  <a:cubicBezTo>
                    <a:pt x="36" y="43"/>
                    <a:pt x="43" y="35"/>
                    <a:pt x="53" y="35"/>
                  </a:cubicBezTo>
                  <a:cubicBezTo>
                    <a:pt x="63" y="35"/>
                    <a:pt x="71" y="43"/>
                    <a:pt x="71" y="52"/>
                  </a:cubicBezTo>
                  <a:cubicBezTo>
                    <a:pt x="71" y="62"/>
                    <a:pt x="63" y="70"/>
                    <a:pt x="53" y="70"/>
                  </a:cubicBezTo>
                  <a:close/>
                </a:path>
              </a:pathLst>
            </a:custGeom>
            <a:solidFill>
              <a:srgbClr val="C953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FFE2F60-BEEF-9D2E-FE9D-EB7136FAF3BB}"/>
              </a:ext>
            </a:extLst>
          </p:cNvPr>
          <p:cNvGrpSpPr/>
          <p:nvPr userDrawn="1"/>
        </p:nvGrpSpPr>
        <p:grpSpPr>
          <a:xfrm>
            <a:off x="4375498" y="846484"/>
            <a:ext cx="2776857" cy="4552604"/>
            <a:chOff x="8027146" y="26146"/>
            <a:chExt cx="4165601" cy="6829425"/>
          </a:xfrm>
          <a:solidFill>
            <a:schemeClr val="accent2"/>
          </a:solidFill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781244F9-AF12-2108-B44A-63A783DBFB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27146" y="26146"/>
              <a:ext cx="2538413" cy="4027488"/>
            </a:xfrm>
            <a:custGeom>
              <a:avLst/>
              <a:gdLst>
                <a:gd name="T0" fmla="*/ 5996 w 7798"/>
                <a:gd name="T1" fmla="*/ 6531 h 12383"/>
                <a:gd name="T2" fmla="*/ 7691 w 7798"/>
                <a:gd name="T3" fmla="*/ 2801 h 12383"/>
                <a:gd name="T4" fmla="*/ 6098 w 7798"/>
                <a:gd name="T5" fmla="*/ 0 h 12383"/>
                <a:gd name="T6" fmla="*/ 2099 w 7798"/>
                <a:gd name="T7" fmla="*/ 0 h 12383"/>
                <a:gd name="T8" fmla="*/ 303 w 7798"/>
                <a:gd name="T9" fmla="*/ 3015 h 12383"/>
                <a:gd name="T10" fmla="*/ 982 w 7798"/>
                <a:gd name="T11" fmla="*/ 3908 h 12383"/>
                <a:gd name="T12" fmla="*/ 1713 w 7798"/>
                <a:gd name="T13" fmla="*/ 3069 h 12383"/>
                <a:gd name="T14" fmla="*/ 3640 w 7798"/>
                <a:gd name="T15" fmla="*/ 1374 h 12383"/>
                <a:gd name="T16" fmla="*/ 5460 w 7798"/>
                <a:gd name="T17" fmla="*/ 3390 h 12383"/>
                <a:gd name="T18" fmla="*/ 3979 w 7798"/>
                <a:gd name="T19" fmla="*/ 6531 h 12383"/>
                <a:gd name="T20" fmla="*/ 250 w 7798"/>
                <a:gd name="T21" fmla="*/ 11438 h 12383"/>
                <a:gd name="T22" fmla="*/ 0 w 7798"/>
                <a:gd name="T23" fmla="*/ 11973 h 12383"/>
                <a:gd name="T24" fmla="*/ 535 w 7798"/>
                <a:gd name="T25" fmla="*/ 12383 h 12383"/>
                <a:gd name="T26" fmla="*/ 7441 w 7798"/>
                <a:gd name="T27" fmla="*/ 12383 h 12383"/>
                <a:gd name="T28" fmla="*/ 7798 w 7798"/>
                <a:gd name="T29" fmla="*/ 11991 h 12383"/>
                <a:gd name="T30" fmla="*/ 7798 w 7798"/>
                <a:gd name="T31" fmla="*/ 10706 h 12383"/>
                <a:gd name="T32" fmla="*/ 7387 w 7798"/>
                <a:gd name="T33" fmla="*/ 10331 h 12383"/>
                <a:gd name="T34" fmla="*/ 2998 w 7798"/>
                <a:gd name="T35" fmla="*/ 10331 h 12383"/>
                <a:gd name="T36" fmla="*/ 5996 w 7798"/>
                <a:gd name="T37" fmla="*/ 6531 h 1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98" h="12383">
                  <a:moveTo>
                    <a:pt x="5996" y="6531"/>
                  </a:moveTo>
                  <a:cubicBezTo>
                    <a:pt x="6745" y="5549"/>
                    <a:pt x="7691" y="4300"/>
                    <a:pt x="7691" y="2801"/>
                  </a:cubicBezTo>
                  <a:cubicBezTo>
                    <a:pt x="7691" y="1684"/>
                    <a:pt x="7133" y="606"/>
                    <a:pt x="6098" y="0"/>
                  </a:cubicBezTo>
                  <a:lnTo>
                    <a:pt x="2099" y="0"/>
                  </a:lnTo>
                  <a:cubicBezTo>
                    <a:pt x="906" y="674"/>
                    <a:pt x="303" y="1916"/>
                    <a:pt x="303" y="3015"/>
                  </a:cubicBezTo>
                  <a:cubicBezTo>
                    <a:pt x="303" y="3622"/>
                    <a:pt x="607" y="3908"/>
                    <a:pt x="982" y="3908"/>
                  </a:cubicBezTo>
                  <a:cubicBezTo>
                    <a:pt x="1481" y="3908"/>
                    <a:pt x="1606" y="3461"/>
                    <a:pt x="1713" y="3069"/>
                  </a:cubicBezTo>
                  <a:cubicBezTo>
                    <a:pt x="1999" y="2070"/>
                    <a:pt x="2587" y="1374"/>
                    <a:pt x="3640" y="1374"/>
                  </a:cubicBezTo>
                  <a:cubicBezTo>
                    <a:pt x="4764" y="1374"/>
                    <a:pt x="5460" y="2319"/>
                    <a:pt x="5460" y="3390"/>
                  </a:cubicBezTo>
                  <a:cubicBezTo>
                    <a:pt x="5460" y="4479"/>
                    <a:pt x="4854" y="5335"/>
                    <a:pt x="3979" y="6531"/>
                  </a:cubicBezTo>
                  <a:lnTo>
                    <a:pt x="250" y="11438"/>
                  </a:lnTo>
                  <a:cubicBezTo>
                    <a:pt x="125" y="11616"/>
                    <a:pt x="0" y="11777"/>
                    <a:pt x="0" y="11973"/>
                  </a:cubicBezTo>
                  <a:cubicBezTo>
                    <a:pt x="0" y="12383"/>
                    <a:pt x="357" y="12383"/>
                    <a:pt x="535" y="12383"/>
                  </a:cubicBezTo>
                  <a:lnTo>
                    <a:pt x="7441" y="12383"/>
                  </a:lnTo>
                  <a:cubicBezTo>
                    <a:pt x="7762" y="12383"/>
                    <a:pt x="7798" y="12294"/>
                    <a:pt x="7798" y="11991"/>
                  </a:cubicBezTo>
                  <a:lnTo>
                    <a:pt x="7798" y="10706"/>
                  </a:lnTo>
                  <a:cubicBezTo>
                    <a:pt x="7798" y="10385"/>
                    <a:pt x="7709" y="10331"/>
                    <a:pt x="7387" y="10331"/>
                  </a:cubicBezTo>
                  <a:lnTo>
                    <a:pt x="2998" y="10331"/>
                  </a:lnTo>
                  <a:lnTo>
                    <a:pt x="5996" y="65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C1A52E38-1369-3967-65DD-008994D78F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898809" y="2762996"/>
              <a:ext cx="2293938" cy="4092575"/>
            </a:xfrm>
            <a:custGeom>
              <a:avLst/>
              <a:gdLst>
                <a:gd name="T0" fmla="*/ 5478 w 7049"/>
                <a:gd name="T1" fmla="*/ 5675 h 12582"/>
                <a:gd name="T2" fmla="*/ 7049 w 7049"/>
                <a:gd name="T3" fmla="*/ 4115 h 12582"/>
                <a:gd name="T4" fmla="*/ 7049 w 7049"/>
                <a:gd name="T5" fmla="*/ 1697 h 12582"/>
                <a:gd name="T6" fmla="*/ 3944 w 7049"/>
                <a:gd name="T7" fmla="*/ 0 h 12582"/>
                <a:gd name="T8" fmla="*/ 339 w 7049"/>
                <a:gd name="T9" fmla="*/ 2980 h 12582"/>
                <a:gd name="T10" fmla="*/ 964 w 7049"/>
                <a:gd name="T11" fmla="*/ 3765 h 12582"/>
                <a:gd name="T12" fmla="*/ 1677 w 7049"/>
                <a:gd name="T13" fmla="*/ 3069 h 12582"/>
                <a:gd name="T14" fmla="*/ 3462 w 7049"/>
                <a:gd name="T15" fmla="*/ 1731 h 12582"/>
                <a:gd name="T16" fmla="*/ 5139 w 7049"/>
                <a:gd name="T17" fmla="*/ 3444 h 12582"/>
                <a:gd name="T18" fmla="*/ 2837 w 7049"/>
                <a:gd name="T19" fmla="*/ 5835 h 12582"/>
                <a:gd name="T20" fmla="*/ 2320 w 7049"/>
                <a:gd name="T21" fmla="*/ 6388 h 12582"/>
                <a:gd name="T22" fmla="*/ 2891 w 7049"/>
                <a:gd name="T23" fmla="*/ 6924 h 12582"/>
                <a:gd name="T24" fmla="*/ 5746 w 7049"/>
                <a:gd name="T25" fmla="*/ 9761 h 12582"/>
                <a:gd name="T26" fmla="*/ 3944 w 7049"/>
                <a:gd name="T27" fmla="*/ 11706 h 12582"/>
                <a:gd name="T28" fmla="*/ 1945 w 7049"/>
                <a:gd name="T29" fmla="*/ 10189 h 12582"/>
                <a:gd name="T30" fmla="*/ 982 w 7049"/>
                <a:gd name="T31" fmla="*/ 9511 h 12582"/>
                <a:gd name="T32" fmla="*/ 0 w 7049"/>
                <a:gd name="T33" fmla="*/ 10564 h 12582"/>
                <a:gd name="T34" fmla="*/ 1409 w 7049"/>
                <a:gd name="T35" fmla="*/ 12582 h 12582"/>
                <a:gd name="T36" fmla="*/ 6182 w 7049"/>
                <a:gd name="T37" fmla="*/ 12582 h 12582"/>
                <a:gd name="T38" fmla="*/ 7049 w 7049"/>
                <a:gd name="T39" fmla="*/ 11839 h 12582"/>
                <a:gd name="T40" fmla="*/ 7049 w 7049"/>
                <a:gd name="T41" fmla="*/ 6837 h 12582"/>
                <a:gd name="T42" fmla="*/ 6888 w 7049"/>
                <a:gd name="T43" fmla="*/ 6656 h 12582"/>
                <a:gd name="T44" fmla="*/ 5478 w 7049"/>
                <a:gd name="T45" fmla="*/ 5675 h 12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49" h="12582">
                  <a:moveTo>
                    <a:pt x="5478" y="5675"/>
                  </a:moveTo>
                  <a:cubicBezTo>
                    <a:pt x="5873" y="5432"/>
                    <a:pt x="6642" y="4962"/>
                    <a:pt x="7049" y="4115"/>
                  </a:cubicBezTo>
                  <a:lnTo>
                    <a:pt x="7049" y="1697"/>
                  </a:lnTo>
                  <a:cubicBezTo>
                    <a:pt x="6562" y="677"/>
                    <a:pt x="5441" y="0"/>
                    <a:pt x="3944" y="0"/>
                  </a:cubicBezTo>
                  <a:cubicBezTo>
                    <a:pt x="1481" y="0"/>
                    <a:pt x="339" y="1802"/>
                    <a:pt x="339" y="2980"/>
                  </a:cubicBezTo>
                  <a:cubicBezTo>
                    <a:pt x="339" y="3515"/>
                    <a:pt x="660" y="3765"/>
                    <a:pt x="964" y="3765"/>
                  </a:cubicBezTo>
                  <a:cubicBezTo>
                    <a:pt x="1356" y="3765"/>
                    <a:pt x="1499" y="3444"/>
                    <a:pt x="1677" y="3069"/>
                  </a:cubicBezTo>
                  <a:cubicBezTo>
                    <a:pt x="1945" y="2516"/>
                    <a:pt x="2338" y="1731"/>
                    <a:pt x="3462" y="1731"/>
                  </a:cubicBezTo>
                  <a:cubicBezTo>
                    <a:pt x="4515" y="1731"/>
                    <a:pt x="5139" y="2534"/>
                    <a:pt x="5139" y="3444"/>
                  </a:cubicBezTo>
                  <a:cubicBezTo>
                    <a:pt x="5139" y="4907"/>
                    <a:pt x="3801" y="5443"/>
                    <a:pt x="2837" y="5835"/>
                  </a:cubicBezTo>
                  <a:cubicBezTo>
                    <a:pt x="2570" y="5960"/>
                    <a:pt x="2320" y="6067"/>
                    <a:pt x="2320" y="6388"/>
                  </a:cubicBezTo>
                  <a:cubicBezTo>
                    <a:pt x="2320" y="6745"/>
                    <a:pt x="2605" y="6834"/>
                    <a:pt x="2891" y="6924"/>
                  </a:cubicBezTo>
                  <a:cubicBezTo>
                    <a:pt x="4532" y="7405"/>
                    <a:pt x="5746" y="8226"/>
                    <a:pt x="5746" y="9761"/>
                  </a:cubicBezTo>
                  <a:cubicBezTo>
                    <a:pt x="5746" y="10814"/>
                    <a:pt x="5068" y="11706"/>
                    <a:pt x="3944" y="11706"/>
                  </a:cubicBezTo>
                  <a:cubicBezTo>
                    <a:pt x="2819" y="11706"/>
                    <a:pt x="2373" y="10903"/>
                    <a:pt x="1945" y="10189"/>
                  </a:cubicBezTo>
                  <a:cubicBezTo>
                    <a:pt x="1784" y="9904"/>
                    <a:pt x="1535" y="9511"/>
                    <a:pt x="982" y="9511"/>
                  </a:cubicBezTo>
                  <a:cubicBezTo>
                    <a:pt x="482" y="9511"/>
                    <a:pt x="0" y="9939"/>
                    <a:pt x="0" y="10564"/>
                  </a:cubicBezTo>
                  <a:cubicBezTo>
                    <a:pt x="0" y="11270"/>
                    <a:pt x="516" y="12056"/>
                    <a:pt x="1409" y="12582"/>
                  </a:cubicBezTo>
                  <a:lnTo>
                    <a:pt x="6182" y="12582"/>
                  </a:lnTo>
                  <a:cubicBezTo>
                    <a:pt x="6526" y="12373"/>
                    <a:pt x="6813" y="12120"/>
                    <a:pt x="7049" y="11839"/>
                  </a:cubicBezTo>
                  <a:lnTo>
                    <a:pt x="7049" y="6837"/>
                  </a:lnTo>
                  <a:cubicBezTo>
                    <a:pt x="6998" y="6776"/>
                    <a:pt x="6944" y="6716"/>
                    <a:pt x="6888" y="6656"/>
                  </a:cubicBezTo>
                  <a:cubicBezTo>
                    <a:pt x="6335" y="6085"/>
                    <a:pt x="5817" y="5835"/>
                    <a:pt x="5478" y="56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68CD612-AA95-54AB-A687-B1406464870E}"/>
              </a:ext>
            </a:extLst>
          </p:cNvPr>
          <p:cNvGrpSpPr/>
          <p:nvPr userDrawn="1"/>
        </p:nvGrpSpPr>
        <p:grpSpPr>
          <a:xfrm>
            <a:off x="62119" y="2333140"/>
            <a:ext cx="9540671" cy="4296260"/>
            <a:chOff x="222815" y="1450273"/>
            <a:chExt cx="11995587" cy="5401733"/>
          </a:xfrm>
          <a:solidFill>
            <a:schemeClr val="accent3"/>
          </a:solidFill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6F91359C-0C59-3AB6-CE23-C17A6C4F7C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53825" y="3730854"/>
              <a:ext cx="3429886" cy="3121152"/>
            </a:xfrm>
            <a:custGeom>
              <a:avLst/>
              <a:gdLst>
                <a:gd name="T0" fmla="*/ 4908 w 6691"/>
                <a:gd name="T1" fmla="*/ 302 h 6084"/>
                <a:gd name="T2" fmla="*/ 1681 w 6691"/>
                <a:gd name="T3" fmla="*/ 1052 h 6084"/>
                <a:gd name="T4" fmla="*/ 1408 w 6691"/>
                <a:gd name="T5" fmla="*/ 6084 h 6084"/>
                <a:gd name="T6" fmla="*/ 2679 w 6691"/>
                <a:gd name="T7" fmla="*/ 6084 h 6084"/>
                <a:gd name="T8" fmla="*/ 1431 w 6691"/>
                <a:gd name="T9" fmla="*/ 3999 h 6084"/>
                <a:gd name="T10" fmla="*/ 4730 w 6691"/>
                <a:gd name="T11" fmla="*/ 681 h 6084"/>
                <a:gd name="T12" fmla="*/ 5305 w 6691"/>
                <a:gd name="T13" fmla="*/ 2229 h 6084"/>
                <a:gd name="T14" fmla="*/ 3973 w 6691"/>
                <a:gd name="T15" fmla="*/ 2582 h 6084"/>
                <a:gd name="T16" fmla="*/ 4696 w 6691"/>
                <a:gd name="T17" fmla="*/ 3292 h 6084"/>
                <a:gd name="T18" fmla="*/ 6178 w 6691"/>
                <a:gd name="T19" fmla="*/ 2423 h 6084"/>
                <a:gd name="T20" fmla="*/ 4908 w 6691"/>
                <a:gd name="T21" fmla="*/ 302 h 6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91" h="6084">
                  <a:moveTo>
                    <a:pt x="4908" y="302"/>
                  </a:moveTo>
                  <a:cubicBezTo>
                    <a:pt x="3533" y="0"/>
                    <a:pt x="2373" y="491"/>
                    <a:pt x="1681" y="1052"/>
                  </a:cubicBezTo>
                  <a:cubicBezTo>
                    <a:pt x="0" y="2417"/>
                    <a:pt x="160" y="4568"/>
                    <a:pt x="1408" y="6084"/>
                  </a:cubicBezTo>
                  <a:lnTo>
                    <a:pt x="2679" y="6084"/>
                  </a:lnTo>
                  <a:cubicBezTo>
                    <a:pt x="2492" y="5924"/>
                    <a:pt x="1650" y="5149"/>
                    <a:pt x="1431" y="3999"/>
                  </a:cubicBezTo>
                  <a:cubicBezTo>
                    <a:pt x="992" y="1696"/>
                    <a:pt x="3000" y="364"/>
                    <a:pt x="4730" y="681"/>
                  </a:cubicBezTo>
                  <a:cubicBezTo>
                    <a:pt x="5717" y="863"/>
                    <a:pt x="5792" y="1792"/>
                    <a:pt x="5305" y="2229"/>
                  </a:cubicBezTo>
                  <a:cubicBezTo>
                    <a:pt x="4864" y="2622"/>
                    <a:pt x="4274" y="2617"/>
                    <a:pt x="3973" y="2582"/>
                  </a:cubicBezTo>
                  <a:cubicBezTo>
                    <a:pt x="4233" y="2731"/>
                    <a:pt x="4490" y="2975"/>
                    <a:pt x="4696" y="3292"/>
                  </a:cubicBezTo>
                  <a:cubicBezTo>
                    <a:pt x="4696" y="3292"/>
                    <a:pt x="5631" y="3187"/>
                    <a:pt x="6178" y="2423"/>
                  </a:cubicBezTo>
                  <a:cubicBezTo>
                    <a:pt x="6691" y="1709"/>
                    <a:pt x="6281" y="603"/>
                    <a:pt x="4908" y="3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72712F3E-9FC7-3E78-C200-BD52D4AC73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22815" y="1450273"/>
              <a:ext cx="11995587" cy="5289057"/>
            </a:xfrm>
            <a:custGeom>
              <a:avLst/>
              <a:gdLst>
                <a:gd name="T0" fmla="*/ 23208 w 23406"/>
                <a:gd name="T1" fmla="*/ 7926 h 10309"/>
                <a:gd name="T2" fmla="*/ 22797 w 23406"/>
                <a:gd name="T3" fmla="*/ 7880 h 10309"/>
                <a:gd name="T4" fmla="*/ 22225 w 23406"/>
                <a:gd name="T5" fmla="*/ 7940 h 10309"/>
                <a:gd name="T6" fmla="*/ 22384 w 23406"/>
                <a:gd name="T7" fmla="*/ 9109 h 10309"/>
                <a:gd name="T8" fmla="*/ 18736 w 23406"/>
                <a:gd name="T9" fmla="*/ 9011 h 10309"/>
                <a:gd name="T10" fmla="*/ 13189 w 23406"/>
                <a:gd name="T11" fmla="*/ 2355 h 10309"/>
                <a:gd name="T12" fmla="*/ 6340 w 23406"/>
                <a:gd name="T13" fmla="*/ 914 h 10309"/>
                <a:gd name="T14" fmla="*/ 4333 w 23406"/>
                <a:gd name="T15" fmla="*/ 7925 h 10309"/>
                <a:gd name="T16" fmla="*/ 3287 w 23406"/>
                <a:gd name="T17" fmla="*/ 4182 h 10309"/>
                <a:gd name="T18" fmla="*/ 2978 w 23406"/>
                <a:gd name="T19" fmla="*/ 4268 h 10309"/>
                <a:gd name="T20" fmla="*/ 4 w 23406"/>
                <a:gd name="T21" fmla="*/ 3488 h 10309"/>
                <a:gd name="T22" fmla="*/ 8 w 23406"/>
                <a:gd name="T23" fmla="*/ 3528 h 10309"/>
                <a:gd name="T24" fmla="*/ 2189 w 23406"/>
                <a:gd name="T25" fmla="*/ 4927 h 10309"/>
                <a:gd name="T26" fmla="*/ 5394 w 23406"/>
                <a:gd name="T27" fmla="*/ 8516 h 10309"/>
                <a:gd name="T28" fmla="*/ 4969 w 23406"/>
                <a:gd name="T29" fmla="*/ 4979 h 10309"/>
                <a:gd name="T30" fmla="*/ 8970 w 23406"/>
                <a:gd name="T31" fmla="*/ 1076 h 10309"/>
                <a:gd name="T32" fmla="*/ 14193 w 23406"/>
                <a:gd name="T33" fmla="*/ 5134 h 10309"/>
                <a:gd name="T34" fmla="*/ 19501 w 23406"/>
                <a:gd name="T35" fmla="*/ 9856 h 10309"/>
                <a:gd name="T36" fmla="*/ 22953 w 23406"/>
                <a:gd name="T37" fmla="*/ 9758 h 10309"/>
                <a:gd name="T38" fmla="*/ 23406 w 23406"/>
                <a:gd name="T39" fmla="*/ 9245 h 10309"/>
                <a:gd name="T40" fmla="*/ 23406 w 23406"/>
                <a:gd name="T41" fmla="*/ 8185 h 10309"/>
                <a:gd name="T42" fmla="*/ 23208 w 23406"/>
                <a:gd name="T43" fmla="*/ 7926 h 10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406" h="10309">
                  <a:moveTo>
                    <a:pt x="23208" y="7926"/>
                  </a:moveTo>
                  <a:cubicBezTo>
                    <a:pt x="23110" y="7908"/>
                    <a:pt x="22903" y="7884"/>
                    <a:pt x="22797" y="7880"/>
                  </a:cubicBezTo>
                  <a:cubicBezTo>
                    <a:pt x="22597" y="7873"/>
                    <a:pt x="22405" y="7895"/>
                    <a:pt x="22225" y="7940"/>
                  </a:cubicBezTo>
                  <a:cubicBezTo>
                    <a:pt x="22585" y="8258"/>
                    <a:pt x="22573" y="8734"/>
                    <a:pt x="22384" y="9109"/>
                  </a:cubicBezTo>
                  <a:cubicBezTo>
                    <a:pt x="21806" y="10264"/>
                    <a:pt x="19572" y="9572"/>
                    <a:pt x="18736" y="9011"/>
                  </a:cubicBezTo>
                  <a:cubicBezTo>
                    <a:pt x="16173" y="7288"/>
                    <a:pt x="14648" y="4009"/>
                    <a:pt x="13189" y="2355"/>
                  </a:cubicBezTo>
                  <a:cubicBezTo>
                    <a:pt x="11154" y="48"/>
                    <a:pt x="8165" y="0"/>
                    <a:pt x="6340" y="914"/>
                  </a:cubicBezTo>
                  <a:cubicBezTo>
                    <a:pt x="4062" y="2056"/>
                    <a:pt x="3506" y="5245"/>
                    <a:pt x="4333" y="7925"/>
                  </a:cubicBezTo>
                  <a:cubicBezTo>
                    <a:pt x="3232" y="7595"/>
                    <a:pt x="2760" y="5443"/>
                    <a:pt x="3287" y="4182"/>
                  </a:cubicBezTo>
                  <a:cubicBezTo>
                    <a:pt x="3187" y="4214"/>
                    <a:pt x="3084" y="4243"/>
                    <a:pt x="2978" y="4268"/>
                  </a:cubicBezTo>
                  <a:cubicBezTo>
                    <a:pt x="1806" y="4540"/>
                    <a:pt x="657" y="4203"/>
                    <a:pt x="4" y="3488"/>
                  </a:cubicBezTo>
                  <a:cubicBezTo>
                    <a:pt x="0" y="3501"/>
                    <a:pt x="2" y="3514"/>
                    <a:pt x="8" y="3528"/>
                  </a:cubicBezTo>
                  <a:cubicBezTo>
                    <a:pt x="374" y="4372"/>
                    <a:pt x="1122" y="4905"/>
                    <a:pt x="2189" y="4927"/>
                  </a:cubicBezTo>
                  <a:cubicBezTo>
                    <a:pt x="2121" y="7778"/>
                    <a:pt x="3712" y="8656"/>
                    <a:pt x="5394" y="8516"/>
                  </a:cubicBezTo>
                  <a:cubicBezTo>
                    <a:pt x="4933" y="7645"/>
                    <a:pt x="4811" y="6121"/>
                    <a:pt x="4969" y="4979"/>
                  </a:cubicBezTo>
                  <a:cubicBezTo>
                    <a:pt x="5116" y="3912"/>
                    <a:pt x="6050" y="1160"/>
                    <a:pt x="8970" y="1076"/>
                  </a:cubicBezTo>
                  <a:cubicBezTo>
                    <a:pt x="11780" y="994"/>
                    <a:pt x="12833" y="3418"/>
                    <a:pt x="14193" y="5134"/>
                  </a:cubicBezTo>
                  <a:cubicBezTo>
                    <a:pt x="15365" y="6616"/>
                    <a:pt x="17229" y="9088"/>
                    <a:pt x="19501" y="9856"/>
                  </a:cubicBezTo>
                  <a:cubicBezTo>
                    <a:pt x="20555" y="10209"/>
                    <a:pt x="22012" y="10309"/>
                    <a:pt x="22953" y="9758"/>
                  </a:cubicBezTo>
                  <a:cubicBezTo>
                    <a:pt x="23149" y="9643"/>
                    <a:pt x="23306" y="9459"/>
                    <a:pt x="23406" y="9245"/>
                  </a:cubicBezTo>
                  <a:lnTo>
                    <a:pt x="23406" y="8185"/>
                  </a:lnTo>
                  <a:cubicBezTo>
                    <a:pt x="23357" y="8092"/>
                    <a:pt x="23291" y="8005"/>
                    <a:pt x="23208" y="79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07406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902">
          <p15:clr>
            <a:srgbClr val="FBAE40"/>
          </p15:clr>
        </p15:guide>
        <p15:guide id="5" pos="2016">
          <p15:clr>
            <a:srgbClr val="FBAE40"/>
          </p15:clr>
        </p15:guide>
        <p15:guide id="6" pos="3783">
          <p15:clr>
            <a:srgbClr val="FBAE40"/>
          </p15:clr>
        </p15:guide>
        <p15:guide id="7" pos="3896">
          <p15:clr>
            <a:srgbClr val="FBAE40"/>
          </p15:clr>
        </p15:guide>
        <p15:guide id="8" pos="5663">
          <p15:clr>
            <a:srgbClr val="FBAE40"/>
          </p15:clr>
        </p15:guide>
        <p15:guide id="9" pos="5777">
          <p15:clr>
            <a:srgbClr val="FBAE40"/>
          </p15:clr>
        </p15:guide>
        <p15:guide id="10" pos="7543">
          <p15:clr>
            <a:srgbClr val="FBAE40"/>
          </p15:clr>
        </p15:guide>
        <p15:guide id="11" orient="horz">
          <p15:clr>
            <a:srgbClr val="FBAE40"/>
          </p15:clr>
        </p15:guide>
        <p15:guide id="12" orient="horz" pos="4320">
          <p15:clr>
            <a:srgbClr val="FBAE40"/>
          </p15:clr>
        </p15:guide>
        <p15:guide id="13" orient="horz" pos="864" userDrawn="1">
          <p15:clr>
            <a:srgbClr val="FBAE40"/>
          </p15:clr>
        </p15:guide>
        <p15:guide id="14" orient="horz" pos="1209">
          <p15:clr>
            <a:srgbClr val="FBAE40"/>
          </p15:clr>
        </p15:guide>
        <p15:guide id="15" orient="horz" pos="1323">
          <p15:clr>
            <a:srgbClr val="FBAE40"/>
          </p15:clr>
        </p15:guide>
        <p15:guide id="16" orient="horz" pos="1671">
          <p15:clr>
            <a:srgbClr val="FBAE40"/>
          </p15:clr>
        </p15:guide>
        <p15:guide id="17" orient="horz" pos="1824" userDrawn="1">
          <p15:clr>
            <a:srgbClr val="FBAE40"/>
          </p15:clr>
        </p15:guide>
        <p15:guide id="18" orient="horz" pos="2133">
          <p15:clr>
            <a:srgbClr val="FBAE40"/>
          </p15:clr>
        </p15:guide>
        <p15:guide id="19" orient="horz" pos="2246">
          <p15:clr>
            <a:srgbClr val="FBAE40"/>
          </p15:clr>
        </p15:guide>
        <p15:guide id="20" orient="horz" pos="2592">
          <p15:clr>
            <a:srgbClr val="FBAE40"/>
          </p15:clr>
        </p15:guide>
        <p15:guide id="21" orient="horz" pos="2688">
          <p15:clr>
            <a:srgbClr val="FBAE40"/>
          </p15:clr>
        </p15:guide>
        <p15:guide id="22" orient="horz" pos="3056">
          <p15:clr>
            <a:srgbClr val="FBAE40"/>
          </p15:clr>
        </p15:guide>
        <p15:guide id="23" orient="horz" pos="3169">
          <p15:clr>
            <a:srgbClr val="FBAE40"/>
          </p15:clr>
        </p15:guide>
        <p15:guide id="24" orient="horz" pos="3518">
          <p15:clr>
            <a:srgbClr val="FBAE40"/>
          </p15:clr>
        </p15:guide>
        <p15:guide id="25" orient="horz" pos="3648">
          <p15:clr>
            <a:srgbClr val="FBAE40"/>
          </p15:clr>
        </p15:guide>
        <p15:guide id="26" orient="horz" pos="397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ARK 3X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71FD87-5928-0183-0336-DB49FAEA68AF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551A70-FEF0-98D3-A3E2-7C47BF7637A0}"/>
              </a:ext>
            </a:extLst>
          </p:cNvPr>
          <p:cNvSpPr/>
          <p:nvPr userDrawn="1"/>
        </p:nvSpPr>
        <p:spPr>
          <a:xfrm>
            <a:off x="0" y="1326167"/>
            <a:ext cx="12192000" cy="5044999"/>
          </a:xfrm>
          <a:prstGeom prst="rect">
            <a:avLst/>
          </a:prstGeom>
          <a:solidFill>
            <a:schemeClr val="bg2">
              <a:lumMod val="20000"/>
              <a:lumOff val="80000"/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E1CAF15-1B1F-2C8D-16F7-B90AB582C9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5000"/>
          </a:blip>
          <a:srcRect r="817"/>
          <a:stretch/>
        </p:blipFill>
        <p:spPr>
          <a:xfrm>
            <a:off x="1" y="1326167"/>
            <a:ext cx="12192000" cy="5044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402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136">
          <p15:clr>
            <a:srgbClr val="FBAE40"/>
          </p15:clr>
        </p15:guide>
        <p15:guide id="4" pos="1276">
          <p15:clr>
            <a:srgbClr val="FBAE40"/>
          </p15:clr>
        </p15:guide>
        <p15:guide id="5" pos="1389">
          <p15:clr>
            <a:srgbClr val="FBAE40"/>
          </p15:clr>
        </p15:guide>
        <p15:guide id="6" pos="2529">
          <p15:clr>
            <a:srgbClr val="FBAE40"/>
          </p15:clr>
        </p15:guide>
        <p15:guide id="7" pos="2643">
          <p15:clr>
            <a:srgbClr val="FBAE40"/>
          </p15:clr>
        </p15:guide>
        <p15:guide id="8" pos="3783">
          <p15:clr>
            <a:srgbClr val="FBAE40"/>
          </p15:clr>
        </p15:guide>
        <p15:guide id="9" pos="3896">
          <p15:clr>
            <a:srgbClr val="FBAE40"/>
          </p15:clr>
        </p15:guide>
        <p15:guide id="10" pos="5036">
          <p15:clr>
            <a:srgbClr val="FBAE40"/>
          </p15:clr>
        </p15:guide>
        <p15:guide id="11" pos="5150">
          <p15:clr>
            <a:srgbClr val="FBAE40"/>
          </p15:clr>
        </p15:guide>
        <p15:guide id="12" pos="6290">
          <p15:clr>
            <a:srgbClr val="FBAE40"/>
          </p15:clr>
        </p15:guide>
        <p15:guide id="13" pos="6403">
          <p15:clr>
            <a:srgbClr val="FBAE40"/>
          </p15:clr>
        </p15:guide>
        <p15:guide id="14" pos="7543">
          <p15:clr>
            <a:srgbClr val="FBAE40"/>
          </p15:clr>
        </p15:guide>
        <p15:guide id="15" orient="horz">
          <p15:clr>
            <a:srgbClr val="FBAE40"/>
          </p15:clr>
        </p15:guide>
        <p15:guide id="16" orient="horz" pos="4320">
          <p15:clr>
            <a:srgbClr val="FBAE40"/>
          </p15:clr>
        </p15:guide>
        <p15:guide id="17" orient="horz" pos="861">
          <p15:clr>
            <a:srgbClr val="FBAE40"/>
          </p15:clr>
        </p15:guide>
        <p15:guide id="18" orient="horz" pos="1286">
          <p15:clr>
            <a:srgbClr val="FBAE40"/>
          </p15:clr>
        </p15:guide>
        <p15:guide id="19" orient="horz" pos="1400">
          <p15:clr>
            <a:srgbClr val="FBAE40"/>
          </p15:clr>
        </p15:guide>
        <p15:guide id="20" orient="horz" pos="1825">
          <p15:clr>
            <a:srgbClr val="FBAE40"/>
          </p15:clr>
        </p15:guide>
        <p15:guide id="21" orient="horz" pos="1920">
          <p15:clr>
            <a:srgbClr val="FBAE40"/>
          </p15:clr>
        </p15:guide>
        <p15:guide id="22" orient="horz" pos="2364">
          <p15:clr>
            <a:srgbClr val="FBAE40"/>
          </p15:clr>
        </p15:guide>
        <p15:guide id="23" orient="horz" pos="2477">
          <p15:clr>
            <a:srgbClr val="FBAE40"/>
          </p15:clr>
        </p15:guide>
        <p15:guide id="24" orient="horz" pos="2902">
          <p15:clr>
            <a:srgbClr val="FBAE40"/>
          </p15:clr>
        </p15:guide>
        <p15:guide id="25" orient="horz" pos="3016">
          <p15:clr>
            <a:srgbClr val="FBAE40"/>
          </p15:clr>
        </p15:guide>
        <p15:guide id="26" orient="horz" pos="3456">
          <p15:clr>
            <a:srgbClr val="FBAE40"/>
          </p15:clr>
        </p15:guide>
        <p15:guide id="27" orient="horz" pos="3554">
          <p15:clr>
            <a:srgbClr val="FBAE40"/>
          </p15:clr>
        </p15:guide>
        <p15:guide id="28" orient="horz" pos="39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utoShape 3">
            <a:extLst>
              <a:ext uri="{FF2B5EF4-FFF2-40B4-BE49-F238E27FC236}">
                <a16:creationId xmlns:a16="http://schemas.microsoft.com/office/drawing/2014/main" id="{4DE338AA-2CF0-71A1-E224-4E059CAE8F8D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8001000" y="0"/>
            <a:ext cx="4191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C06BAA58-04E3-4F58-86C4-DEB4C7D1D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043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C06BAA58-04E3-4F58-86C4-DEB4C7D1DF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Group 70" hidden="1">
            <a:extLst>
              <a:ext uri="{FF2B5EF4-FFF2-40B4-BE49-F238E27FC236}">
                <a16:creationId xmlns:a16="http://schemas.microsoft.com/office/drawing/2014/main" id="{E4688A3A-498A-48BD-ABA5-7195E98C670F}"/>
              </a:ext>
            </a:extLst>
          </p:cNvPr>
          <p:cNvGrpSpPr/>
          <p:nvPr userDrawn="1"/>
        </p:nvGrpSpPr>
        <p:grpSpPr>
          <a:xfrm>
            <a:off x="9467620" y="3429000"/>
            <a:ext cx="2724380" cy="2236765"/>
            <a:chOff x="9467620" y="3429000"/>
            <a:chExt cx="2724380" cy="2236765"/>
          </a:xfrm>
        </p:grpSpPr>
        <p:sp>
          <p:nvSpPr>
            <p:cNvPr id="72" name="Freeform 491">
              <a:extLst>
                <a:ext uri="{FF2B5EF4-FFF2-40B4-BE49-F238E27FC236}">
                  <a16:creationId xmlns:a16="http://schemas.microsoft.com/office/drawing/2014/main" id="{E71360B6-DC8F-403F-A732-5D9FF3776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67620" y="3475348"/>
              <a:ext cx="514988" cy="817115"/>
            </a:xfrm>
            <a:custGeom>
              <a:avLst/>
              <a:gdLst>
                <a:gd name="T0" fmla="*/ 661 w 1323"/>
                <a:gd name="T1" fmla="*/ 2091 h 2091"/>
                <a:gd name="T2" fmla="*/ 0 w 1323"/>
                <a:gd name="T3" fmla="*/ 1382 h 2091"/>
                <a:gd name="T4" fmla="*/ 867 w 1323"/>
                <a:gd name="T5" fmla="*/ 0 h 2091"/>
                <a:gd name="T6" fmla="*/ 366 w 1323"/>
                <a:gd name="T7" fmla="*/ 702 h 2091"/>
                <a:gd name="T8" fmla="*/ 661 w 1323"/>
                <a:gd name="T9" fmla="*/ 624 h 2091"/>
                <a:gd name="T10" fmla="*/ 1323 w 1323"/>
                <a:gd name="T11" fmla="*/ 1354 h 2091"/>
                <a:gd name="T12" fmla="*/ 661 w 1323"/>
                <a:gd name="T13" fmla="*/ 2091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3" h="2091">
                  <a:moveTo>
                    <a:pt x="661" y="2091"/>
                  </a:moveTo>
                  <a:cubicBezTo>
                    <a:pt x="276" y="2091"/>
                    <a:pt x="0" y="1730"/>
                    <a:pt x="0" y="1382"/>
                  </a:cubicBezTo>
                  <a:cubicBezTo>
                    <a:pt x="0" y="361"/>
                    <a:pt x="867" y="0"/>
                    <a:pt x="867" y="0"/>
                  </a:cubicBezTo>
                  <a:cubicBezTo>
                    <a:pt x="867" y="0"/>
                    <a:pt x="443" y="290"/>
                    <a:pt x="366" y="702"/>
                  </a:cubicBezTo>
                  <a:cubicBezTo>
                    <a:pt x="456" y="652"/>
                    <a:pt x="559" y="624"/>
                    <a:pt x="661" y="624"/>
                  </a:cubicBezTo>
                  <a:cubicBezTo>
                    <a:pt x="1028" y="624"/>
                    <a:pt x="1323" y="957"/>
                    <a:pt x="1323" y="1354"/>
                  </a:cubicBezTo>
                  <a:cubicBezTo>
                    <a:pt x="1323" y="1779"/>
                    <a:pt x="1002" y="2091"/>
                    <a:pt x="661" y="209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2">
              <a:extLst>
                <a:ext uri="{FF2B5EF4-FFF2-40B4-BE49-F238E27FC236}">
                  <a16:creationId xmlns:a16="http://schemas.microsoft.com/office/drawing/2014/main" id="{8F7CC2B7-3C11-49CC-9AA3-B778B0F2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25114" y="3429000"/>
              <a:ext cx="1055726" cy="1560415"/>
            </a:xfrm>
            <a:custGeom>
              <a:avLst/>
              <a:gdLst>
                <a:gd name="T0" fmla="*/ 2467 w 2705"/>
                <a:gd name="T1" fmla="*/ 823 h 3992"/>
                <a:gd name="T2" fmla="*/ 701 w 2705"/>
                <a:gd name="T3" fmla="*/ 0 h 3992"/>
                <a:gd name="T4" fmla="*/ 1324 w 2705"/>
                <a:gd name="T5" fmla="*/ 1709 h 3992"/>
                <a:gd name="T6" fmla="*/ 0 w 2705"/>
                <a:gd name="T7" fmla="*/ 3992 h 3992"/>
                <a:gd name="T8" fmla="*/ 2326 w 2705"/>
                <a:gd name="T9" fmla="*/ 2298 h 3992"/>
                <a:gd name="T10" fmla="*/ 2467 w 2705"/>
                <a:gd name="T11" fmla="*/ 823 h 3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05" h="3992">
                  <a:moveTo>
                    <a:pt x="2467" y="823"/>
                  </a:moveTo>
                  <a:cubicBezTo>
                    <a:pt x="2268" y="426"/>
                    <a:pt x="1729" y="0"/>
                    <a:pt x="701" y="0"/>
                  </a:cubicBezTo>
                  <a:cubicBezTo>
                    <a:pt x="1337" y="177"/>
                    <a:pt x="1472" y="1120"/>
                    <a:pt x="1324" y="1709"/>
                  </a:cubicBezTo>
                  <a:cubicBezTo>
                    <a:pt x="1137" y="2446"/>
                    <a:pt x="84" y="3638"/>
                    <a:pt x="0" y="3992"/>
                  </a:cubicBezTo>
                  <a:cubicBezTo>
                    <a:pt x="424" y="3418"/>
                    <a:pt x="1934" y="2766"/>
                    <a:pt x="2326" y="2298"/>
                  </a:cubicBezTo>
                  <a:cubicBezTo>
                    <a:pt x="2686" y="1858"/>
                    <a:pt x="2705" y="1291"/>
                    <a:pt x="2467" y="82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93">
              <a:extLst>
                <a:ext uri="{FF2B5EF4-FFF2-40B4-BE49-F238E27FC236}">
                  <a16:creationId xmlns:a16="http://schemas.microsoft.com/office/drawing/2014/main" id="{50EB8D1F-8C10-470C-A1E0-842F0CBBD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4786" y="5003147"/>
              <a:ext cx="1282321" cy="662618"/>
            </a:xfrm>
            <a:custGeom>
              <a:avLst/>
              <a:gdLst>
                <a:gd name="T0" fmla="*/ 3257 w 3289"/>
                <a:gd name="T1" fmla="*/ 0 h 1694"/>
                <a:gd name="T2" fmla="*/ 2608 w 3289"/>
                <a:gd name="T3" fmla="*/ 411 h 1694"/>
                <a:gd name="T4" fmla="*/ 1464 w 3289"/>
                <a:gd name="T5" fmla="*/ 347 h 1694"/>
                <a:gd name="T6" fmla="*/ 559 w 3289"/>
                <a:gd name="T7" fmla="*/ 468 h 1694"/>
                <a:gd name="T8" fmla="*/ 0 w 3289"/>
                <a:gd name="T9" fmla="*/ 1014 h 1694"/>
                <a:gd name="T10" fmla="*/ 38 w 3289"/>
                <a:gd name="T11" fmla="*/ 971 h 1694"/>
                <a:gd name="T12" fmla="*/ 430 w 3289"/>
                <a:gd name="T13" fmla="*/ 787 h 1694"/>
                <a:gd name="T14" fmla="*/ 1201 w 3289"/>
                <a:gd name="T15" fmla="*/ 1141 h 1694"/>
                <a:gd name="T16" fmla="*/ 2235 w 3289"/>
                <a:gd name="T17" fmla="*/ 1631 h 1694"/>
                <a:gd name="T18" fmla="*/ 3180 w 3289"/>
                <a:gd name="T19" fmla="*/ 780 h 1694"/>
                <a:gd name="T20" fmla="*/ 3257 w 3289"/>
                <a:gd name="T21" fmla="*/ 0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89" h="1694">
                  <a:moveTo>
                    <a:pt x="3257" y="0"/>
                  </a:moveTo>
                  <a:cubicBezTo>
                    <a:pt x="3173" y="241"/>
                    <a:pt x="2993" y="411"/>
                    <a:pt x="2608" y="411"/>
                  </a:cubicBezTo>
                  <a:cubicBezTo>
                    <a:pt x="2222" y="411"/>
                    <a:pt x="1843" y="368"/>
                    <a:pt x="1464" y="347"/>
                  </a:cubicBezTo>
                  <a:cubicBezTo>
                    <a:pt x="1156" y="326"/>
                    <a:pt x="841" y="333"/>
                    <a:pt x="559" y="468"/>
                  </a:cubicBezTo>
                  <a:cubicBezTo>
                    <a:pt x="308" y="588"/>
                    <a:pt x="122" y="773"/>
                    <a:pt x="0" y="1014"/>
                  </a:cubicBezTo>
                  <a:cubicBezTo>
                    <a:pt x="12" y="1000"/>
                    <a:pt x="19" y="985"/>
                    <a:pt x="38" y="971"/>
                  </a:cubicBezTo>
                  <a:cubicBezTo>
                    <a:pt x="141" y="858"/>
                    <a:pt x="282" y="787"/>
                    <a:pt x="430" y="787"/>
                  </a:cubicBezTo>
                  <a:cubicBezTo>
                    <a:pt x="726" y="787"/>
                    <a:pt x="957" y="922"/>
                    <a:pt x="1201" y="1141"/>
                  </a:cubicBezTo>
                  <a:cubicBezTo>
                    <a:pt x="1497" y="1411"/>
                    <a:pt x="1818" y="1694"/>
                    <a:pt x="2235" y="1631"/>
                  </a:cubicBezTo>
                  <a:cubicBezTo>
                    <a:pt x="2679" y="1560"/>
                    <a:pt x="3032" y="1219"/>
                    <a:pt x="3180" y="780"/>
                  </a:cubicBezTo>
                  <a:cubicBezTo>
                    <a:pt x="3289" y="489"/>
                    <a:pt x="3250" y="283"/>
                    <a:pt x="325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95">
              <a:extLst>
                <a:ext uri="{FF2B5EF4-FFF2-40B4-BE49-F238E27FC236}">
                  <a16:creationId xmlns:a16="http://schemas.microsoft.com/office/drawing/2014/main" id="{A1A272E9-3F1D-4409-B858-A311BC59AB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1686" y="3429000"/>
              <a:ext cx="715834" cy="2212733"/>
            </a:xfrm>
            <a:custGeom>
              <a:avLst/>
              <a:gdLst>
                <a:gd name="T0" fmla="*/ 1838 w 1838"/>
                <a:gd name="T1" fmla="*/ 0 h 5659"/>
                <a:gd name="T2" fmla="*/ 1221 w 1838"/>
                <a:gd name="T3" fmla="*/ 1645 h 5659"/>
                <a:gd name="T4" fmla="*/ 1201 w 1838"/>
                <a:gd name="T5" fmla="*/ 2829 h 5659"/>
                <a:gd name="T6" fmla="*/ 1221 w 1838"/>
                <a:gd name="T7" fmla="*/ 3985 h 5659"/>
                <a:gd name="T8" fmla="*/ 1831 w 1838"/>
                <a:gd name="T9" fmla="*/ 5659 h 5659"/>
                <a:gd name="T10" fmla="*/ 0 w 1838"/>
                <a:gd name="T11" fmla="*/ 2829 h 5659"/>
                <a:gd name="T12" fmla="*/ 1838 w 1838"/>
                <a:gd name="T13" fmla="*/ 0 h 5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8" h="5659">
                  <a:moveTo>
                    <a:pt x="1838" y="0"/>
                  </a:moveTo>
                  <a:cubicBezTo>
                    <a:pt x="1703" y="121"/>
                    <a:pt x="1253" y="326"/>
                    <a:pt x="1221" y="1645"/>
                  </a:cubicBezTo>
                  <a:cubicBezTo>
                    <a:pt x="1221" y="1645"/>
                    <a:pt x="1201" y="2283"/>
                    <a:pt x="1201" y="2829"/>
                  </a:cubicBezTo>
                  <a:cubicBezTo>
                    <a:pt x="1201" y="3390"/>
                    <a:pt x="1221" y="3985"/>
                    <a:pt x="1221" y="3985"/>
                  </a:cubicBezTo>
                  <a:cubicBezTo>
                    <a:pt x="1259" y="5339"/>
                    <a:pt x="1658" y="5510"/>
                    <a:pt x="1831" y="5659"/>
                  </a:cubicBezTo>
                  <a:cubicBezTo>
                    <a:pt x="1433" y="5659"/>
                    <a:pt x="0" y="5269"/>
                    <a:pt x="0" y="2829"/>
                  </a:cubicBezTo>
                  <a:cubicBezTo>
                    <a:pt x="0" y="348"/>
                    <a:pt x="1433" y="0"/>
                    <a:pt x="1838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8CBC56C-39D9-4CCD-927C-1C413FCA287F}"/>
                </a:ext>
              </a:extLst>
            </p:cNvPr>
            <p:cNvSpPr/>
            <p:nvPr userDrawn="1"/>
          </p:nvSpPr>
          <p:spPr>
            <a:xfrm>
              <a:off x="11855450" y="3429001"/>
              <a:ext cx="336550" cy="2212733"/>
            </a:xfrm>
            <a:custGeom>
              <a:avLst/>
              <a:gdLst>
                <a:gd name="connsiteX0" fmla="*/ 0 w 336550"/>
                <a:gd name="connsiteY0" fmla="*/ 0 h 2212733"/>
                <a:gd name="connsiteX1" fmla="*/ 296520 w 336550"/>
                <a:gd name="connsiteY1" fmla="*/ 94212 h 2212733"/>
                <a:gd name="connsiteX2" fmla="*/ 336550 w 336550"/>
                <a:gd name="connsiteY2" fmla="*/ 122018 h 2212733"/>
                <a:gd name="connsiteX3" fmla="*/ 336550 w 336550"/>
                <a:gd name="connsiteY3" fmla="*/ 2086108 h 2212733"/>
                <a:gd name="connsiteX4" fmla="*/ 297187 w 336550"/>
                <a:gd name="connsiteY4" fmla="*/ 2114171 h 2212733"/>
                <a:gd name="connsiteX5" fmla="*/ 2733 w 336550"/>
                <a:gd name="connsiteY5" fmla="*/ 2212733 h 2212733"/>
                <a:gd name="connsiteX6" fmla="*/ 238533 w 336550"/>
                <a:gd name="connsiteY6" fmla="*/ 1558180 h 2212733"/>
                <a:gd name="connsiteX7" fmla="*/ 248293 w 336550"/>
                <a:gd name="connsiteY7" fmla="*/ 1106171 h 2212733"/>
                <a:gd name="connsiteX8" fmla="*/ 238533 w 336550"/>
                <a:gd name="connsiteY8" fmla="*/ 643214 h 2212733"/>
                <a:gd name="connsiteX9" fmla="*/ 0 w 336550"/>
                <a:gd name="connsiteY9" fmla="*/ 0 h 2212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36550" h="2212733">
                  <a:moveTo>
                    <a:pt x="0" y="0"/>
                  </a:moveTo>
                  <a:cubicBezTo>
                    <a:pt x="59292" y="0"/>
                    <a:pt x="175020" y="19135"/>
                    <a:pt x="296520" y="94212"/>
                  </a:cubicBezTo>
                  <a:lnTo>
                    <a:pt x="336550" y="122018"/>
                  </a:lnTo>
                  <a:lnTo>
                    <a:pt x="336550" y="2086108"/>
                  </a:lnTo>
                  <a:lnTo>
                    <a:pt x="297187" y="2114171"/>
                  </a:lnTo>
                  <a:cubicBezTo>
                    <a:pt x="176088" y="2191289"/>
                    <a:pt x="61000" y="2212733"/>
                    <a:pt x="2733" y="2212733"/>
                  </a:cubicBezTo>
                  <a:cubicBezTo>
                    <a:pt x="70271" y="2154472"/>
                    <a:pt x="225650" y="2087610"/>
                    <a:pt x="238533" y="1558180"/>
                  </a:cubicBezTo>
                  <a:cubicBezTo>
                    <a:pt x="238533" y="1558180"/>
                    <a:pt x="248293" y="1325529"/>
                    <a:pt x="248293" y="1106171"/>
                  </a:cubicBezTo>
                  <a:cubicBezTo>
                    <a:pt x="248293" y="892679"/>
                    <a:pt x="238533" y="643214"/>
                    <a:pt x="238533" y="643214"/>
                  </a:cubicBezTo>
                  <a:cubicBezTo>
                    <a:pt x="228382" y="127470"/>
                    <a:pt x="52704" y="47312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F147B0D-7BBC-9016-06C1-A62741B5FA0D}"/>
              </a:ext>
            </a:extLst>
          </p:cNvPr>
          <p:cNvGrpSpPr/>
          <p:nvPr userDrawn="1"/>
        </p:nvGrpSpPr>
        <p:grpSpPr>
          <a:xfrm>
            <a:off x="10515600" y="259716"/>
            <a:ext cx="1436183" cy="985137"/>
            <a:chOff x="228600" y="2150376"/>
            <a:chExt cx="2906342" cy="1993578"/>
          </a:xfrm>
          <a:solidFill>
            <a:schemeClr val="bg1"/>
          </a:solidFill>
        </p:grpSpPr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327F18DE-FE9A-E987-1155-D7BFE1647152}"/>
                </a:ext>
              </a:extLst>
            </p:cNvPr>
            <p:cNvGrpSpPr/>
            <p:nvPr userDrawn="1"/>
          </p:nvGrpSpPr>
          <p:grpSpPr>
            <a:xfrm>
              <a:off x="228600" y="3626341"/>
              <a:ext cx="2799815" cy="517613"/>
              <a:chOff x="228600" y="3626341"/>
              <a:chExt cx="2799815" cy="517613"/>
            </a:xfrm>
            <a:grpFill/>
          </p:grpSpPr>
          <p:sp>
            <p:nvSpPr>
              <p:cNvPr id="129" name="Freeform 6">
                <a:extLst>
                  <a:ext uri="{FF2B5EF4-FFF2-40B4-BE49-F238E27FC236}">
                    <a16:creationId xmlns:a16="http://schemas.microsoft.com/office/drawing/2014/main" id="{5FE9E19B-12B2-D7B6-D125-51ABB9EEEA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534" y="3955731"/>
                <a:ext cx="95922" cy="164696"/>
              </a:xfrm>
              <a:custGeom>
                <a:avLst/>
                <a:gdLst>
                  <a:gd name="T0" fmla="*/ 235 w 235"/>
                  <a:gd name="T1" fmla="*/ 1 h 398"/>
                  <a:gd name="T2" fmla="*/ 218 w 235"/>
                  <a:gd name="T3" fmla="*/ 72 h 398"/>
                  <a:gd name="T4" fmla="*/ 152 w 235"/>
                  <a:gd name="T5" fmla="*/ 80 h 398"/>
                  <a:gd name="T6" fmla="*/ 131 w 235"/>
                  <a:gd name="T7" fmla="*/ 113 h 398"/>
                  <a:gd name="T8" fmla="*/ 176 w 235"/>
                  <a:gd name="T9" fmla="*/ 114 h 398"/>
                  <a:gd name="T10" fmla="*/ 164 w 235"/>
                  <a:gd name="T11" fmla="*/ 178 h 398"/>
                  <a:gd name="T12" fmla="*/ 116 w 235"/>
                  <a:gd name="T13" fmla="*/ 178 h 398"/>
                  <a:gd name="T14" fmla="*/ 70 w 235"/>
                  <a:gd name="T15" fmla="*/ 398 h 398"/>
                  <a:gd name="T16" fmla="*/ 0 w 235"/>
                  <a:gd name="T17" fmla="*/ 398 h 398"/>
                  <a:gd name="T18" fmla="*/ 43 w 235"/>
                  <a:gd name="T19" fmla="*/ 176 h 398"/>
                  <a:gd name="T20" fmla="*/ 6 w 235"/>
                  <a:gd name="T21" fmla="*/ 176 h 398"/>
                  <a:gd name="T22" fmla="*/ 17 w 235"/>
                  <a:gd name="T23" fmla="*/ 112 h 398"/>
                  <a:gd name="T24" fmla="*/ 56 w 235"/>
                  <a:gd name="T25" fmla="*/ 112 h 398"/>
                  <a:gd name="T26" fmla="*/ 95 w 235"/>
                  <a:gd name="T27" fmla="*/ 44 h 398"/>
                  <a:gd name="T28" fmla="*/ 235 w 235"/>
                  <a:gd name="T29" fmla="*/ 1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5" h="398">
                    <a:moveTo>
                      <a:pt x="235" y="1"/>
                    </a:moveTo>
                    <a:lnTo>
                      <a:pt x="218" y="72"/>
                    </a:lnTo>
                    <a:cubicBezTo>
                      <a:pt x="218" y="72"/>
                      <a:pt x="175" y="63"/>
                      <a:pt x="152" y="80"/>
                    </a:cubicBezTo>
                    <a:cubicBezTo>
                      <a:pt x="129" y="96"/>
                      <a:pt x="131" y="113"/>
                      <a:pt x="131" y="113"/>
                    </a:cubicBezTo>
                    <a:lnTo>
                      <a:pt x="176" y="114"/>
                    </a:lnTo>
                    <a:lnTo>
                      <a:pt x="164" y="178"/>
                    </a:lnTo>
                    <a:lnTo>
                      <a:pt x="116" y="178"/>
                    </a:lnTo>
                    <a:lnTo>
                      <a:pt x="70" y="398"/>
                    </a:lnTo>
                    <a:lnTo>
                      <a:pt x="0" y="398"/>
                    </a:lnTo>
                    <a:lnTo>
                      <a:pt x="43" y="176"/>
                    </a:lnTo>
                    <a:lnTo>
                      <a:pt x="6" y="176"/>
                    </a:lnTo>
                    <a:lnTo>
                      <a:pt x="17" y="112"/>
                    </a:lnTo>
                    <a:lnTo>
                      <a:pt x="56" y="112"/>
                    </a:lnTo>
                    <a:cubicBezTo>
                      <a:pt x="56" y="112"/>
                      <a:pt x="68" y="67"/>
                      <a:pt x="95" y="44"/>
                    </a:cubicBezTo>
                    <a:cubicBezTo>
                      <a:pt x="121" y="23"/>
                      <a:pt x="169" y="0"/>
                      <a:pt x="2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0" name="Freeform 7">
                <a:extLst>
                  <a:ext uri="{FF2B5EF4-FFF2-40B4-BE49-F238E27FC236}">
                    <a16:creationId xmlns:a16="http://schemas.microsoft.com/office/drawing/2014/main" id="{B47F941A-DB0C-377F-C7AB-E48A982A01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44429" y="4002787"/>
                <a:ext cx="54295" cy="115829"/>
              </a:xfrm>
              <a:custGeom>
                <a:avLst/>
                <a:gdLst>
                  <a:gd name="T0" fmla="*/ 56 w 133"/>
                  <a:gd name="T1" fmla="*/ 0 h 281"/>
                  <a:gd name="T2" fmla="*/ 133 w 133"/>
                  <a:gd name="T3" fmla="*/ 0 h 281"/>
                  <a:gd name="T4" fmla="*/ 75 w 133"/>
                  <a:gd name="T5" fmla="*/ 281 h 281"/>
                  <a:gd name="T6" fmla="*/ 0 w 133"/>
                  <a:gd name="T7" fmla="*/ 281 h 281"/>
                  <a:gd name="T8" fmla="*/ 56 w 133"/>
                  <a:gd name="T9" fmla="*/ 0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281">
                    <a:moveTo>
                      <a:pt x="56" y="0"/>
                    </a:moveTo>
                    <a:lnTo>
                      <a:pt x="133" y="0"/>
                    </a:lnTo>
                    <a:lnTo>
                      <a:pt x="75" y="281"/>
                    </a:lnTo>
                    <a:lnTo>
                      <a:pt x="0" y="281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1" name="Freeform 8">
                <a:extLst>
                  <a:ext uri="{FF2B5EF4-FFF2-40B4-BE49-F238E27FC236}">
                    <a16:creationId xmlns:a16="http://schemas.microsoft.com/office/drawing/2014/main" id="{3048DCE3-49F2-AAB1-4D5C-99CA4AF32B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9767" y="3955731"/>
                <a:ext cx="38007" cy="30768"/>
              </a:xfrm>
              <a:custGeom>
                <a:avLst/>
                <a:gdLst>
                  <a:gd name="T0" fmla="*/ 16 w 92"/>
                  <a:gd name="T1" fmla="*/ 0 h 76"/>
                  <a:gd name="T2" fmla="*/ 92 w 92"/>
                  <a:gd name="T3" fmla="*/ 0 h 76"/>
                  <a:gd name="T4" fmla="*/ 75 w 92"/>
                  <a:gd name="T5" fmla="*/ 76 h 76"/>
                  <a:gd name="T6" fmla="*/ 0 w 92"/>
                  <a:gd name="T7" fmla="*/ 76 h 76"/>
                  <a:gd name="T8" fmla="*/ 16 w 9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76">
                    <a:moveTo>
                      <a:pt x="16" y="0"/>
                    </a:moveTo>
                    <a:lnTo>
                      <a:pt x="92" y="0"/>
                    </a:lnTo>
                    <a:lnTo>
                      <a:pt x="75" y="76"/>
                    </a:lnTo>
                    <a:lnTo>
                      <a:pt x="0" y="7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2" name="Freeform 9">
                <a:extLst>
                  <a:ext uri="{FF2B5EF4-FFF2-40B4-BE49-F238E27FC236}">
                    <a16:creationId xmlns:a16="http://schemas.microsoft.com/office/drawing/2014/main" id="{5F2730A5-C5D4-1F17-283B-27BF22C1913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8600" y="3966590"/>
                <a:ext cx="123069" cy="152026"/>
              </a:xfrm>
              <a:custGeom>
                <a:avLst/>
                <a:gdLst>
                  <a:gd name="T0" fmla="*/ 286 w 299"/>
                  <a:gd name="T1" fmla="*/ 89 h 371"/>
                  <a:gd name="T2" fmla="*/ 220 w 299"/>
                  <a:gd name="T3" fmla="*/ 3 h 371"/>
                  <a:gd name="T4" fmla="*/ 72 w 299"/>
                  <a:gd name="T5" fmla="*/ 1 h 371"/>
                  <a:gd name="T6" fmla="*/ 0 w 299"/>
                  <a:gd name="T7" fmla="*/ 368 h 371"/>
                  <a:gd name="T8" fmla="*/ 104 w 299"/>
                  <a:gd name="T9" fmla="*/ 371 h 371"/>
                  <a:gd name="T10" fmla="*/ 274 w 299"/>
                  <a:gd name="T11" fmla="*/ 271 h 371"/>
                  <a:gd name="T12" fmla="*/ 245 w 299"/>
                  <a:gd name="T13" fmla="*/ 169 h 371"/>
                  <a:gd name="T14" fmla="*/ 286 w 299"/>
                  <a:gd name="T15" fmla="*/ 89 h 371"/>
                  <a:gd name="T16" fmla="*/ 206 w 299"/>
                  <a:gd name="T17" fmla="*/ 114 h 371"/>
                  <a:gd name="T18" fmla="*/ 132 w 299"/>
                  <a:gd name="T19" fmla="*/ 157 h 371"/>
                  <a:gd name="T20" fmla="*/ 131 w 299"/>
                  <a:gd name="T21" fmla="*/ 171 h 371"/>
                  <a:gd name="T22" fmla="*/ 200 w 299"/>
                  <a:gd name="T23" fmla="*/ 252 h 371"/>
                  <a:gd name="T24" fmla="*/ 131 w 299"/>
                  <a:gd name="T25" fmla="*/ 298 h 371"/>
                  <a:gd name="T26" fmla="*/ 83 w 299"/>
                  <a:gd name="T27" fmla="*/ 301 h 371"/>
                  <a:gd name="T28" fmla="*/ 130 w 299"/>
                  <a:gd name="T29" fmla="*/ 70 h 371"/>
                  <a:gd name="T30" fmla="*/ 206 w 299"/>
                  <a:gd name="T31" fmla="*/ 114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9" h="371">
                    <a:moveTo>
                      <a:pt x="286" y="89"/>
                    </a:moveTo>
                    <a:cubicBezTo>
                      <a:pt x="292" y="36"/>
                      <a:pt x="243" y="7"/>
                      <a:pt x="220" y="3"/>
                    </a:cubicBezTo>
                    <a:cubicBezTo>
                      <a:pt x="197" y="0"/>
                      <a:pt x="72" y="1"/>
                      <a:pt x="72" y="1"/>
                    </a:cubicBezTo>
                    <a:lnTo>
                      <a:pt x="0" y="368"/>
                    </a:lnTo>
                    <a:lnTo>
                      <a:pt x="104" y="371"/>
                    </a:lnTo>
                    <a:cubicBezTo>
                      <a:pt x="104" y="371"/>
                      <a:pt x="237" y="367"/>
                      <a:pt x="274" y="271"/>
                    </a:cubicBezTo>
                    <a:cubicBezTo>
                      <a:pt x="299" y="208"/>
                      <a:pt x="245" y="169"/>
                      <a:pt x="245" y="169"/>
                    </a:cubicBezTo>
                    <a:cubicBezTo>
                      <a:pt x="245" y="169"/>
                      <a:pt x="280" y="142"/>
                      <a:pt x="286" y="89"/>
                    </a:cubicBezTo>
                    <a:close/>
                    <a:moveTo>
                      <a:pt x="206" y="114"/>
                    </a:moveTo>
                    <a:cubicBezTo>
                      <a:pt x="198" y="160"/>
                      <a:pt x="132" y="157"/>
                      <a:pt x="132" y="157"/>
                    </a:cubicBezTo>
                    <a:cubicBezTo>
                      <a:pt x="132" y="157"/>
                      <a:pt x="132" y="171"/>
                      <a:pt x="131" y="171"/>
                    </a:cubicBezTo>
                    <a:cubicBezTo>
                      <a:pt x="153" y="173"/>
                      <a:pt x="214" y="209"/>
                      <a:pt x="200" y="252"/>
                    </a:cubicBezTo>
                    <a:cubicBezTo>
                      <a:pt x="184" y="301"/>
                      <a:pt x="131" y="298"/>
                      <a:pt x="131" y="298"/>
                    </a:cubicBezTo>
                    <a:lnTo>
                      <a:pt x="83" y="301"/>
                    </a:lnTo>
                    <a:lnTo>
                      <a:pt x="130" y="70"/>
                    </a:lnTo>
                    <a:cubicBezTo>
                      <a:pt x="130" y="70"/>
                      <a:pt x="214" y="68"/>
                      <a:pt x="20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3" name="Freeform 10">
                <a:extLst>
                  <a:ext uri="{FF2B5EF4-FFF2-40B4-BE49-F238E27FC236}">
                    <a16:creationId xmlns:a16="http://schemas.microsoft.com/office/drawing/2014/main" id="{9DCEEAC5-C283-FB87-9DFE-0C021BFEC0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06" y="3695115"/>
                <a:ext cx="369206" cy="238898"/>
              </a:xfrm>
              <a:custGeom>
                <a:avLst/>
                <a:gdLst>
                  <a:gd name="T0" fmla="*/ 826 w 897"/>
                  <a:gd name="T1" fmla="*/ 0 h 583"/>
                  <a:gd name="T2" fmla="*/ 896 w 897"/>
                  <a:gd name="T3" fmla="*/ 150 h 583"/>
                  <a:gd name="T4" fmla="*/ 480 w 897"/>
                  <a:gd name="T5" fmla="*/ 352 h 583"/>
                  <a:gd name="T6" fmla="*/ 256 w 897"/>
                  <a:gd name="T7" fmla="*/ 519 h 583"/>
                  <a:gd name="T8" fmla="*/ 0 w 897"/>
                  <a:gd name="T9" fmla="*/ 564 h 583"/>
                  <a:gd name="T10" fmla="*/ 113 w 897"/>
                  <a:gd name="T11" fmla="*/ 542 h 583"/>
                  <a:gd name="T12" fmla="*/ 490 w 897"/>
                  <a:gd name="T13" fmla="*/ 279 h 583"/>
                  <a:gd name="T14" fmla="*/ 819 w 897"/>
                  <a:gd name="T15" fmla="*/ 125 h 583"/>
                  <a:gd name="T16" fmla="*/ 826 w 897"/>
                  <a:gd name="T17" fmla="*/ 0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7" h="583">
                    <a:moveTo>
                      <a:pt x="826" y="0"/>
                    </a:moveTo>
                    <a:cubicBezTo>
                      <a:pt x="829" y="16"/>
                      <a:pt x="842" y="96"/>
                      <a:pt x="896" y="150"/>
                    </a:cubicBezTo>
                    <a:cubicBezTo>
                      <a:pt x="897" y="151"/>
                      <a:pt x="639" y="237"/>
                      <a:pt x="480" y="352"/>
                    </a:cubicBezTo>
                    <a:cubicBezTo>
                      <a:pt x="396" y="412"/>
                      <a:pt x="313" y="486"/>
                      <a:pt x="256" y="519"/>
                    </a:cubicBezTo>
                    <a:cubicBezTo>
                      <a:pt x="145" y="583"/>
                      <a:pt x="0" y="576"/>
                      <a:pt x="0" y="564"/>
                    </a:cubicBezTo>
                    <a:cubicBezTo>
                      <a:pt x="0" y="551"/>
                      <a:pt x="36" y="566"/>
                      <a:pt x="113" y="542"/>
                    </a:cubicBezTo>
                    <a:cubicBezTo>
                      <a:pt x="223" y="507"/>
                      <a:pt x="387" y="351"/>
                      <a:pt x="490" y="279"/>
                    </a:cubicBezTo>
                    <a:cubicBezTo>
                      <a:pt x="613" y="197"/>
                      <a:pt x="782" y="137"/>
                      <a:pt x="819" y="125"/>
                    </a:cubicBezTo>
                    <a:cubicBezTo>
                      <a:pt x="819" y="114"/>
                      <a:pt x="804" y="30"/>
                      <a:pt x="8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4" name="Freeform 11">
                <a:extLst>
                  <a:ext uri="{FF2B5EF4-FFF2-40B4-BE49-F238E27FC236}">
                    <a16:creationId xmlns:a16="http://schemas.microsoft.com/office/drawing/2014/main" id="{5912668A-27D2-7BB4-D7FC-26EA5A7619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7773" y="3852570"/>
                <a:ext cx="342059" cy="191843"/>
              </a:xfrm>
              <a:custGeom>
                <a:avLst/>
                <a:gdLst>
                  <a:gd name="T0" fmla="*/ 0 w 834"/>
                  <a:gd name="T1" fmla="*/ 120 h 464"/>
                  <a:gd name="T2" fmla="*/ 156 w 834"/>
                  <a:gd name="T3" fmla="*/ 65 h 464"/>
                  <a:gd name="T4" fmla="*/ 508 w 834"/>
                  <a:gd name="T5" fmla="*/ 183 h 464"/>
                  <a:gd name="T6" fmla="*/ 448 w 834"/>
                  <a:gd name="T7" fmla="*/ 58 h 464"/>
                  <a:gd name="T8" fmla="*/ 452 w 834"/>
                  <a:gd name="T9" fmla="*/ 0 h 464"/>
                  <a:gd name="T10" fmla="*/ 600 w 834"/>
                  <a:gd name="T11" fmla="*/ 231 h 464"/>
                  <a:gd name="T12" fmla="*/ 834 w 834"/>
                  <a:gd name="T13" fmla="*/ 464 h 464"/>
                  <a:gd name="T14" fmla="*/ 649 w 834"/>
                  <a:gd name="T15" fmla="*/ 353 h 464"/>
                  <a:gd name="T16" fmla="*/ 543 w 834"/>
                  <a:gd name="T17" fmla="*/ 252 h 464"/>
                  <a:gd name="T18" fmla="*/ 462 w 834"/>
                  <a:gd name="T19" fmla="*/ 224 h 464"/>
                  <a:gd name="T20" fmla="*/ 193 w 834"/>
                  <a:gd name="T21" fmla="*/ 101 h 464"/>
                  <a:gd name="T22" fmla="*/ 0 w 834"/>
                  <a:gd name="T23" fmla="*/ 120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4" h="464">
                    <a:moveTo>
                      <a:pt x="0" y="120"/>
                    </a:moveTo>
                    <a:cubicBezTo>
                      <a:pt x="0" y="120"/>
                      <a:pt x="38" y="60"/>
                      <a:pt x="156" y="65"/>
                    </a:cubicBezTo>
                    <a:cubicBezTo>
                      <a:pt x="274" y="69"/>
                      <a:pt x="508" y="183"/>
                      <a:pt x="508" y="183"/>
                    </a:cubicBezTo>
                    <a:cubicBezTo>
                      <a:pt x="508" y="183"/>
                      <a:pt x="457" y="103"/>
                      <a:pt x="448" y="58"/>
                    </a:cubicBezTo>
                    <a:cubicBezTo>
                      <a:pt x="439" y="14"/>
                      <a:pt x="452" y="0"/>
                      <a:pt x="452" y="0"/>
                    </a:cubicBezTo>
                    <a:cubicBezTo>
                      <a:pt x="477" y="55"/>
                      <a:pt x="566" y="179"/>
                      <a:pt x="600" y="231"/>
                    </a:cubicBezTo>
                    <a:cubicBezTo>
                      <a:pt x="672" y="340"/>
                      <a:pt x="834" y="464"/>
                      <a:pt x="834" y="464"/>
                    </a:cubicBezTo>
                    <a:cubicBezTo>
                      <a:pt x="797" y="460"/>
                      <a:pt x="707" y="403"/>
                      <a:pt x="649" y="353"/>
                    </a:cubicBezTo>
                    <a:cubicBezTo>
                      <a:pt x="592" y="303"/>
                      <a:pt x="561" y="260"/>
                      <a:pt x="543" y="252"/>
                    </a:cubicBezTo>
                    <a:cubicBezTo>
                      <a:pt x="525" y="244"/>
                      <a:pt x="483" y="233"/>
                      <a:pt x="462" y="224"/>
                    </a:cubicBezTo>
                    <a:cubicBezTo>
                      <a:pt x="424" y="206"/>
                      <a:pt x="271" y="110"/>
                      <a:pt x="193" y="101"/>
                    </a:cubicBezTo>
                    <a:cubicBezTo>
                      <a:pt x="71" y="88"/>
                      <a:pt x="0" y="120"/>
                      <a:pt x="0" y="1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5" name="Freeform 12">
                <a:extLst>
                  <a:ext uri="{FF2B5EF4-FFF2-40B4-BE49-F238E27FC236}">
                    <a16:creationId xmlns:a16="http://schemas.microsoft.com/office/drawing/2014/main" id="{27BBD90F-8EEB-6CAD-A419-7E63EBCAB1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4003" y="3727692"/>
                <a:ext cx="229850" cy="106781"/>
              </a:xfrm>
              <a:custGeom>
                <a:avLst/>
                <a:gdLst>
                  <a:gd name="T0" fmla="*/ 0 w 559"/>
                  <a:gd name="T1" fmla="*/ 24 h 259"/>
                  <a:gd name="T2" fmla="*/ 68 w 559"/>
                  <a:gd name="T3" fmla="*/ 90 h 259"/>
                  <a:gd name="T4" fmla="*/ 185 w 559"/>
                  <a:gd name="T5" fmla="*/ 118 h 259"/>
                  <a:gd name="T6" fmla="*/ 87 w 559"/>
                  <a:gd name="T7" fmla="*/ 60 h 259"/>
                  <a:gd name="T8" fmla="*/ 212 w 559"/>
                  <a:gd name="T9" fmla="*/ 71 h 259"/>
                  <a:gd name="T10" fmla="*/ 320 w 559"/>
                  <a:gd name="T11" fmla="*/ 166 h 259"/>
                  <a:gd name="T12" fmla="*/ 289 w 559"/>
                  <a:gd name="T13" fmla="*/ 215 h 259"/>
                  <a:gd name="T14" fmla="*/ 434 w 559"/>
                  <a:gd name="T15" fmla="*/ 252 h 259"/>
                  <a:gd name="T16" fmla="*/ 559 w 559"/>
                  <a:gd name="T17" fmla="*/ 185 h 259"/>
                  <a:gd name="T18" fmla="*/ 433 w 559"/>
                  <a:gd name="T19" fmla="*/ 218 h 259"/>
                  <a:gd name="T20" fmla="*/ 353 w 559"/>
                  <a:gd name="T21" fmla="*/ 192 h 259"/>
                  <a:gd name="T22" fmla="*/ 361 w 559"/>
                  <a:gd name="T23" fmla="*/ 156 h 259"/>
                  <a:gd name="T24" fmla="*/ 219 w 559"/>
                  <a:gd name="T25" fmla="*/ 38 h 259"/>
                  <a:gd name="T26" fmla="*/ 0 w 559"/>
                  <a:gd name="T27" fmla="*/ 24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59" h="259">
                    <a:moveTo>
                      <a:pt x="0" y="24"/>
                    </a:moveTo>
                    <a:cubicBezTo>
                      <a:pt x="0" y="24"/>
                      <a:pt x="6" y="53"/>
                      <a:pt x="68" y="90"/>
                    </a:cubicBezTo>
                    <a:cubicBezTo>
                      <a:pt x="131" y="127"/>
                      <a:pt x="185" y="118"/>
                      <a:pt x="185" y="118"/>
                    </a:cubicBezTo>
                    <a:cubicBezTo>
                      <a:pt x="185" y="118"/>
                      <a:pt x="100" y="88"/>
                      <a:pt x="87" y="60"/>
                    </a:cubicBezTo>
                    <a:cubicBezTo>
                      <a:pt x="97" y="59"/>
                      <a:pt x="121" y="45"/>
                      <a:pt x="212" y="71"/>
                    </a:cubicBezTo>
                    <a:cubicBezTo>
                      <a:pt x="285" y="92"/>
                      <a:pt x="320" y="152"/>
                      <a:pt x="320" y="166"/>
                    </a:cubicBezTo>
                    <a:cubicBezTo>
                      <a:pt x="320" y="187"/>
                      <a:pt x="289" y="215"/>
                      <a:pt x="289" y="215"/>
                    </a:cubicBezTo>
                    <a:cubicBezTo>
                      <a:pt x="289" y="215"/>
                      <a:pt x="354" y="259"/>
                      <a:pt x="434" y="252"/>
                    </a:cubicBezTo>
                    <a:cubicBezTo>
                      <a:pt x="514" y="244"/>
                      <a:pt x="559" y="185"/>
                      <a:pt x="559" y="185"/>
                    </a:cubicBezTo>
                    <a:cubicBezTo>
                      <a:pt x="559" y="185"/>
                      <a:pt x="495" y="217"/>
                      <a:pt x="433" y="218"/>
                    </a:cubicBezTo>
                    <a:cubicBezTo>
                      <a:pt x="370" y="219"/>
                      <a:pt x="353" y="192"/>
                      <a:pt x="353" y="192"/>
                    </a:cubicBezTo>
                    <a:cubicBezTo>
                      <a:pt x="353" y="192"/>
                      <a:pt x="366" y="182"/>
                      <a:pt x="361" y="156"/>
                    </a:cubicBezTo>
                    <a:cubicBezTo>
                      <a:pt x="356" y="130"/>
                      <a:pt x="314" y="76"/>
                      <a:pt x="219" y="38"/>
                    </a:cubicBezTo>
                    <a:cubicBezTo>
                      <a:pt x="125" y="0"/>
                      <a:pt x="0" y="24"/>
                      <a:pt x="0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6" name="Freeform 13">
                <a:extLst>
                  <a:ext uri="{FF2B5EF4-FFF2-40B4-BE49-F238E27FC236}">
                    <a16:creationId xmlns:a16="http://schemas.microsoft.com/office/drawing/2014/main" id="{05C04CBD-2D13-44DC-D9A6-2DB749FFF0D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17714" y="3791036"/>
                <a:ext cx="193653" cy="110401"/>
              </a:xfrm>
              <a:custGeom>
                <a:avLst/>
                <a:gdLst>
                  <a:gd name="T0" fmla="*/ 374 w 471"/>
                  <a:gd name="T1" fmla="*/ 105 h 265"/>
                  <a:gd name="T2" fmla="*/ 301 w 471"/>
                  <a:gd name="T3" fmla="*/ 72 h 265"/>
                  <a:gd name="T4" fmla="*/ 211 w 471"/>
                  <a:gd name="T5" fmla="*/ 114 h 265"/>
                  <a:gd name="T6" fmla="*/ 125 w 471"/>
                  <a:gd name="T7" fmla="*/ 165 h 265"/>
                  <a:gd name="T8" fmla="*/ 83 w 471"/>
                  <a:gd name="T9" fmla="*/ 137 h 265"/>
                  <a:gd name="T10" fmla="*/ 73 w 471"/>
                  <a:gd name="T11" fmla="*/ 166 h 265"/>
                  <a:gd name="T12" fmla="*/ 72 w 471"/>
                  <a:gd name="T13" fmla="*/ 189 h 265"/>
                  <a:gd name="T14" fmla="*/ 35 w 471"/>
                  <a:gd name="T15" fmla="*/ 148 h 265"/>
                  <a:gd name="T16" fmla="*/ 53 w 471"/>
                  <a:gd name="T17" fmla="*/ 100 h 265"/>
                  <a:gd name="T18" fmla="*/ 33 w 471"/>
                  <a:gd name="T19" fmla="*/ 61 h 265"/>
                  <a:gd name="T20" fmla="*/ 80 w 471"/>
                  <a:gd name="T21" fmla="*/ 0 h 265"/>
                  <a:gd name="T22" fmla="*/ 27 w 471"/>
                  <a:gd name="T23" fmla="*/ 24 h 265"/>
                  <a:gd name="T24" fmla="*/ 3 w 471"/>
                  <a:gd name="T25" fmla="*/ 69 h 265"/>
                  <a:gd name="T26" fmla="*/ 21 w 471"/>
                  <a:gd name="T27" fmla="*/ 111 h 265"/>
                  <a:gd name="T28" fmla="*/ 5 w 471"/>
                  <a:gd name="T29" fmla="*/ 144 h 265"/>
                  <a:gd name="T30" fmla="*/ 16 w 471"/>
                  <a:gd name="T31" fmla="*/ 183 h 265"/>
                  <a:gd name="T32" fmla="*/ 49 w 471"/>
                  <a:gd name="T33" fmla="*/ 217 h 265"/>
                  <a:gd name="T34" fmla="*/ 62 w 471"/>
                  <a:gd name="T35" fmla="*/ 225 h 265"/>
                  <a:gd name="T36" fmla="*/ 62 w 471"/>
                  <a:gd name="T37" fmla="*/ 242 h 265"/>
                  <a:gd name="T38" fmla="*/ 86 w 471"/>
                  <a:gd name="T39" fmla="*/ 264 h 265"/>
                  <a:gd name="T40" fmla="*/ 118 w 471"/>
                  <a:gd name="T41" fmla="*/ 244 h 265"/>
                  <a:gd name="T42" fmla="*/ 132 w 471"/>
                  <a:gd name="T43" fmla="*/ 196 h 265"/>
                  <a:gd name="T44" fmla="*/ 235 w 471"/>
                  <a:gd name="T45" fmla="*/ 144 h 265"/>
                  <a:gd name="T46" fmla="*/ 282 w 471"/>
                  <a:gd name="T47" fmla="*/ 116 h 265"/>
                  <a:gd name="T48" fmla="*/ 373 w 471"/>
                  <a:gd name="T49" fmla="*/ 136 h 265"/>
                  <a:gd name="T50" fmla="*/ 471 w 471"/>
                  <a:gd name="T51" fmla="*/ 112 h 265"/>
                  <a:gd name="T52" fmla="*/ 374 w 471"/>
                  <a:gd name="T53" fmla="*/ 105 h 265"/>
                  <a:gd name="T54" fmla="*/ 79 w 471"/>
                  <a:gd name="T55" fmla="*/ 240 h 265"/>
                  <a:gd name="T56" fmla="*/ 109 w 471"/>
                  <a:gd name="T57" fmla="*/ 213 h 265"/>
                  <a:gd name="T58" fmla="*/ 79 w 471"/>
                  <a:gd name="T59" fmla="*/ 24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71" h="265">
                    <a:moveTo>
                      <a:pt x="374" y="105"/>
                    </a:moveTo>
                    <a:cubicBezTo>
                      <a:pt x="351" y="100"/>
                      <a:pt x="301" y="72"/>
                      <a:pt x="301" y="72"/>
                    </a:cubicBezTo>
                    <a:cubicBezTo>
                      <a:pt x="301" y="72"/>
                      <a:pt x="227" y="105"/>
                      <a:pt x="211" y="114"/>
                    </a:cubicBezTo>
                    <a:cubicBezTo>
                      <a:pt x="195" y="123"/>
                      <a:pt x="136" y="164"/>
                      <a:pt x="125" y="165"/>
                    </a:cubicBezTo>
                    <a:cubicBezTo>
                      <a:pt x="114" y="166"/>
                      <a:pt x="83" y="137"/>
                      <a:pt x="83" y="137"/>
                    </a:cubicBezTo>
                    <a:cubicBezTo>
                      <a:pt x="83" y="137"/>
                      <a:pt x="71" y="160"/>
                      <a:pt x="73" y="166"/>
                    </a:cubicBezTo>
                    <a:cubicBezTo>
                      <a:pt x="74" y="172"/>
                      <a:pt x="85" y="182"/>
                      <a:pt x="72" y="189"/>
                    </a:cubicBezTo>
                    <a:cubicBezTo>
                      <a:pt x="57" y="198"/>
                      <a:pt x="35" y="163"/>
                      <a:pt x="35" y="148"/>
                    </a:cubicBezTo>
                    <a:cubicBezTo>
                      <a:pt x="35" y="133"/>
                      <a:pt x="55" y="115"/>
                      <a:pt x="53" y="100"/>
                    </a:cubicBezTo>
                    <a:cubicBezTo>
                      <a:pt x="51" y="85"/>
                      <a:pt x="35" y="80"/>
                      <a:pt x="33" y="61"/>
                    </a:cubicBezTo>
                    <a:cubicBezTo>
                      <a:pt x="31" y="43"/>
                      <a:pt x="80" y="0"/>
                      <a:pt x="80" y="0"/>
                    </a:cubicBezTo>
                    <a:cubicBezTo>
                      <a:pt x="80" y="0"/>
                      <a:pt x="45" y="7"/>
                      <a:pt x="27" y="24"/>
                    </a:cubicBezTo>
                    <a:cubicBezTo>
                      <a:pt x="10" y="40"/>
                      <a:pt x="4" y="55"/>
                      <a:pt x="3" y="69"/>
                    </a:cubicBezTo>
                    <a:cubicBezTo>
                      <a:pt x="2" y="84"/>
                      <a:pt x="21" y="98"/>
                      <a:pt x="21" y="111"/>
                    </a:cubicBezTo>
                    <a:cubicBezTo>
                      <a:pt x="21" y="121"/>
                      <a:pt x="10" y="127"/>
                      <a:pt x="5" y="144"/>
                    </a:cubicBezTo>
                    <a:cubicBezTo>
                      <a:pt x="0" y="160"/>
                      <a:pt x="11" y="176"/>
                      <a:pt x="16" y="183"/>
                    </a:cubicBezTo>
                    <a:cubicBezTo>
                      <a:pt x="22" y="191"/>
                      <a:pt x="40" y="209"/>
                      <a:pt x="49" y="217"/>
                    </a:cubicBezTo>
                    <a:cubicBezTo>
                      <a:pt x="58" y="224"/>
                      <a:pt x="62" y="225"/>
                      <a:pt x="62" y="225"/>
                    </a:cubicBezTo>
                    <a:cubicBezTo>
                      <a:pt x="62" y="225"/>
                      <a:pt x="61" y="234"/>
                      <a:pt x="62" y="242"/>
                    </a:cubicBezTo>
                    <a:cubicBezTo>
                      <a:pt x="63" y="251"/>
                      <a:pt x="70" y="265"/>
                      <a:pt x="86" y="264"/>
                    </a:cubicBezTo>
                    <a:cubicBezTo>
                      <a:pt x="100" y="263"/>
                      <a:pt x="109" y="256"/>
                      <a:pt x="118" y="244"/>
                    </a:cubicBezTo>
                    <a:cubicBezTo>
                      <a:pt x="129" y="231"/>
                      <a:pt x="132" y="196"/>
                      <a:pt x="132" y="196"/>
                    </a:cubicBezTo>
                    <a:cubicBezTo>
                      <a:pt x="132" y="196"/>
                      <a:pt x="205" y="158"/>
                      <a:pt x="235" y="144"/>
                    </a:cubicBezTo>
                    <a:cubicBezTo>
                      <a:pt x="264" y="129"/>
                      <a:pt x="282" y="116"/>
                      <a:pt x="282" y="116"/>
                    </a:cubicBezTo>
                    <a:cubicBezTo>
                      <a:pt x="282" y="116"/>
                      <a:pt x="321" y="134"/>
                      <a:pt x="373" y="136"/>
                    </a:cubicBezTo>
                    <a:cubicBezTo>
                      <a:pt x="425" y="138"/>
                      <a:pt x="471" y="112"/>
                      <a:pt x="471" y="112"/>
                    </a:cubicBezTo>
                    <a:cubicBezTo>
                      <a:pt x="471" y="112"/>
                      <a:pt x="398" y="110"/>
                      <a:pt x="374" y="105"/>
                    </a:cubicBezTo>
                    <a:close/>
                    <a:moveTo>
                      <a:pt x="79" y="240"/>
                    </a:moveTo>
                    <a:cubicBezTo>
                      <a:pt x="68" y="225"/>
                      <a:pt x="100" y="199"/>
                      <a:pt x="109" y="213"/>
                    </a:cubicBezTo>
                    <a:cubicBezTo>
                      <a:pt x="116" y="227"/>
                      <a:pt x="89" y="252"/>
                      <a:pt x="79" y="2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7" name="Freeform 14">
                <a:extLst>
                  <a:ext uri="{FF2B5EF4-FFF2-40B4-BE49-F238E27FC236}">
                    <a16:creationId xmlns:a16="http://schemas.microsoft.com/office/drawing/2014/main" id="{BEF45F41-C2D3-A392-ED49-889C3D39E50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918" y="3810944"/>
                <a:ext cx="10859" cy="19909"/>
              </a:xfrm>
              <a:custGeom>
                <a:avLst/>
                <a:gdLst>
                  <a:gd name="T0" fmla="*/ 0 w 29"/>
                  <a:gd name="T1" fmla="*/ 0 h 50"/>
                  <a:gd name="T2" fmla="*/ 29 w 29"/>
                  <a:gd name="T3" fmla="*/ 36 h 50"/>
                  <a:gd name="T4" fmla="*/ 9 w 29"/>
                  <a:gd name="T5" fmla="*/ 44 h 50"/>
                  <a:gd name="T6" fmla="*/ 9 w 29"/>
                  <a:gd name="T7" fmla="*/ 27 h 50"/>
                  <a:gd name="T8" fmla="*/ 6 w 29"/>
                  <a:gd name="T9" fmla="*/ 15 h 50"/>
                  <a:gd name="T10" fmla="*/ 0 w 29"/>
                  <a:gd name="T1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50">
                    <a:moveTo>
                      <a:pt x="0" y="0"/>
                    </a:moveTo>
                    <a:cubicBezTo>
                      <a:pt x="13" y="20"/>
                      <a:pt x="29" y="23"/>
                      <a:pt x="29" y="36"/>
                    </a:cubicBezTo>
                    <a:cubicBezTo>
                      <a:pt x="28" y="43"/>
                      <a:pt x="17" y="50"/>
                      <a:pt x="9" y="44"/>
                    </a:cubicBezTo>
                    <a:cubicBezTo>
                      <a:pt x="0" y="38"/>
                      <a:pt x="9" y="27"/>
                      <a:pt x="9" y="27"/>
                    </a:cubicBezTo>
                    <a:cubicBezTo>
                      <a:pt x="9" y="27"/>
                      <a:pt x="9" y="23"/>
                      <a:pt x="6" y="15"/>
                    </a:cubicBezTo>
                    <a:cubicBezTo>
                      <a:pt x="3" y="6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" name="Freeform 15">
                <a:extLst>
                  <a:ext uri="{FF2B5EF4-FFF2-40B4-BE49-F238E27FC236}">
                    <a16:creationId xmlns:a16="http://schemas.microsoft.com/office/drawing/2014/main" id="{A02BFDA0-1B15-0431-DB87-BA83D106D0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8449" y="3991928"/>
                <a:ext cx="175555" cy="128499"/>
              </a:xfrm>
              <a:custGeom>
                <a:avLst/>
                <a:gdLst>
                  <a:gd name="T0" fmla="*/ 131 w 427"/>
                  <a:gd name="T1" fmla="*/ 32 h 315"/>
                  <a:gd name="T2" fmla="*/ 58 w 427"/>
                  <a:gd name="T3" fmla="*/ 32 h 315"/>
                  <a:gd name="T4" fmla="*/ 0 w 427"/>
                  <a:gd name="T5" fmla="*/ 315 h 315"/>
                  <a:gd name="T6" fmla="*/ 74 w 427"/>
                  <a:gd name="T7" fmla="*/ 315 h 315"/>
                  <a:gd name="T8" fmla="*/ 113 w 427"/>
                  <a:gd name="T9" fmla="*/ 122 h 315"/>
                  <a:gd name="T10" fmla="*/ 173 w 427"/>
                  <a:gd name="T11" fmla="*/ 101 h 315"/>
                  <a:gd name="T12" fmla="*/ 191 w 427"/>
                  <a:gd name="T13" fmla="*/ 121 h 315"/>
                  <a:gd name="T14" fmla="*/ 149 w 427"/>
                  <a:gd name="T15" fmla="*/ 313 h 315"/>
                  <a:gd name="T16" fmla="*/ 224 w 427"/>
                  <a:gd name="T17" fmla="*/ 313 h 315"/>
                  <a:gd name="T18" fmla="*/ 265 w 427"/>
                  <a:gd name="T19" fmla="*/ 127 h 315"/>
                  <a:gd name="T20" fmla="*/ 329 w 427"/>
                  <a:gd name="T21" fmla="*/ 103 h 315"/>
                  <a:gd name="T22" fmla="*/ 340 w 427"/>
                  <a:gd name="T23" fmla="*/ 127 h 315"/>
                  <a:gd name="T24" fmla="*/ 300 w 427"/>
                  <a:gd name="T25" fmla="*/ 313 h 315"/>
                  <a:gd name="T26" fmla="*/ 375 w 427"/>
                  <a:gd name="T27" fmla="*/ 313 h 315"/>
                  <a:gd name="T28" fmla="*/ 417 w 427"/>
                  <a:gd name="T29" fmla="*/ 106 h 315"/>
                  <a:gd name="T30" fmla="*/ 401 w 427"/>
                  <a:gd name="T31" fmla="*/ 45 h 315"/>
                  <a:gd name="T32" fmla="*/ 254 w 427"/>
                  <a:gd name="T33" fmla="*/ 58 h 315"/>
                  <a:gd name="T34" fmla="*/ 195 w 427"/>
                  <a:gd name="T35" fmla="*/ 28 h 315"/>
                  <a:gd name="T36" fmla="*/ 129 w 427"/>
                  <a:gd name="T37" fmla="*/ 49 h 315"/>
                  <a:gd name="T38" fmla="*/ 131 w 427"/>
                  <a:gd name="T39" fmla="*/ 3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7" h="315">
                    <a:moveTo>
                      <a:pt x="131" y="32"/>
                    </a:moveTo>
                    <a:lnTo>
                      <a:pt x="58" y="32"/>
                    </a:lnTo>
                    <a:lnTo>
                      <a:pt x="0" y="315"/>
                    </a:lnTo>
                    <a:lnTo>
                      <a:pt x="74" y="315"/>
                    </a:lnTo>
                    <a:lnTo>
                      <a:pt x="113" y="122"/>
                    </a:lnTo>
                    <a:cubicBezTo>
                      <a:pt x="139" y="110"/>
                      <a:pt x="142" y="101"/>
                      <a:pt x="173" y="101"/>
                    </a:cubicBezTo>
                    <a:cubicBezTo>
                      <a:pt x="197" y="101"/>
                      <a:pt x="191" y="121"/>
                      <a:pt x="191" y="121"/>
                    </a:cubicBezTo>
                    <a:lnTo>
                      <a:pt x="149" y="313"/>
                    </a:lnTo>
                    <a:lnTo>
                      <a:pt x="224" y="313"/>
                    </a:lnTo>
                    <a:lnTo>
                      <a:pt x="265" y="127"/>
                    </a:lnTo>
                    <a:cubicBezTo>
                      <a:pt x="270" y="121"/>
                      <a:pt x="310" y="101"/>
                      <a:pt x="329" y="103"/>
                    </a:cubicBezTo>
                    <a:cubicBezTo>
                      <a:pt x="347" y="105"/>
                      <a:pt x="340" y="127"/>
                      <a:pt x="340" y="127"/>
                    </a:cubicBezTo>
                    <a:lnTo>
                      <a:pt x="300" y="313"/>
                    </a:lnTo>
                    <a:lnTo>
                      <a:pt x="375" y="313"/>
                    </a:lnTo>
                    <a:lnTo>
                      <a:pt x="417" y="106"/>
                    </a:lnTo>
                    <a:cubicBezTo>
                      <a:pt x="417" y="106"/>
                      <a:pt x="427" y="65"/>
                      <a:pt x="401" y="45"/>
                    </a:cubicBezTo>
                    <a:cubicBezTo>
                      <a:pt x="344" y="0"/>
                      <a:pt x="265" y="57"/>
                      <a:pt x="254" y="58"/>
                    </a:cubicBezTo>
                    <a:cubicBezTo>
                      <a:pt x="252" y="55"/>
                      <a:pt x="237" y="31"/>
                      <a:pt x="195" y="28"/>
                    </a:cubicBezTo>
                    <a:cubicBezTo>
                      <a:pt x="165" y="25"/>
                      <a:pt x="129" y="49"/>
                      <a:pt x="129" y="49"/>
                    </a:cubicBezTo>
                    <a:lnTo>
                      <a:pt x="131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" name="Freeform 16">
                <a:extLst>
                  <a:ext uri="{FF2B5EF4-FFF2-40B4-BE49-F238E27FC236}">
                    <a16:creationId xmlns:a16="http://schemas.microsoft.com/office/drawing/2014/main" id="{014581AC-34E0-A0EA-9A7D-836F65F01A7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04993" y="4055271"/>
                <a:ext cx="57915" cy="76013"/>
              </a:xfrm>
              <a:custGeom>
                <a:avLst/>
                <a:gdLst>
                  <a:gd name="T0" fmla="*/ 32 w 142"/>
                  <a:gd name="T1" fmla="*/ 103 h 184"/>
                  <a:gd name="T2" fmla="*/ 32 w 142"/>
                  <a:gd name="T3" fmla="*/ 159 h 184"/>
                  <a:gd name="T4" fmla="*/ 82 w 142"/>
                  <a:gd name="T5" fmla="*/ 159 h 184"/>
                  <a:gd name="T6" fmla="*/ 110 w 142"/>
                  <a:gd name="T7" fmla="*/ 135 h 184"/>
                  <a:gd name="T8" fmla="*/ 101 w 142"/>
                  <a:gd name="T9" fmla="*/ 115 h 184"/>
                  <a:gd name="T10" fmla="*/ 90 w 142"/>
                  <a:gd name="T11" fmla="*/ 103 h 184"/>
                  <a:gd name="T12" fmla="*/ 32 w 142"/>
                  <a:gd name="T13" fmla="*/ 103 h 184"/>
                  <a:gd name="T14" fmla="*/ 79 w 142"/>
                  <a:gd name="T15" fmla="*/ 24 h 184"/>
                  <a:gd name="T16" fmla="*/ 32 w 142"/>
                  <a:gd name="T17" fmla="*/ 24 h 184"/>
                  <a:gd name="T18" fmla="*/ 32 w 142"/>
                  <a:gd name="T19" fmla="*/ 80 h 184"/>
                  <a:gd name="T20" fmla="*/ 89 w 142"/>
                  <a:gd name="T21" fmla="*/ 80 h 184"/>
                  <a:gd name="T22" fmla="*/ 97 w 142"/>
                  <a:gd name="T23" fmla="*/ 68 h 184"/>
                  <a:gd name="T24" fmla="*/ 104 w 142"/>
                  <a:gd name="T25" fmla="*/ 47 h 184"/>
                  <a:gd name="T26" fmla="*/ 79 w 142"/>
                  <a:gd name="T27" fmla="*/ 24 h 184"/>
                  <a:gd name="T28" fmla="*/ 21 w 142"/>
                  <a:gd name="T29" fmla="*/ 184 h 184"/>
                  <a:gd name="T30" fmla="*/ 0 w 142"/>
                  <a:gd name="T31" fmla="*/ 164 h 184"/>
                  <a:gd name="T32" fmla="*/ 0 w 142"/>
                  <a:gd name="T33" fmla="*/ 20 h 184"/>
                  <a:gd name="T34" fmla="*/ 21 w 142"/>
                  <a:gd name="T35" fmla="*/ 0 h 184"/>
                  <a:gd name="T36" fmla="*/ 83 w 142"/>
                  <a:gd name="T37" fmla="*/ 0 h 184"/>
                  <a:gd name="T38" fmla="*/ 135 w 142"/>
                  <a:gd name="T39" fmla="*/ 46 h 184"/>
                  <a:gd name="T40" fmla="*/ 124 w 142"/>
                  <a:gd name="T41" fmla="*/ 78 h 184"/>
                  <a:gd name="T42" fmla="*/ 115 w 142"/>
                  <a:gd name="T43" fmla="*/ 90 h 184"/>
                  <a:gd name="T44" fmla="*/ 127 w 142"/>
                  <a:gd name="T45" fmla="*/ 102 h 184"/>
                  <a:gd name="T46" fmla="*/ 142 w 142"/>
                  <a:gd name="T47" fmla="*/ 136 h 184"/>
                  <a:gd name="T48" fmla="*/ 84 w 142"/>
                  <a:gd name="T49" fmla="*/ 184 h 184"/>
                  <a:gd name="T50" fmla="*/ 21 w 142"/>
                  <a:gd name="T51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2" h="184">
                    <a:moveTo>
                      <a:pt x="32" y="103"/>
                    </a:moveTo>
                    <a:lnTo>
                      <a:pt x="32" y="159"/>
                    </a:lnTo>
                    <a:lnTo>
                      <a:pt x="82" y="159"/>
                    </a:lnTo>
                    <a:cubicBezTo>
                      <a:pt x="100" y="159"/>
                      <a:pt x="110" y="150"/>
                      <a:pt x="110" y="135"/>
                    </a:cubicBezTo>
                    <a:cubicBezTo>
                      <a:pt x="110" y="128"/>
                      <a:pt x="107" y="121"/>
                      <a:pt x="101" y="115"/>
                    </a:cubicBezTo>
                    <a:lnTo>
                      <a:pt x="90" y="103"/>
                    </a:lnTo>
                    <a:lnTo>
                      <a:pt x="32" y="103"/>
                    </a:lnTo>
                    <a:close/>
                    <a:moveTo>
                      <a:pt x="79" y="24"/>
                    </a:moveTo>
                    <a:lnTo>
                      <a:pt x="32" y="24"/>
                    </a:lnTo>
                    <a:lnTo>
                      <a:pt x="32" y="80"/>
                    </a:lnTo>
                    <a:lnTo>
                      <a:pt x="89" y="80"/>
                    </a:lnTo>
                    <a:lnTo>
                      <a:pt x="97" y="68"/>
                    </a:lnTo>
                    <a:cubicBezTo>
                      <a:pt x="102" y="62"/>
                      <a:pt x="104" y="55"/>
                      <a:pt x="104" y="47"/>
                    </a:cubicBezTo>
                    <a:cubicBezTo>
                      <a:pt x="104" y="34"/>
                      <a:pt x="97" y="24"/>
                      <a:pt x="79" y="24"/>
                    </a:cubicBezTo>
                    <a:close/>
                    <a:moveTo>
                      <a:pt x="21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20"/>
                    </a:lnTo>
                    <a:cubicBezTo>
                      <a:pt x="0" y="8"/>
                      <a:pt x="8" y="0"/>
                      <a:pt x="21" y="0"/>
                    </a:cubicBezTo>
                    <a:lnTo>
                      <a:pt x="83" y="0"/>
                    </a:lnTo>
                    <a:cubicBezTo>
                      <a:pt x="116" y="0"/>
                      <a:pt x="135" y="15"/>
                      <a:pt x="135" y="46"/>
                    </a:cubicBezTo>
                    <a:cubicBezTo>
                      <a:pt x="135" y="58"/>
                      <a:pt x="131" y="69"/>
                      <a:pt x="124" y="78"/>
                    </a:cubicBezTo>
                    <a:lnTo>
                      <a:pt x="115" y="90"/>
                    </a:lnTo>
                    <a:lnTo>
                      <a:pt x="127" y="102"/>
                    </a:lnTo>
                    <a:cubicBezTo>
                      <a:pt x="136" y="111"/>
                      <a:pt x="142" y="123"/>
                      <a:pt x="142" y="136"/>
                    </a:cubicBezTo>
                    <a:cubicBezTo>
                      <a:pt x="142" y="166"/>
                      <a:pt x="121" y="184"/>
                      <a:pt x="84" y="184"/>
                    </a:cubicBezTo>
                    <a:lnTo>
                      <a:pt x="21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17">
                <a:extLst>
                  <a:ext uri="{FF2B5EF4-FFF2-40B4-BE49-F238E27FC236}">
                    <a16:creationId xmlns:a16="http://schemas.microsoft.com/office/drawing/2014/main" id="{69624B74-B9F6-1417-B0E5-39C5B840D9C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71956" y="4075180"/>
                <a:ext cx="52486" cy="56105"/>
              </a:xfrm>
              <a:custGeom>
                <a:avLst/>
                <a:gdLst>
                  <a:gd name="T0" fmla="*/ 65 w 130"/>
                  <a:gd name="T1" fmla="*/ 22 h 138"/>
                  <a:gd name="T2" fmla="*/ 30 w 130"/>
                  <a:gd name="T3" fmla="*/ 69 h 138"/>
                  <a:gd name="T4" fmla="*/ 66 w 130"/>
                  <a:gd name="T5" fmla="*/ 116 h 138"/>
                  <a:gd name="T6" fmla="*/ 102 w 130"/>
                  <a:gd name="T7" fmla="*/ 69 h 138"/>
                  <a:gd name="T8" fmla="*/ 65 w 130"/>
                  <a:gd name="T9" fmla="*/ 22 h 138"/>
                  <a:gd name="T10" fmla="*/ 65 w 130"/>
                  <a:gd name="T11" fmla="*/ 138 h 138"/>
                  <a:gd name="T12" fmla="*/ 0 w 130"/>
                  <a:gd name="T13" fmla="*/ 69 h 138"/>
                  <a:gd name="T14" fmla="*/ 66 w 130"/>
                  <a:gd name="T15" fmla="*/ 0 h 138"/>
                  <a:gd name="T16" fmla="*/ 130 w 130"/>
                  <a:gd name="T17" fmla="*/ 69 h 138"/>
                  <a:gd name="T18" fmla="*/ 65 w 130"/>
                  <a:gd name="T1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8">
                    <a:moveTo>
                      <a:pt x="65" y="22"/>
                    </a:moveTo>
                    <a:cubicBezTo>
                      <a:pt x="41" y="22"/>
                      <a:pt x="30" y="39"/>
                      <a:pt x="30" y="69"/>
                    </a:cubicBezTo>
                    <a:cubicBezTo>
                      <a:pt x="30" y="100"/>
                      <a:pt x="42" y="116"/>
                      <a:pt x="66" y="116"/>
                    </a:cubicBezTo>
                    <a:cubicBezTo>
                      <a:pt x="89" y="116"/>
                      <a:pt x="102" y="100"/>
                      <a:pt x="102" y="69"/>
                    </a:cubicBezTo>
                    <a:cubicBezTo>
                      <a:pt x="102" y="39"/>
                      <a:pt x="88" y="22"/>
                      <a:pt x="65" y="22"/>
                    </a:cubicBezTo>
                    <a:close/>
                    <a:moveTo>
                      <a:pt x="65" y="138"/>
                    </a:moveTo>
                    <a:cubicBezTo>
                      <a:pt x="25" y="138"/>
                      <a:pt x="0" y="113"/>
                      <a:pt x="0" y="69"/>
                    </a:cubicBezTo>
                    <a:cubicBezTo>
                      <a:pt x="0" y="25"/>
                      <a:pt x="26" y="0"/>
                      <a:pt x="66" y="0"/>
                    </a:cubicBezTo>
                    <a:cubicBezTo>
                      <a:pt x="106" y="0"/>
                      <a:pt x="130" y="25"/>
                      <a:pt x="130" y="69"/>
                    </a:cubicBezTo>
                    <a:cubicBezTo>
                      <a:pt x="130" y="113"/>
                      <a:pt x="105" y="138"/>
                      <a:pt x="65" y="1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" name="Freeform 18">
                <a:extLst>
                  <a:ext uri="{FF2B5EF4-FFF2-40B4-BE49-F238E27FC236}">
                    <a16:creationId xmlns:a16="http://schemas.microsoft.com/office/drawing/2014/main" id="{0F401AF3-903D-528B-0D96-E49DFA1508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29871" y="4062511"/>
                <a:ext cx="39816" cy="68774"/>
              </a:xfrm>
              <a:custGeom>
                <a:avLst/>
                <a:gdLst>
                  <a:gd name="T0" fmla="*/ 95 w 95"/>
                  <a:gd name="T1" fmla="*/ 165 h 170"/>
                  <a:gd name="T2" fmla="*/ 63 w 95"/>
                  <a:gd name="T3" fmla="*/ 170 h 170"/>
                  <a:gd name="T4" fmla="*/ 20 w 95"/>
                  <a:gd name="T5" fmla="*/ 123 h 170"/>
                  <a:gd name="T6" fmla="*/ 20 w 95"/>
                  <a:gd name="T7" fmla="*/ 58 h 170"/>
                  <a:gd name="T8" fmla="*/ 0 w 95"/>
                  <a:gd name="T9" fmla="*/ 58 h 170"/>
                  <a:gd name="T10" fmla="*/ 0 w 95"/>
                  <a:gd name="T11" fmla="*/ 35 h 170"/>
                  <a:gd name="T12" fmla="*/ 20 w 95"/>
                  <a:gd name="T13" fmla="*/ 35 h 170"/>
                  <a:gd name="T14" fmla="*/ 20 w 95"/>
                  <a:gd name="T15" fmla="*/ 5 h 170"/>
                  <a:gd name="T16" fmla="*/ 48 w 95"/>
                  <a:gd name="T17" fmla="*/ 0 h 170"/>
                  <a:gd name="T18" fmla="*/ 48 w 95"/>
                  <a:gd name="T19" fmla="*/ 35 h 170"/>
                  <a:gd name="T20" fmla="*/ 91 w 95"/>
                  <a:gd name="T21" fmla="*/ 35 h 170"/>
                  <a:gd name="T22" fmla="*/ 91 w 95"/>
                  <a:gd name="T23" fmla="*/ 58 h 170"/>
                  <a:gd name="T24" fmla="*/ 48 w 95"/>
                  <a:gd name="T25" fmla="*/ 58 h 170"/>
                  <a:gd name="T26" fmla="*/ 48 w 95"/>
                  <a:gd name="T27" fmla="*/ 124 h 170"/>
                  <a:gd name="T28" fmla="*/ 67 w 95"/>
                  <a:gd name="T29" fmla="*/ 147 h 170"/>
                  <a:gd name="T30" fmla="*/ 91 w 95"/>
                  <a:gd name="T31" fmla="*/ 143 h 170"/>
                  <a:gd name="T32" fmla="*/ 95 w 95"/>
                  <a:gd name="T33" fmla="*/ 16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70">
                    <a:moveTo>
                      <a:pt x="95" y="165"/>
                    </a:moveTo>
                    <a:cubicBezTo>
                      <a:pt x="81" y="169"/>
                      <a:pt x="72" y="170"/>
                      <a:pt x="63" y="170"/>
                    </a:cubicBezTo>
                    <a:cubicBezTo>
                      <a:pt x="34" y="170"/>
                      <a:pt x="20" y="154"/>
                      <a:pt x="20" y="123"/>
                    </a:cubicBezTo>
                    <a:lnTo>
                      <a:pt x="20" y="58"/>
                    </a:lnTo>
                    <a:lnTo>
                      <a:pt x="0" y="58"/>
                    </a:lnTo>
                    <a:lnTo>
                      <a:pt x="0" y="35"/>
                    </a:lnTo>
                    <a:lnTo>
                      <a:pt x="20" y="35"/>
                    </a:lnTo>
                    <a:lnTo>
                      <a:pt x="20" y="5"/>
                    </a:lnTo>
                    <a:lnTo>
                      <a:pt x="48" y="0"/>
                    </a:lnTo>
                    <a:lnTo>
                      <a:pt x="48" y="35"/>
                    </a:lnTo>
                    <a:lnTo>
                      <a:pt x="91" y="35"/>
                    </a:lnTo>
                    <a:lnTo>
                      <a:pt x="91" y="58"/>
                    </a:lnTo>
                    <a:lnTo>
                      <a:pt x="48" y="58"/>
                    </a:lnTo>
                    <a:lnTo>
                      <a:pt x="48" y="124"/>
                    </a:lnTo>
                    <a:cubicBezTo>
                      <a:pt x="48" y="138"/>
                      <a:pt x="53" y="147"/>
                      <a:pt x="67" y="147"/>
                    </a:cubicBezTo>
                    <a:cubicBezTo>
                      <a:pt x="73" y="147"/>
                      <a:pt x="81" y="145"/>
                      <a:pt x="91" y="143"/>
                    </a:cubicBezTo>
                    <a:lnTo>
                      <a:pt x="95" y="1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2" name="Freeform 19">
                <a:extLst>
                  <a:ext uri="{FF2B5EF4-FFF2-40B4-BE49-F238E27FC236}">
                    <a16:creationId xmlns:a16="http://schemas.microsoft.com/office/drawing/2014/main" id="{FB920B78-C48E-5437-4452-9042EB0CCB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76927" y="4075180"/>
                <a:ext cx="45246" cy="56105"/>
              </a:xfrm>
              <a:custGeom>
                <a:avLst/>
                <a:gdLst>
                  <a:gd name="T0" fmla="*/ 72 w 110"/>
                  <a:gd name="T1" fmla="*/ 60 h 138"/>
                  <a:gd name="T2" fmla="*/ 110 w 110"/>
                  <a:gd name="T3" fmla="*/ 97 h 138"/>
                  <a:gd name="T4" fmla="*/ 60 w 110"/>
                  <a:gd name="T5" fmla="*/ 138 h 138"/>
                  <a:gd name="T6" fmla="*/ 11 w 110"/>
                  <a:gd name="T7" fmla="*/ 130 h 138"/>
                  <a:gd name="T8" fmla="*/ 0 w 110"/>
                  <a:gd name="T9" fmla="*/ 127 h 138"/>
                  <a:gd name="T10" fmla="*/ 4 w 110"/>
                  <a:gd name="T11" fmla="*/ 104 h 138"/>
                  <a:gd name="T12" fmla="*/ 16 w 110"/>
                  <a:gd name="T13" fmla="*/ 107 h 138"/>
                  <a:gd name="T14" fmla="*/ 59 w 110"/>
                  <a:gd name="T15" fmla="*/ 115 h 138"/>
                  <a:gd name="T16" fmla="*/ 82 w 110"/>
                  <a:gd name="T17" fmla="*/ 98 h 138"/>
                  <a:gd name="T18" fmla="*/ 63 w 110"/>
                  <a:gd name="T19" fmla="*/ 83 h 138"/>
                  <a:gd name="T20" fmla="*/ 38 w 110"/>
                  <a:gd name="T21" fmla="*/ 78 h 138"/>
                  <a:gd name="T22" fmla="*/ 0 w 110"/>
                  <a:gd name="T23" fmla="*/ 41 h 138"/>
                  <a:gd name="T24" fmla="*/ 50 w 110"/>
                  <a:gd name="T25" fmla="*/ 0 h 138"/>
                  <a:gd name="T26" fmla="*/ 99 w 110"/>
                  <a:gd name="T27" fmla="*/ 8 h 138"/>
                  <a:gd name="T28" fmla="*/ 110 w 110"/>
                  <a:gd name="T29" fmla="*/ 12 h 138"/>
                  <a:gd name="T30" fmla="*/ 106 w 110"/>
                  <a:gd name="T31" fmla="*/ 35 h 138"/>
                  <a:gd name="T32" fmla="*/ 94 w 110"/>
                  <a:gd name="T33" fmla="*/ 31 h 138"/>
                  <a:gd name="T34" fmla="*/ 51 w 110"/>
                  <a:gd name="T35" fmla="*/ 23 h 138"/>
                  <a:gd name="T36" fmla="*/ 28 w 110"/>
                  <a:gd name="T37" fmla="*/ 40 h 138"/>
                  <a:gd name="T38" fmla="*/ 47 w 110"/>
                  <a:gd name="T39" fmla="*/ 56 h 138"/>
                  <a:gd name="T40" fmla="*/ 72 w 110"/>
                  <a:gd name="T41" fmla="*/ 6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0" h="138">
                    <a:moveTo>
                      <a:pt x="72" y="60"/>
                    </a:moveTo>
                    <a:cubicBezTo>
                      <a:pt x="96" y="64"/>
                      <a:pt x="110" y="76"/>
                      <a:pt x="110" y="97"/>
                    </a:cubicBezTo>
                    <a:cubicBezTo>
                      <a:pt x="110" y="125"/>
                      <a:pt x="87" y="138"/>
                      <a:pt x="60" y="138"/>
                    </a:cubicBezTo>
                    <a:cubicBezTo>
                      <a:pt x="42" y="138"/>
                      <a:pt x="28" y="136"/>
                      <a:pt x="11" y="130"/>
                    </a:cubicBezTo>
                    <a:lnTo>
                      <a:pt x="0" y="127"/>
                    </a:lnTo>
                    <a:lnTo>
                      <a:pt x="4" y="104"/>
                    </a:lnTo>
                    <a:lnTo>
                      <a:pt x="16" y="107"/>
                    </a:lnTo>
                    <a:cubicBezTo>
                      <a:pt x="30" y="112"/>
                      <a:pt x="45" y="115"/>
                      <a:pt x="59" y="115"/>
                    </a:cubicBezTo>
                    <a:cubicBezTo>
                      <a:pt x="72" y="115"/>
                      <a:pt x="82" y="111"/>
                      <a:pt x="82" y="98"/>
                    </a:cubicBezTo>
                    <a:cubicBezTo>
                      <a:pt x="82" y="90"/>
                      <a:pt x="77" y="85"/>
                      <a:pt x="63" y="83"/>
                    </a:cubicBezTo>
                    <a:lnTo>
                      <a:pt x="38" y="78"/>
                    </a:lnTo>
                    <a:cubicBezTo>
                      <a:pt x="13" y="74"/>
                      <a:pt x="0" y="62"/>
                      <a:pt x="0" y="41"/>
                    </a:cubicBezTo>
                    <a:cubicBezTo>
                      <a:pt x="0" y="14"/>
                      <a:pt x="23" y="0"/>
                      <a:pt x="50" y="0"/>
                    </a:cubicBezTo>
                    <a:cubicBezTo>
                      <a:pt x="68" y="0"/>
                      <a:pt x="82" y="3"/>
                      <a:pt x="99" y="8"/>
                    </a:cubicBezTo>
                    <a:lnTo>
                      <a:pt x="110" y="12"/>
                    </a:lnTo>
                    <a:lnTo>
                      <a:pt x="106" y="35"/>
                    </a:lnTo>
                    <a:lnTo>
                      <a:pt x="94" y="31"/>
                    </a:lnTo>
                    <a:cubicBezTo>
                      <a:pt x="79" y="27"/>
                      <a:pt x="65" y="23"/>
                      <a:pt x="51" y="23"/>
                    </a:cubicBezTo>
                    <a:cubicBezTo>
                      <a:pt x="38" y="23"/>
                      <a:pt x="28" y="28"/>
                      <a:pt x="28" y="40"/>
                    </a:cubicBezTo>
                    <a:cubicBezTo>
                      <a:pt x="28" y="49"/>
                      <a:pt x="33" y="54"/>
                      <a:pt x="47" y="56"/>
                    </a:cubicBezTo>
                    <a:lnTo>
                      <a:pt x="72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" name="Freeform 20">
                <a:extLst>
                  <a:ext uri="{FF2B5EF4-FFF2-40B4-BE49-F238E27FC236}">
                    <a16:creationId xmlns:a16="http://schemas.microsoft.com/office/drawing/2014/main" id="{E39DB31C-E74E-E1A4-0DF5-16427C411D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29413" y="4075180"/>
                <a:ext cx="76013" cy="57915"/>
              </a:xfrm>
              <a:custGeom>
                <a:avLst/>
                <a:gdLst>
                  <a:gd name="T0" fmla="*/ 160 w 186"/>
                  <a:gd name="T1" fmla="*/ 123 h 138"/>
                  <a:gd name="T2" fmla="*/ 140 w 186"/>
                  <a:gd name="T3" fmla="*/ 138 h 138"/>
                  <a:gd name="T4" fmla="*/ 119 w 186"/>
                  <a:gd name="T5" fmla="*/ 124 h 138"/>
                  <a:gd name="T6" fmla="*/ 93 w 186"/>
                  <a:gd name="T7" fmla="*/ 42 h 138"/>
                  <a:gd name="T8" fmla="*/ 66 w 186"/>
                  <a:gd name="T9" fmla="*/ 124 h 138"/>
                  <a:gd name="T10" fmla="*/ 45 w 186"/>
                  <a:gd name="T11" fmla="*/ 138 h 138"/>
                  <a:gd name="T12" fmla="*/ 25 w 186"/>
                  <a:gd name="T13" fmla="*/ 123 h 138"/>
                  <a:gd name="T14" fmla="*/ 0 w 186"/>
                  <a:gd name="T15" fmla="*/ 1 h 138"/>
                  <a:gd name="T16" fmla="*/ 30 w 186"/>
                  <a:gd name="T17" fmla="*/ 1 h 138"/>
                  <a:gd name="T18" fmla="*/ 48 w 186"/>
                  <a:gd name="T19" fmla="*/ 105 h 138"/>
                  <a:gd name="T20" fmla="*/ 77 w 186"/>
                  <a:gd name="T21" fmla="*/ 11 h 138"/>
                  <a:gd name="T22" fmla="*/ 93 w 186"/>
                  <a:gd name="T23" fmla="*/ 0 h 138"/>
                  <a:gd name="T24" fmla="*/ 110 w 186"/>
                  <a:gd name="T25" fmla="*/ 11 h 138"/>
                  <a:gd name="T26" fmla="*/ 139 w 186"/>
                  <a:gd name="T27" fmla="*/ 105 h 138"/>
                  <a:gd name="T28" fmla="*/ 157 w 186"/>
                  <a:gd name="T29" fmla="*/ 1 h 138"/>
                  <a:gd name="T30" fmla="*/ 186 w 186"/>
                  <a:gd name="T31" fmla="*/ 1 h 138"/>
                  <a:gd name="T32" fmla="*/ 160 w 186"/>
                  <a:gd name="T33" fmla="*/ 123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6" h="138">
                    <a:moveTo>
                      <a:pt x="160" y="123"/>
                    </a:moveTo>
                    <a:cubicBezTo>
                      <a:pt x="158" y="132"/>
                      <a:pt x="150" y="138"/>
                      <a:pt x="140" y="138"/>
                    </a:cubicBezTo>
                    <a:cubicBezTo>
                      <a:pt x="127" y="138"/>
                      <a:pt x="122" y="133"/>
                      <a:pt x="119" y="124"/>
                    </a:cubicBezTo>
                    <a:lnTo>
                      <a:pt x="93" y="42"/>
                    </a:lnTo>
                    <a:lnTo>
                      <a:pt x="66" y="124"/>
                    </a:lnTo>
                    <a:cubicBezTo>
                      <a:pt x="63" y="134"/>
                      <a:pt x="56" y="138"/>
                      <a:pt x="45" y="138"/>
                    </a:cubicBezTo>
                    <a:cubicBezTo>
                      <a:pt x="34" y="138"/>
                      <a:pt x="27" y="133"/>
                      <a:pt x="25" y="123"/>
                    </a:cubicBezTo>
                    <a:lnTo>
                      <a:pt x="0" y="1"/>
                    </a:lnTo>
                    <a:lnTo>
                      <a:pt x="30" y="1"/>
                    </a:lnTo>
                    <a:lnTo>
                      <a:pt x="48" y="105"/>
                    </a:lnTo>
                    <a:lnTo>
                      <a:pt x="77" y="11"/>
                    </a:lnTo>
                    <a:cubicBezTo>
                      <a:pt x="79" y="4"/>
                      <a:pt x="85" y="0"/>
                      <a:pt x="93" y="0"/>
                    </a:cubicBezTo>
                    <a:cubicBezTo>
                      <a:pt x="102" y="0"/>
                      <a:pt x="107" y="4"/>
                      <a:pt x="110" y="11"/>
                    </a:cubicBezTo>
                    <a:lnTo>
                      <a:pt x="139" y="105"/>
                    </a:lnTo>
                    <a:lnTo>
                      <a:pt x="157" y="1"/>
                    </a:lnTo>
                    <a:lnTo>
                      <a:pt x="186" y="1"/>
                    </a:lnTo>
                    <a:lnTo>
                      <a:pt x="160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" name="Freeform 21">
                <a:extLst>
                  <a:ext uri="{FF2B5EF4-FFF2-40B4-BE49-F238E27FC236}">
                    <a16:creationId xmlns:a16="http://schemas.microsoft.com/office/drawing/2014/main" id="{C221F4F9-83AE-4628-04E4-42938127B44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10855" y="4075180"/>
                <a:ext cx="54295" cy="57915"/>
              </a:xfrm>
              <a:custGeom>
                <a:avLst/>
                <a:gdLst>
                  <a:gd name="T0" fmla="*/ 90 w 132"/>
                  <a:gd name="T1" fmla="*/ 79 h 139"/>
                  <a:gd name="T2" fmla="*/ 57 w 132"/>
                  <a:gd name="T3" fmla="*/ 79 h 139"/>
                  <a:gd name="T4" fmla="*/ 29 w 132"/>
                  <a:gd name="T5" fmla="*/ 99 h 139"/>
                  <a:gd name="T6" fmla="*/ 52 w 132"/>
                  <a:gd name="T7" fmla="*/ 117 h 139"/>
                  <a:gd name="T8" fmla="*/ 78 w 132"/>
                  <a:gd name="T9" fmla="*/ 113 h 139"/>
                  <a:gd name="T10" fmla="*/ 90 w 132"/>
                  <a:gd name="T11" fmla="*/ 110 h 139"/>
                  <a:gd name="T12" fmla="*/ 90 w 132"/>
                  <a:gd name="T13" fmla="*/ 79 h 139"/>
                  <a:gd name="T14" fmla="*/ 122 w 132"/>
                  <a:gd name="T15" fmla="*/ 139 h 139"/>
                  <a:gd name="T16" fmla="*/ 110 w 132"/>
                  <a:gd name="T17" fmla="*/ 133 h 139"/>
                  <a:gd name="T18" fmla="*/ 91 w 132"/>
                  <a:gd name="T19" fmla="*/ 131 h 139"/>
                  <a:gd name="T20" fmla="*/ 82 w 132"/>
                  <a:gd name="T21" fmla="*/ 133 h 139"/>
                  <a:gd name="T22" fmla="*/ 47 w 132"/>
                  <a:gd name="T23" fmla="*/ 138 h 139"/>
                  <a:gd name="T24" fmla="*/ 0 w 132"/>
                  <a:gd name="T25" fmla="*/ 100 h 139"/>
                  <a:gd name="T26" fmla="*/ 61 w 132"/>
                  <a:gd name="T27" fmla="*/ 58 h 139"/>
                  <a:gd name="T28" fmla="*/ 90 w 132"/>
                  <a:gd name="T29" fmla="*/ 58 h 139"/>
                  <a:gd name="T30" fmla="*/ 90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7 w 132"/>
                  <a:gd name="T45" fmla="*/ 46 h 139"/>
                  <a:gd name="T46" fmla="*/ 117 w 132"/>
                  <a:gd name="T47" fmla="*/ 111 h 139"/>
                  <a:gd name="T48" fmla="*/ 132 w 132"/>
                  <a:gd name="T49" fmla="*/ 120 h 139"/>
                  <a:gd name="T50" fmla="*/ 122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90" y="79"/>
                    </a:moveTo>
                    <a:lnTo>
                      <a:pt x="57" y="79"/>
                    </a:lnTo>
                    <a:cubicBezTo>
                      <a:pt x="39" y="79"/>
                      <a:pt x="29" y="84"/>
                      <a:pt x="29" y="99"/>
                    </a:cubicBezTo>
                    <a:cubicBezTo>
                      <a:pt x="29" y="111"/>
                      <a:pt x="37" y="117"/>
                      <a:pt x="52" y="117"/>
                    </a:cubicBezTo>
                    <a:cubicBezTo>
                      <a:pt x="58" y="117"/>
                      <a:pt x="68" y="115"/>
                      <a:pt x="78" y="113"/>
                    </a:cubicBezTo>
                    <a:lnTo>
                      <a:pt x="90" y="110"/>
                    </a:lnTo>
                    <a:lnTo>
                      <a:pt x="90" y="79"/>
                    </a:lnTo>
                    <a:close/>
                    <a:moveTo>
                      <a:pt x="122" y="139"/>
                    </a:moveTo>
                    <a:lnTo>
                      <a:pt x="110" y="133"/>
                    </a:lnTo>
                    <a:cubicBezTo>
                      <a:pt x="104" y="130"/>
                      <a:pt x="98" y="129"/>
                      <a:pt x="91" y="131"/>
                    </a:cubicBezTo>
                    <a:lnTo>
                      <a:pt x="82" y="133"/>
                    </a:lnTo>
                    <a:cubicBezTo>
                      <a:pt x="71" y="136"/>
                      <a:pt x="57" y="138"/>
                      <a:pt x="47" y="138"/>
                    </a:cubicBezTo>
                    <a:cubicBezTo>
                      <a:pt x="18" y="138"/>
                      <a:pt x="0" y="124"/>
                      <a:pt x="0" y="100"/>
                    </a:cubicBezTo>
                    <a:cubicBezTo>
                      <a:pt x="0" y="66"/>
                      <a:pt x="29" y="58"/>
                      <a:pt x="61" y="58"/>
                    </a:cubicBezTo>
                    <a:lnTo>
                      <a:pt x="90" y="58"/>
                    </a:lnTo>
                    <a:lnTo>
                      <a:pt x="90" y="47"/>
                    </a:lnTo>
                    <a:cubicBezTo>
                      <a:pt x="90" y="30"/>
                      <a:pt x="79" y="24"/>
                      <a:pt x="63" y="24"/>
                    </a:cubicBezTo>
                    <a:cubicBezTo>
                      <a:pt x="52" y="24"/>
                      <a:pt x="37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5" y="3"/>
                      <a:pt x="50" y="0"/>
                      <a:pt x="65" y="0"/>
                    </a:cubicBezTo>
                    <a:cubicBezTo>
                      <a:pt x="95" y="0"/>
                      <a:pt x="117" y="13"/>
                      <a:pt x="117" y="46"/>
                    </a:cubicBezTo>
                    <a:lnTo>
                      <a:pt x="117" y="111"/>
                    </a:lnTo>
                    <a:lnTo>
                      <a:pt x="132" y="120"/>
                    </a:lnTo>
                    <a:lnTo>
                      <a:pt x="122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5" name="Freeform 22">
                <a:extLst>
                  <a:ext uri="{FF2B5EF4-FFF2-40B4-BE49-F238E27FC236}">
                    <a16:creationId xmlns:a16="http://schemas.microsoft.com/office/drawing/2014/main" id="{4062CD09-5F87-D0B3-2F52-A58BF33486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4199" y="4075180"/>
                <a:ext cx="45246" cy="56105"/>
              </a:xfrm>
              <a:custGeom>
                <a:avLst/>
                <a:gdLst>
                  <a:gd name="T0" fmla="*/ 28 w 113"/>
                  <a:gd name="T1" fmla="*/ 136 h 136"/>
                  <a:gd name="T2" fmla="*/ 0 w 113"/>
                  <a:gd name="T3" fmla="*/ 136 h 136"/>
                  <a:gd name="T4" fmla="*/ 0 w 113"/>
                  <a:gd name="T5" fmla="*/ 26 h 136"/>
                  <a:gd name="T6" fmla="*/ 16 w 113"/>
                  <a:gd name="T7" fmla="*/ 6 h 136"/>
                  <a:gd name="T8" fmla="*/ 59 w 113"/>
                  <a:gd name="T9" fmla="*/ 0 h 136"/>
                  <a:gd name="T10" fmla="*/ 113 w 113"/>
                  <a:gd name="T11" fmla="*/ 48 h 136"/>
                  <a:gd name="T12" fmla="*/ 113 w 113"/>
                  <a:gd name="T13" fmla="*/ 136 h 136"/>
                  <a:gd name="T14" fmla="*/ 84 w 113"/>
                  <a:gd name="T15" fmla="*/ 136 h 136"/>
                  <a:gd name="T16" fmla="*/ 84 w 113"/>
                  <a:gd name="T17" fmla="*/ 51 h 136"/>
                  <a:gd name="T18" fmla="*/ 58 w 113"/>
                  <a:gd name="T19" fmla="*/ 24 h 136"/>
                  <a:gd name="T20" fmla="*/ 28 w 113"/>
                  <a:gd name="T21" fmla="*/ 29 h 136"/>
                  <a:gd name="T22" fmla="*/ 28 w 113"/>
                  <a:gd name="T2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3" h="136">
                    <a:moveTo>
                      <a:pt x="28" y="136"/>
                    </a:moveTo>
                    <a:lnTo>
                      <a:pt x="0" y="136"/>
                    </a:lnTo>
                    <a:lnTo>
                      <a:pt x="0" y="26"/>
                    </a:lnTo>
                    <a:cubicBezTo>
                      <a:pt x="0" y="15"/>
                      <a:pt x="5" y="9"/>
                      <a:pt x="16" y="6"/>
                    </a:cubicBezTo>
                    <a:cubicBezTo>
                      <a:pt x="36" y="1"/>
                      <a:pt x="49" y="0"/>
                      <a:pt x="59" y="0"/>
                    </a:cubicBezTo>
                    <a:cubicBezTo>
                      <a:pt x="98" y="0"/>
                      <a:pt x="113" y="20"/>
                      <a:pt x="113" y="48"/>
                    </a:cubicBezTo>
                    <a:lnTo>
                      <a:pt x="113" y="136"/>
                    </a:lnTo>
                    <a:lnTo>
                      <a:pt x="84" y="136"/>
                    </a:lnTo>
                    <a:lnTo>
                      <a:pt x="84" y="51"/>
                    </a:lnTo>
                    <a:cubicBezTo>
                      <a:pt x="84" y="36"/>
                      <a:pt x="78" y="24"/>
                      <a:pt x="58" y="24"/>
                    </a:cubicBezTo>
                    <a:cubicBezTo>
                      <a:pt x="51" y="24"/>
                      <a:pt x="44" y="25"/>
                      <a:pt x="28" y="29"/>
                    </a:cubicBezTo>
                    <a:lnTo>
                      <a:pt x="2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6" name="Freeform 23">
                <a:extLst>
                  <a:ext uri="{FF2B5EF4-FFF2-40B4-BE49-F238E27FC236}">
                    <a16:creationId xmlns:a16="http://schemas.microsoft.com/office/drawing/2014/main" id="{0E777941-0ADC-82CE-74EA-1C3B2211F46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30304" y="4075180"/>
                <a:ext cx="54295" cy="57915"/>
              </a:xfrm>
              <a:custGeom>
                <a:avLst/>
                <a:gdLst>
                  <a:gd name="T0" fmla="*/ 89 w 132"/>
                  <a:gd name="T1" fmla="*/ 79 h 139"/>
                  <a:gd name="T2" fmla="*/ 56 w 132"/>
                  <a:gd name="T3" fmla="*/ 79 h 139"/>
                  <a:gd name="T4" fmla="*/ 28 w 132"/>
                  <a:gd name="T5" fmla="*/ 99 h 139"/>
                  <a:gd name="T6" fmla="*/ 51 w 132"/>
                  <a:gd name="T7" fmla="*/ 117 h 139"/>
                  <a:gd name="T8" fmla="*/ 77 w 132"/>
                  <a:gd name="T9" fmla="*/ 113 h 139"/>
                  <a:gd name="T10" fmla="*/ 89 w 132"/>
                  <a:gd name="T11" fmla="*/ 110 h 139"/>
                  <a:gd name="T12" fmla="*/ 89 w 132"/>
                  <a:gd name="T13" fmla="*/ 79 h 139"/>
                  <a:gd name="T14" fmla="*/ 121 w 132"/>
                  <a:gd name="T15" fmla="*/ 139 h 139"/>
                  <a:gd name="T16" fmla="*/ 109 w 132"/>
                  <a:gd name="T17" fmla="*/ 133 h 139"/>
                  <a:gd name="T18" fmla="*/ 90 w 132"/>
                  <a:gd name="T19" fmla="*/ 131 h 139"/>
                  <a:gd name="T20" fmla="*/ 82 w 132"/>
                  <a:gd name="T21" fmla="*/ 133 h 139"/>
                  <a:gd name="T22" fmla="*/ 46 w 132"/>
                  <a:gd name="T23" fmla="*/ 138 h 139"/>
                  <a:gd name="T24" fmla="*/ 0 w 132"/>
                  <a:gd name="T25" fmla="*/ 100 h 139"/>
                  <a:gd name="T26" fmla="*/ 60 w 132"/>
                  <a:gd name="T27" fmla="*/ 58 h 139"/>
                  <a:gd name="T28" fmla="*/ 89 w 132"/>
                  <a:gd name="T29" fmla="*/ 58 h 139"/>
                  <a:gd name="T30" fmla="*/ 89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6 w 132"/>
                  <a:gd name="T45" fmla="*/ 46 h 139"/>
                  <a:gd name="T46" fmla="*/ 116 w 132"/>
                  <a:gd name="T47" fmla="*/ 111 h 139"/>
                  <a:gd name="T48" fmla="*/ 132 w 132"/>
                  <a:gd name="T49" fmla="*/ 120 h 139"/>
                  <a:gd name="T50" fmla="*/ 121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89" y="79"/>
                    </a:moveTo>
                    <a:lnTo>
                      <a:pt x="56" y="79"/>
                    </a:lnTo>
                    <a:cubicBezTo>
                      <a:pt x="39" y="79"/>
                      <a:pt x="28" y="84"/>
                      <a:pt x="28" y="99"/>
                    </a:cubicBezTo>
                    <a:cubicBezTo>
                      <a:pt x="28" y="111"/>
                      <a:pt x="37" y="117"/>
                      <a:pt x="51" y="117"/>
                    </a:cubicBezTo>
                    <a:cubicBezTo>
                      <a:pt x="58" y="117"/>
                      <a:pt x="67" y="115"/>
                      <a:pt x="77" y="113"/>
                    </a:cubicBezTo>
                    <a:lnTo>
                      <a:pt x="89" y="110"/>
                    </a:lnTo>
                    <a:lnTo>
                      <a:pt x="89" y="79"/>
                    </a:lnTo>
                    <a:close/>
                    <a:moveTo>
                      <a:pt x="121" y="139"/>
                    </a:moveTo>
                    <a:lnTo>
                      <a:pt x="109" y="133"/>
                    </a:lnTo>
                    <a:cubicBezTo>
                      <a:pt x="103" y="130"/>
                      <a:pt x="97" y="129"/>
                      <a:pt x="90" y="131"/>
                    </a:cubicBezTo>
                    <a:lnTo>
                      <a:pt x="82" y="133"/>
                    </a:lnTo>
                    <a:cubicBezTo>
                      <a:pt x="70" y="136"/>
                      <a:pt x="56" y="138"/>
                      <a:pt x="46" y="138"/>
                    </a:cubicBezTo>
                    <a:cubicBezTo>
                      <a:pt x="17" y="138"/>
                      <a:pt x="0" y="124"/>
                      <a:pt x="0" y="100"/>
                    </a:cubicBezTo>
                    <a:cubicBezTo>
                      <a:pt x="0" y="66"/>
                      <a:pt x="28" y="58"/>
                      <a:pt x="60" y="58"/>
                    </a:cubicBezTo>
                    <a:lnTo>
                      <a:pt x="89" y="58"/>
                    </a:lnTo>
                    <a:lnTo>
                      <a:pt x="89" y="47"/>
                    </a:lnTo>
                    <a:cubicBezTo>
                      <a:pt x="89" y="30"/>
                      <a:pt x="78" y="24"/>
                      <a:pt x="63" y="24"/>
                    </a:cubicBezTo>
                    <a:cubicBezTo>
                      <a:pt x="51" y="24"/>
                      <a:pt x="36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4" y="3"/>
                      <a:pt x="50" y="0"/>
                      <a:pt x="65" y="0"/>
                    </a:cubicBezTo>
                    <a:cubicBezTo>
                      <a:pt x="94" y="0"/>
                      <a:pt x="116" y="13"/>
                      <a:pt x="116" y="46"/>
                    </a:cubicBezTo>
                    <a:lnTo>
                      <a:pt x="116" y="111"/>
                    </a:lnTo>
                    <a:lnTo>
                      <a:pt x="132" y="120"/>
                    </a:lnTo>
                    <a:lnTo>
                      <a:pt x="121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7" name="Freeform 24">
                <a:extLst>
                  <a:ext uri="{FF2B5EF4-FFF2-40B4-BE49-F238E27FC236}">
                    <a16:creationId xmlns:a16="http://schemas.microsoft.com/office/drawing/2014/main" id="{75CB649F-54B1-F6A3-A732-30BA69F715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17176" y="4055271"/>
                <a:ext cx="43436" cy="76013"/>
              </a:xfrm>
              <a:custGeom>
                <a:avLst/>
                <a:gdLst>
                  <a:gd name="T0" fmla="*/ 22 w 105"/>
                  <a:gd name="T1" fmla="*/ 184 h 184"/>
                  <a:gd name="T2" fmla="*/ 0 w 105"/>
                  <a:gd name="T3" fmla="*/ 164 h 184"/>
                  <a:gd name="T4" fmla="*/ 0 w 105"/>
                  <a:gd name="T5" fmla="*/ 0 h 184"/>
                  <a:gd name="T6" fmla="*/ 33 w 105"/>
                  <a:gd name="T7" fmla="*/ 0 h 184"/>
                  <a:gd name="T8" fmla="*/ 33 w 105"/>
                  <a:gd name="T9" fmla="*/ 156 h 184"/>
                  <a:gd name="T10" fmla="*/ 105 w 105"/>
                  <a:gd name="T11" fmla="*/ 156 h 184"/>
                  <a:gd name="T12" fmla="*/ 105 w 105"/>
                  <a:gd name="T13" fmla="*/ 184 h 184"/>
                  <a:gd name="T14" fmla="*/ 22 w 105"/>
                  <a:gd name="T15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" h="184">
                    <a:moveTo>
                      <a:pt x="22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0"/>
                    </a:lnTo>
                    <a:lnTo>
                      <a:pt x="33" y="0"/>
                    </a:lnTo>
                    <a:lnTo>
                      <a:pt x="33" y="156"/>
                    </a:lnTo>
                    <a:lnTo>
                      <a:pt x="105" y="156"/>
                    </a:lnTo>
                    <a:lnTo>
                      <a:pt x="105" y="184"/>
                    </a:lnTo>
                    <a:lnTo>
                      <a:pt x="22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8" name="Freeform 25">
                <a:extLst>
                  <a:ext uri="{FF2B5EF4-FFF2-40B4-BE49-F238E27FC236}">
                    <a16:creationId xmlns:a16="http://schemas.microsoft.com/office/drawing/2014/main" id="{DC9A01EB-0B2B-5706-46A0-B807C14F3C7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7851" y="4053462"/>
                <a:ext cx="14479" cy="77823"/>
              </a:xfrm>
              <a:custGeom>
                <a:avLst/>
                <a:gdLst>
                  <a:gd name="T0" fmla="*/ 2 w 34"/>
                  <a:gd name="T1" fmla="*/ 55 h 190"/>
                  <a:gd name="T2" fmla="*/ 31 w 34"/>
                  <a:gd name="T3" fmla="*/ 55 h 190"/>
                  <a:gd name="T4" fmla="*/ 31 w 34"/>
                  <a:gd name="T5" fmla="*/ 190 h 190"/>
                  <a:gd name="T6" fmla="*/ 2 w 34"/>
                  <a:gd name="T7" fmla="*/ 190 h 190"/>
                  <a:gd name="T8" fmla="*/ 2 w 34"/>
                  <a:gd name="T9" fmla="*/ 55 h 190"/>
                  <a:gd name="T10" fmla="*/ 17 w 34"/>
                  <a:gd name="T11" fmla="*/ 34 h 190"/>
                  <a:gd name="T12" fmla="*/ 0 w 34"/>
                  <a:gd name="T13" fmla="*/ 17 h 190"/>
                  <a:gd name="T14" fmla="*/ 17 w 34"/>
                  <a:gd name="T15" fmla="*/ 0 h 190"/>
                  <a:gd name="T16" fmla="*/ 34 w 34"/>
                  <a:gd name="T17" fmla="*/ 17 h 190"/>
                  <a:gd name="T18" fmla="*/ 17 w 34"/>
                  <a:gd name="T19" fmla="*/ 3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90">
                    <a:moveTo>
                      <a:pt x="2" y="55"/>
                    </a:moveTo>
                    <a:lnTo>
                      <a:pt x="31" y="55"/>
                    </a:lnTo>
                    <a:lnTo>
                      <a:pt x="31" y="190"/>
                    </a:lnTo>
                    <a:lnTo>
                      <a:pt x="2" y="190"/>
                    </a:lnTo>
                    <a:lnTo>
                      <a:pt x="2" y="55"/>
                    </a:lnTo>
                    <a:close/>
                    <a:moveTo>
                      <a:pt x="17" y="34"/>
                    </a:moveTo>
                    <a:cubicBezTo>
                      <a:pt x="6" y="34"/>
                      <a:pt x="0" y="27"/>
                      <a:pt x="0" y="17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7" y="0"/>
                      <a:pt x="34" y="7"/>
                      <a:pt x="34" y="17"/>
                    </a:cubicBezTo>
                    <a:cubicBezTo>
                      <a:pt x="34" y="27"/>
                      <a:pt x="27" y="34"/>
                      <a:pt x="17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9" name="Freeform 26">
                <a:extLst>
                  <a:ext uri="{FF2B5EF4-FFF2-40B4-BE49-F238E27FC236}">
                    <a16:creationId xmlns:a16="http://schemas.microsoft.com/office/drawing/2014/main" id="{8003F519-DBD6-318D-BD2C-02AC19C379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7760" y="4053462"/>
                <a:ext cx="39816" cy="77823"/>
              </a:xfrm>
              <a:custGeom>
                <a:avLst/>
                <a:gdLst>
                  <a:gd name="T0" fmla="*/ 92 w 95"/>
                  <a:gd name="T1" fmla="*/ 28 h 189"/>
                  <a:gd name="T2" fmla="*/ 68 w 95"/>
                  <a:gd name="T3" fmla="*/ 24 h 189"/>
                  <a:gd name="T4" fmla="*/ 48 w 95"/>
                  <a:gd name="T5" fmla="*/ 46 h 189"/>
                  <a:gd name="T6" fmla="*/ 48 w 95"/>
                  <a:gd name="T7" fmla="*/ 55 h 189"/>
                  <a:gd name="T8" fmla="*/ 89 w 95"/>
                  <a:gd name="T9" fmla="*/ 55 h 189"/>
                  <a:gd name="T10" fmla="*/ 89 w 95"/>
                  <a:gd name="T11" fmla="*/ 78 h 189"/>
                  <a:gd name="T12" fmla="*/ 48 w 95"/>
                  <a:gd name="T13" fmla="*/ 78 h 189"/>
                  <a:gd name="T14" fmla="*/ 48 w 95"/>
                  <a:gd name="T15" fmla="*/ 189 h 189"/>
                  <a:gd name="T16" fmla="*/ 20 w 95"/>
                  <a:gd name="T17" fmla="*/ 189 h 189"/>
                  <a:gd name="T18" fmla="*/ 20 w 95"/>
                  <a:gd name="T19" fmla="*/ 78 h 189"/>
                  <a:gd name="T20" fmla="*/ 0 w 95"/>
                  <a:gd name="T21" fmla="*/ 78 h 189"/>
                  <a:gd name="T22" fmla="*/ 0 w 95"/>
                  <a:gd name="T23" fmla="*/ 55 h 189"/>
                  <a:gd name="T24" fmla="*/ 20 w 95"/>
                  <a:gd name="T25" fmla="*/ 55 h 189"/>
                  <a:gd name="T26" fmla="*/ 20 w 95"/>
                  <a:gd name="T27" fmla="*/ 44 h 189"/>
                  <a:gd name="T28" fmla="*/ 64 w 95"/>
                  <a:gd name="T29" fmla="*/ 0 h 189"/>
                  <a:gd name="T30" fmla="*/ 95 w 95"/>
                  <a:gd name="T31" fmla="*/ 5 h 189"/>
                  <a:gd name="T32" fmla="*/ 92 w 95"/>
                  <a:gd name="T33" fmla="*/ 28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89">
                    <a:moveTo>
                      <a:pt x="92" y="28"/>
                    </a:moveTo>
                    <a:cubicBezTo>
                      <a:pt x="81" y="25"/>
                      <a:pt x="74" y="24"/>
                      <a:pt x="68" y="24"/>
                    </a:cubicBezTo>
                    <a:cubicBezTo>
                      <a:pt x="54" y="24"/>
                      <a:pt x="48" y="30"/>
                      <a:pt x="48" y="46"/>
                    </a:cubicBezTo>
                    <a:lnTo>
                      <a:pt x="48" y="55"/>
                    </a:lnTo>
                    <a:lnTo>
                      <a:pt x="89" y="55"/>
                    </a:lnTo>
                    <a:lnTo>
                      <a:pt x="89" y="78"/>
                    </a:lnTo>
                    <a:lnTo>
                      <a:pt x="48" y="78"/>
                    </a:lnTo>
                    <a:lnTo>
                      <a:pt x="48" y="189"/>
                    </a:lnTo>
                    <a:lnTo>
                      <a:pt x="20" y="189"/>
                    </a:lnTo>
                    <a:lnTo>
                      <a:pt x="20" y="78"/>
                    </a:lnTo>
                    <a:lnTo>
                      <a:pt x="0" y="78"/>
                    </a:lnTo>
                    <a:lnTo>
                      <a:pt x="0" y="55"/>
                    </a:lnTo>
                    <a:lnTo>
                      <a:pt x="20" y="55"/>
                    </a:lnTo>
                    <a:lnTo>
                      <a:pt x="20" y="44"/>
                    </a:lnTo>
                    <a:cubicBezTo>
                      <a:pt x="20" y="15"/>
                      <a:pt x="37" y="0"/>
                      <a:pt x="64" y="0"/>
                    </a:cubicBezTo>
                    <a:cubicBezTo>
                      <a:pt x="73" y="0"/>
                      <a:pt x="82" y="2"/>
                      <a:pt x="95" y="5"/>
                    </a:cubicBezTo>
                    <a:lnTo>
                      <a:pt x="92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0" name="Freeform 27">
                <a:extLst>
                  <a:ext uri="{FF2B5EF4-FFF2-40B4-BE49-F238E27FC236}">
                    <a16:creationId xmlns:a16="http://schemas.microsoft.com/office/drawing/2014/main" id="{E184AE65-10DA-3151-046F-3FC0194869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27576" y="4075180"/>
                <a:ext cx="50675" cy="56105"/>
              </a:xfrm>
              <a:custGeom>
                <a:avLst/>
                <a:gdLst>
                  <a:gd name="T0" fmla="*/ 62 w 124"/>
                  <a:gd name="T1" fmla="*/ 21 h 138"/>
                  <a:gd name="T2" fmla="*/ 28 w 124"/>
                  <a:gd name="T3" fmla="*/ 58 h 138"/>
                  <a:gd name="T4" fmla="*/ 96 w 124"/>
                  <a:gd name="T5" fmla="*/ 58 h 138"/>
                  <a:gd name="T6" fmla="*/ 62 w 124"/>
                  <a:gd name="T7" fmla="*/ 21 h 138"/>
                  <a:gd name="T8" fmla="*/ 63 w 124"/>
                  <a:gd name="T9" fmla="*/ 0 h 138"/>
                  <a:gd name="T10" fmla="*/ 124 w 124"/>
                  <a:gd name="T11" fmla="*/ 66 h 138"/>
                  <a:gd name="T12" fmla="*/ 111 w 124"/>
                  <a:gd name="T13" fmla="*/ 79 h 138"/>
                  <a:gd name="T14" fmla="*/ 28 w 124"/>
                  <a:gd name="T15" fmla="*/ 79 h 138"/>
                  <a:gd name="T16" fmla="*/ 68 w 124"/>
                  <a:gd name="T17" fmla="*/ 114 h 138"/>
                  <a:gd name="T18" fmla="*/ 105 w 124"/>
                  <a:gd name="T19" fmla="*/ 108 h 138"/>
                  <a:gd name="T20" fmla="*/ 118 w 124"/>
                  <a:gd name="T21" fmla="*/ 104 h 138"/>
                  <a:gd name="T22" fmla="*/ 123 w 124"/>
                  <a:gd name="T23" fmla="*/ 126 h 138"/>
                  <a:gd name="T24" fmla="*/ 109 w 124"/>
                  <a:gd name="T25" fmla="*/ 130 h 138"/>
                  <a:gd name="T26" fmla="*/ 66 w 124"/>
                  <a:gd name="T27" fmla="*/ 138 h 138"/>
                  <a:gd name="T28" fmla="*/ 0 w 124"/>
                  <a:gd name="T29" fmla="*/ 70 h 138"/>
                  <a:gd name="T30" fmla="*/ 63 w 124"/>
                  <a:gd name="T31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138">
                    <a:moveTo>
                      <a:pt x="62" y="21"/>
                    </a:moveTo>
                    <a:cubicBezTo>
                      <a:pt x="42" y="21"/>
                      <a:pt x="30" y="36"/>
                      <a:pt x="28" y="58"/>
                    </a:cubicBezTo>
                    <a:lnTo>
                      <a:pt x="96" y="58"/>
                    </a:lnTo>
                    <a:cubicBezTo>
                      <a:pt x="96" y="38"/>
                      <a:pt x="86" y="21"/>
                      <a:pt x="62" y="21"/>
                    </a:cubicBezTo>
                    <a:close/>
                    <a:moveTo>
                      <a:pt x="63" y="0"/>
                    </a:moveTo>
                    <a:cubicBezTo>
                      <a:pt x="100" y="0"/>
                      <a:pt x="124" y="21"/>
                      <a:pt x="124" y="66"/>
                    </a:cubicBezTo>
                    <a:cubicBezTo>
                      <a:pt x="124" y="75"/>
                      <a:pt x="120" y="79"/>
                      <a:pt x="111" y="79"/>
                    </a:cubicBezTo>
                    <a:lnTo>
                      <a:pt x="28" y="79"/>
                    </a:lnTo>
                    <a:cubicBezTo>
                      <a:pt x="30" y="103"/>
                      <a:pt x="46" y="114"/>
                      <a:pt x="68" y="114"/>
                    </a:cubicBezTo>
                    <a:cubicBezTo>
                      <a:pt x="79" y="114"/>
                      <a:pt x="90" y="112"/>
                      <a:pt x="105" y="108"/>
                    </a:cubicBezTo>
                    <a:lnTo>
                      <a:pt x="118" y="104"/>
                    </a:lnTo>
                    <a:lnTo>
                      <a:pt x="123" y="126"/>
                    </a:lnTo>
                    <a:lnTo>
                      <a:pt x="109" y="130"/>
                    </a:lnTo>
                    <a:cubicBezTo>
                      <a:pt x="92" y="136"/>
                      <a:pt x="80" y="138"/>
                      <a:pt x="66" y="138"/>
                    </a:cubicBezTo>
                    <a:cubicBezTo>
                      <a:pt x="27" y="138"/>
                      <a:pt x="0" y="115"/>
                      <a:pt x="0" y="70"/>
                    </a:cubicBezTo>
                    <a:cubicBezTo>
                      <a:pt x="0" y="21"/>
                      <a:pt x="29" y="0"/>
                      <a:pt x="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1" name="Freeform 28">
                <a:extLst>
                  <a:ext uri="{FF2B5EF4-FFF2-40B4-BE49-F238E27FC236}">
                    <a16:creationId xmlns:a16="http://schemas.microsoft.com/office/drawing/2014/main" id="{237B20AF-7500-5577-1DCA-E6950AB4CA0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80573" y="3655298"/>
                <a:ext cx="358347" cy="405403"/>
              </a:xfrm>
              <a:custGeom>
                <a:avLst/>
                <a:gdLst>
                  <a:gd name="T0" fmla="*/ 556 w 875"/>
                  <a:gd name="T1" fmla="*/ 361 h 985"/>
                  <a:gd name="T2" fmla="*/ 454 w 875"/>
                  <a:gd name="T3" fmla="*/ 361 h 985"/>
                  <a:gd name="T4" fmla="*/ 505 w 875"/>
                  <a:gd name="T5" fmla="*/ 327 h 985"/>
                  <a:gd name="T6" fmla="*/ 556 w 875"/>
                  <a:gd name="T7" fmla="*/ 361 h 985"/>
                  <a:gd name="T8" fmla="*/ 867 w 875"/>
                  <a:gd name="T9" fmla="*/ 368 h 985"/>
                  <a:gd name="T10" fmla="*/ 707 w 875"/>
                  <a:gd name="T11" fmla="*/ 276 h 985"/>
                  <a:gd name="T12" fmla="*/ 773 w 875"/>
                  <a:gd name="T13" fmla="*/ 132 h 985"/>
                  <a:gd name="T14" fmla="*/ 539 w 875"/>
                  <a:gd name="T15" fmla="*/ 220 h 985"/>
                  <a:gd name="T16" fmla="*/ 280 w 875"/>
                  <a:gd name="T17" fmla="*/ 69 h 985"/>
                  <a:gd name="T18" fmla="*/ 308 w 875"/>
                  <a:gd name="T19" fmla="*/ 0 h 985"/>
                  <a:gd name="T20" fmla="*/ 305 w 875"/>
                  <a:gd name="T21" fmla="*/ 0 h 985"/>
                  <a:gd name="T22" fmla="*/ 204 w 875"/>
                  <a:gd name="T23" fmla="*/ 236 h 985"/>
                  <a:gd name="T24" fmla="*/ 249 w 875"/>
                  <a:gd name="T25" fmla="*/ 309 h 985"/>
                  <a:gd name="T26" fmla="*/ 25 w 875"/>
                  <a:gd name="T27" fmla="*/ 770 h 985"/>
                  <a:gd name="T28" fmla="*/ 360 w 875"/>
                  <a:gd name="T29" fmla="*/ 985 h 985"/>
                  <a:gd name="T30" fmla="*/ 825 w 875"/>
                  <a:gd name="T31" fmla="*/ 533 h 985"/>
                  <a:gd name="T32" fmla="*/ 867 w 875"/>
                  <a:gd name="T33" fmla="*/ 368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75" h="985">
                    <a:moveTo>
                      <a:pt x="556" y="361"/>
                    </a:moveTo>
                    <a:lnTo>
                      <a:pt x="454" y="361"/>
                    </a:lnTo>
                    <a:cubicBezTo>
                      <a:pt x="454" y="361"/>
                      <a:pt x="477" y="327"/>
                      <a:pt x="505" y="327"/>
                    </a:cubicBezTo>
                    <a:cubicBezTo>
                      <a:pt x="533" y="327"/>
                      <a:pt x="556" y="361"/>
                      <a:pt x="556" y="361"/>
                    </a:cubicBezTo>
                    <a:close/>
                    <a:moveTo>
                      <a:pt x="867" y="368"/>
                    </a:moveTo>
                    <a:lnTo>
                      <a:pt x="707" y="276"/>
                    </a:lnTo>
                    <a:cubicBezTo>
                      <a:pt x="795" y="225"/>
                      <a:pt x="776" y="144"/>
                      <a:pt x="773" y="132"/>
                    </a:cubicBezTo>
                    <a:cubicBezTo>
                      <a:pt x="732" y="184"/>
                      <a:pt x="643" y="220"/>
                      <a:pt x="539" y="220"/>
                    </a:cubicBezTo>
                    <a:cubicBezTo>
                      <a:pt x="396" y="220"/>
                      <a:pt x="280" y="152"/>
                      <a:pt x="280" y="69"/>
                    </a:cubicBezTo>
                    <a:cubicBezTo>
                      <a:pt x="280" y="44"/>
                      <a:pt x="290" y="21"/>
                      <a:pt x="308" y="0"/>
                    </a:cubicBezTo>
                    <a:cubicBezTo>
                      <a:pt x="307" y="0"/>
                      <a:pt x="306" y="0"/>
                      <a:pt x="305" y="0"/>
                    </a:cubicBezTo>
                    <a:cubicBezTo>
                      <a:pt x="244" y="0"/>
                      <a:pt x="155" y="110"/>
                      <a:pt x="204" y="236"/>
                    </a:cubicBezTo>
                    <a:cubicBezTo>
                      <a:pt x="215" y="265"/>
                      <a:pt x="231" y="289"/>
                      <a:pt x="249" y="309"/>
                    </a:cubicBezTo>
                    <a:cubicBezTo>
                      <a:pt x="135" y="417"/>
                      <a:pt x="0" y="606"/>
                      <a:pt x="25" y="770"/>
                    </a:cubicBezTo>
                    <a:cubicBezTo>
                      <a:pt x="58" y="980"/>
                      <a:pt x="360" y="985"/>
                      <a:pt x="360" y="985"/>
                    </a:cubicBezTo>
                    <a:cubicBezTo>
                      <a:pt x="220" y="722"/>
                      <a:pt x="825" y="533"/>
                      <a:pt x="825" y="533"/>
                    </a:cubicBezTo>
                    <a:cubicBezTo>
                      <a:pt x="825" y="533"/>
                      <a:pt x="875" y="464"/>
                      <a:pt x="867" y="3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2" name="Freeform 29">
                <a:extLst>
                  <a:ext uri="{FF2B5EF4-FFF2-40B4-BE49-F238E27FC236}">
                    <a16:creationId xmlns:a16="http://schemas.microsoft.com/office/drawing/2014/main" id="{F2B48BF0-A064-2017-44AE-FDF622422B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27169" y="3910485"/>
                <a:ext cx="162885" cy="142978"/>
              </a:xfrm>
              <a:custGeom>
                <a:avLst/>
                <a:gdLst>
                  <a:gd name="T0" fmla="*/ 311 w 398"/>
                  <a:gd name="T1" fmla="*/ 0 h 349"/>
                  <a:gd name="T2" fmla="*/ 19 w 398"/>
                  <a:gd name="T3" fmla="*/ 228 h 349"/>
                  <a:gd name="T4" fmla="*/ 18 w 398"/>
                  <a:gd name="T5" fmla="*/ 349 h 349"/>
                  <a:gd name="T6" fmla="*/ 398 w 398"/>
                  <a:gd name="T7" fmla="*/ 184 h 349"/>
                  <a:gd name="T8" fmla="*/ 311 w 398"/>
                  <a:gd name="T9" fmla="*/ 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349">
                    <a:moveTo>
                      <a:pt x="311" y="0"/>
                    </a:moveTo>
                    <a:cubicBezTo>
                      <a:pt x="197" y="53"/>
                      <a:pt x="60" y="129"/>
                      <a:pt x="19" y="228"/>
                    </a:cubicBezTo>
                    <a:cubicBezTo>
                      <a:pt x="3" y="269"/>
                      <a:pt x="0" y="309"/>
                      <a:pt x="18" y="349"/>
                    </a:cubicBezTo>
                    <a:cubicBezTo>
                      <a:pt x="35" y="307"/>
                      <a:pt x="105" y="185"/>
                      <a:pt x="398" y="184"/>
                    </a:cubicBezTo>
                    <a:cubicBezTo>
                      <a:pt x="398" y="102"/>
                      <a:pt x="359" y="44"/>
                      <a:pt x="3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3" name="Freeform 30">
                <a:extLst>
                  <a:ext uri="{FF2B5EF4-FFF2-40B4-BE49-F238E27FC236}">
                    <a16:creationId xmlns:a16="http://schemas.microsoft.com/office/drawing/2014/main" id="{BC9CFD1D-8DDB-A709-12B5-43C1E29C37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9976" y="3903245"/>
                <a:ext cx="9050" cy="16289"/>
              </a:xfrm>
              <a:custGeom>
                <a:avLst/>
                <a:gdLst>
                  <a:gd name="T0" fmla="*/ 0 w 25"/>
                  <a:gd name="T1" fmla="*/ 42 h 42"/>
                  <a:gd name="T2" fmla="*/ 25 w 25"/>
                  <a:gd name="T3" fmla="*/ 0 h 42"/>
                  <a:gd name="T4" fmla="*/ 0 w 25"/>
                  <a:gd name="T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42">
                    <a:moveTo>
                      <a:pt x="0" y="42"/>
                    </a:moveTo>
                    <a:cubicBezTo>
                      <a:pt x="16" y="23"/>
                      <a:pt x="25" y="0"/>
                      <a:pt x="25" y="0"/>
                    </a:cubicBezTo>
                    <a:cubicBezTo>
                      <a:pt x="17" y="17"/>
                      <a:pt x="9" y="31"/>
                      <a:pt x="0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4" name="Rectangle 31">
                <a:extLst>
                  <a:ext uri="{FF2B5EF4-FFF2-40B4-BE49-F238E27FC236}">
                    <a16:creationId xmlns:a16="http://schemas.microsoft.com/office/drawing/2014/main" id="{B8DCAFFC-5BE1-EC35-AFF4-E3AF91BDC7D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409451" y="4104138"/>
                <a:ext cx="9050" cy="3981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5" name="Freeform 32">
                <a:extLst>
                  <a:ext uri="{FF2B5EF4-FFF2-40B4-BE49-F238E27FC236}">
                    <a16:creationId xmlns:a16="http://schemas.microsoft.com/office/drawing/2014/main" id="{5C73054B-B761-3917-85F6-3206576715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2212" y="3819993"/>
                <a:ext cx="7239" cy="3620"/>
              </a:xfrm>
              <a:custGeom>
                <a:avLst/>
                <a:gdLst>
                  <a:gd name="T0" fmla="*/ 0 w 16"/>
                  <a:gd name="T1" fmla="*/ 0 h 7"/>
                  <a:gd name="T2" fmla="*/ 16 w 16"/>
                  <a:gd name="T3" fmla="*/ 7 h 7"/>
                  <a:gd name="T4" fmla="*/ 16 w 16"/>
                  <a:gd name="T5" fmla="*/ 5 h 7"/>
                  <a:gd name="T6" fmla="*/ 0 w 16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7">
                    <a:moveTo>
                      <a:pt x="0" y="0"/>
                    </a:moveTo>
                    <a:cubicBezTo>
                      <a:pt x="6" y="2"/>
                      <a:pt x="11" y="4"/>
                      <a:pt x="16" y="7"/>
                    </a:cubicBezTo>
                    <a:lnTo>
                      <a:pt x="16" y="5"/>
                    </a:lnTo>
                    <a:cubicBezTo>
                      <a:pt x="11" y="3"/>
                      <a:pt x="6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6" name="Freeform 33">
                <a:extLst>
                  <a:ext uri="{FF2B5EF4-FFF2-40B4-BE49-F238E27FC236}">
                    <a16:creationId xmlns:a16="http://schemas.microsoft.com/office/drawing/2014/main" id="{EF5FA4B9-72B6-CE27-044E-F8BD5B2650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99025" y="3628150"/>
                <a:ext cx="47056" cy="314911"/>
              </a:xfrm>
              <a:custGeom>
                <a:avLst/>
                <a:gdLst>
                  <a:gd name="T0" fmla="*/ 3 w 115"/>
                  <a:gd name="T1" fmla="*/ 729 h 765"/>
                  <a:gd name="T2" fmla="*/ 9 w 115"/>
                  <a:gd name="T3" fmla="*/ 756 h 765"/>
                  <a:gd name="T4" fmla="*/ 19 w 115"/>
                  <a:gd name="T5" fmla="*/ 724 h 765"/>
                  <a:gd name="T6" fmla="*/ 34 w 115"/>
                  <a:gd name="T7" fmla="*/ 695 h 765"/>
                  <a:gd name="T8" fmla="*/ 30 w 115"/>
                  <a:gd name="T9" fmla="*/ 716 h 765"/>
                  <a:gd name="T10" fmla="*/ 22 w 115"/>
                  <a:gd name="T11" fmla="*/ 732 h 765"/>
                  <a:gd name="T12" fmla="*/ 17 w 115"/>
                  <a:gd name="T13" fmla="*/ 753 h 765"/>
                  <a:gd name="T14" fmla="*/ 30 w 115"/>
                  <a:gd name="T15" fmla="*/ 744 h 765"/>
                  <a:gd name="T16" fmla="*/ 49 w 115"/>
                  <a:gd name="T17" fmla="*/ 753 h 765"/>
                  <a:gd name="T18" fmla="*/ 54 w 115"/>
                  <a:gd name="T19" fmla="*/ 728 h 765"/>
                  <a:gd name="T20" fmla="*/ 68 w 115"/>
                  <a:gd name="T21" fmla="*/ 763 h 765"/>
                  <a:gd name="T22" fmla="*/ 67 w 115"/>
                  <a:gd name="T23" fmla="*/ 748 h 765"/>
                  <a:gd name="T24" fmla="*/ 65 w 115"/>
                  <a:gd name="T25" fmla="*/ 732 h 765"/>
                  <a:gd name="T26" fmla="*/ 64 w 115"/>
                  <a:gd name="T27" fmla="*/ 712 h 765"/>
                  <a:gd name="T28" fmla="*/ 66 w 115"/>
                  <a:gd name="T29" fmla="*/ 691 h 765"/>
                  <a:gd name="T30" fmla="*/ 68 w 115"/>
                  <a:gd name="T31" fmla="*/ 719 h 765"/>
                  <a:gd name="T32" fmla="*/ 76 w 115"/>
                  <a:gd name="T33" fmla="*/ 745 h 765"/>
                  <a:gd name="T34" fmla="*/ 78 w 115"/>
                  <a:gd name="T35" fmla="*/ 740 h 765"/>
                  <a:gd name="T36" fmla="*/ 77 w 115"/>
                  <a:gd name="T37" fmla="*/ 749 h 765"/>
                  <a:gd name="T38" fmla="*/ 77 w 115"/>
                  <a:gd name="T39" fmla="*/ 750 h 765"/>
                  <a:gd name="T40" fmla="*/ 79 w 115"/>
                  <a:gd name="T41" fmla="*/ 755 h 765"/>
                  <a:gd name="T42" fmla="*/ 84 w 115"/>
                  <a:gd name="T43" fmla="*/ 760 h 765"/>
                  <a:gd name="T44" fmla="*/ 86 w 115"/>
                  <a:gd name="T45" fmla="*/ 757 h 765"/>
                  <a:gd name="T46" fmla="*/ 86 w 115"/>
                  <a:gd name="T47" fmla="*/ 756 h 765"/>
                  <a:gd name="T48" fmla="*/ 78 w 115"/>
                  <a:gd name="T49" fmla="*/ 736 h 765"/>
                  <a:gd name="T50" fmla="*/ 84 w 115"/>
                  <a:gd name="T51" fmla="*/ 748 h 765"/>
                  <a:gd name="T52" fmla="*/ 84 w 115"/>
                  <a:gd name="T53" fmla="*/ 746 h 765"/>
                  <a:gd name="T54" fmla="*/ 89 w 115"/>
                  <a:gd name="T55" fmla="*/ 752 h 765"/>
                  <a:gd name="T56" fmla="*/ 90 w 115"/>
                  <a:gd name="T57" fmla="*/ 751 h 765"/>
                  <a:gd name="T58" fmla="*/ 83 w 115"/>
                  <a:gd name="T59" fmla="*/ 743 h 765"/>
                  <a:gd name="T60" fmla="*/ 91 w 115"/>
                  <a:gd name="T61" fmla="*/ 748 h 765"/>
                  <a:gd name="T62" fmla="*/ 95 w 115"/>
                  <a:gd name="T63" fmla="*/ 742 h 765"/>
                  <a:gd name="T64" fmla="*/ 96 w 115"/>
                  <a:gd name="T65" fmla="*/ 741 h 765"/>
                  <a:gd name="T66" fmla="*/ 103 w 115"/>
                  <a:gd name="T67" fmla="*/ 726 h 765"/>
                  <a:gd name="T68" fmla="*/ 101 w 115"/>
                  <a:gd name="T69" fmla="*/ 734 h 765"/>
                  <a:gd name="T70" fmla="*/ 112 w 115"/>
                  <a:gd name="T71" fmla="*/ 713 h 765"/>
                  <a:gd name="T72" fmla="*/ 101 w 115"/>
                  <a:gd name="T73" fmla="*/ 742 h 765"/>
                  <a:gd name="T74" fmla="*/ 104 w 115"/>
                  <a:gd name="T75" fmla="*/ 753 h 765"/>
                  <a:gd name="T76" fmla="*/ 106 w 115"/>
                  <a:gd name="T77" fmla="*/ 765 h 765"/>
                  <a:gd name="T78" fmla="*/ 109 w 115"/>
                  <a:gd name="T79" fmla="*/ 755 h 765"/>
                  <a:gd name="T80" fmla="*/ 110 w 115"/>
                  <a:gd name="T81" fmla="*/ 752 h 765"/>
                  <a:gd name="T82" fmla="*/ 110 w 115"/>
                  <a:gd name="T83" fmla="*/ 751 h 765"/>
                  <a:gd name="T84" fmla="*/ 110 w 115"/>
                  <a:gd name="T85" fmla="*/ 752 h 765"/>
                  <a:gd name="T86" fmla="*/ 110 w 115"/>
                  <a:gd name="T87" fmla="*/ 751 h 765"/>
                  <a:gd name="T88" fmla="*/ 111 w 115"/>
                  <a:gd name="T89" fmla="*/ 752 h 765"/>
                  <a:gd name="T90" fmla="*/ 111 w 115"/>
                  <a:gd name="T91" fmla="*/ 751 h 765"/>
                  <a:gd name="T92" fmla="*/ 113 w 115"/>
                  <a:gd name="T93" fmla="*/ 748 h 765"/>
                  <a:gd name="T94" fmla="*/ 113 w 115"/>
                  <a:gd name="T95" fmla="*/ 746 h 765"/>
                  <a:gd name="T96" fmla="*/ 109 w 115"/>
                  <a:gd name="T97" fmla="*/ 729 h 765"/>
                  <a:gd name="T98" fmla="*/ 109 w 115"/>
                  <a:gd name="T99" fmla="*/ 728 h 765"/>
                  <a:gd name="T100" fmla="*/ 109 w 115"/>
                  <a:gd name="T101" fmla="*/ 729 h 765"/>
                  <a:gd name="T102" fmla="*/ 112 w 115"/>
                  <a:gd name="T103" fmla="*/ 735 h 765"/>
                  <a:gd name="T104" fmla="*/ 115 w 115"/>
                  <a:gd name="T105" fmla="*/ 740 h 765"/>
                  <a:gd name="T106" fmla="*/ 115 w 115"/>
                  <a:gd name="T107" fmla="*/ 0 h 765"/>
                  <a:gd name="T108" fmla="*/ 0 w 115"/>
                  <a:gd name="T109" fmla="*/ 0 h 765"/>
                  <a:gd name="T110" fmla="*/ 0 w 115"/>
                  <a:gd name="T111" fmla="*/ 741 h 765"/>
                  <a:gd name="T112" fmla="*/ 2 w 115"/>
                  <a:gd name="T113" fmla="*/ 728 h 765"/>
                  <a:gd name="T114" fmla="*/ 3 w 115"/>
                  <a:gd name="T115" fmla="*/ 729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5" h="765">
                    <a:moveTo>
                      <a:pt x="3" y="729"/>
                    </a:moveTo>
                    <a:cubicBezTo>
                      <a:pt x="5" y="738"/>
                      <a:pt x="6" y="745"/>
                      <a:pt x="9" y="756"/>
                    </a:cubicBezTo>
                    <a:cubicBezTo>
                      <a:pt x="10" y="744"/>
                      <a:pt x="14" y="734"/>
                      <a:pt x="19" y="724"/>
                    </a:cubicBezTo>
                    <a:cubicBezTo>
                      <a:pt x="25" y="715"/>
                      <a:pt x="30" y="706"/>
                      <a:pt x="34" y="695"/>
                    </a:cubicBezTo>
                    <a:cubicBezTo>
                      <a:pt x="33" y="703"/>
                      <a:pt x="34" y="709"/>
                      <a:pt x="30" y="716"/>
                    </a:cubicBezTo>
                    <a:cubicBezTo>
                      <a:pt x="25" y="723"/>
                      <a:pt x="23" y="727"/>
                      <a:pt x="22" y="732"/>
                    </a:cubicBezTo>
                    <a:cubicBezTo>
                      <a:pt x="21" y="736"/>
                      <a:pt x="20" y="742"/>
                      <a:pt x="17" y="753"/>
                    </a:cubicBezTo>
                    <a:cubicBezTo>
                      <a:pt x="18" y="752"/>
                      <a:pt x="30" y="743"/>
                      <a:pt x="30" y="744"/>
                    </a:cubicBezTo>
                    <a:cubicBezTo>
                      <a:pt x="27" y="757"/>
                      <a:pt x="47" y="756"/>
                      <a:pt x="49" y="753"/>
                    </a:cubicBezTo>
                    <a:cubicBezTo>
                      <a:pt x="46" y="746"/>
                      <a:pt x="65" y="746"/>
                      <a:pt x="54" y="728"/>
                    </a:cubicBezTo>
                    <a:cubicBezTo>
                      <a:pt x="61" y="730"/>
                      <a:pt x="67" y="758"/>
                      <a:pt x="68" y="763"/>
                    </a:cubicBezTo>
                    <a:cubicBezTo>
                      <a:pt x="68" y="758"/>
                      <a:pt x="67" y="753"/>
                      <a:pt x="67" y="748"/>
                    </a:cubicBezTo>
                    <a:cubicBezTo>
                      <a:pt x="67" y="743"/>
                      <a:pt x="66" y="738"/>
                      <a:pt x="65" y="732"/>
                    </a:cubicBezTo>
                    <a:cubicBezTo>
                      <a:pt x="64" y="725"/>
                      <a:pt x="64" y="718"/>
                      <a:pt x="64" y="712"/>
                    </a:cubicBezTo>
                    <a:cubicBezTo>
                      <a:pt x="64" y="705"/>
                      <a:pt x="65" y="698"/>
                      <a:pt x="66" y="691"/>
                    </a:cubicBezTo>
                    <a:cubicBezTo>
                      <a:pt x="65" y="700"/>
                      <a:pt x="66" y="710"/>
                      <a:pt x="68" y="719"/>
                    </a:cubicBezTo>
                    <a:cubicBezTo>
                      <a:pt x="70" y="728"/>
                      <a:pt x="73" y="737"/>
                      <a:pt x="76" y="745"/>
                    </a:cubicBezTo>
                    <a:cubicBezTo>
                      <a:pt x="77" y="743"/>
                      <a:pt x="78" y="741"/>
                      <a:pt x="78" y="740"/>
                    </a:cubicBezTo>
                    <a:cubicBezTo>
                      <a:pt x="78" y="742"/>
                      <a:pt x="77" y="746"/>
                      <a:pt x="77" y="749"/>
                    </a:cubicBezTo>
                    <a:cubicBezTo>
                      <a:pt x="77" y="749"/>
                      <a:pt x="77" y="749"/>
                      <a:pt x="77" y="750"/>
                    </a:cubicBezTo>
                    <a:cubicBezTo>
                      <a:pt x="78" y="752"/>
                      <a:pt x="78" y="753"/>
                      <a:pt x="79" y="755"/>
                    </a:cubicBezTo>
                    <a:cubicBezTo>
                      <a:pt x="80" y="756"/>
                      <a:pt x="82" y="758"/>
                      <a:pt x="84" y="760"/>
                    </a:cubicBezTo>
                    <a:cubicBezTo>
                      <a:pt x="85" y="759"/>
                      <a:pt x="85" y="758"/>
                      <a:pt x="86" y="757"/>
                    </a:cubicBezTo>
                    <a:cubicBezTo>
                      <a:pt x="86" y="756"/>
                      <a:pt x="86" y="756"/>
                      <a:pt x="86" y="756"/>
                    </a:cubicBezTo>
                    <a:cubicBezTo>
                      <a:pt x="82" y="749"/>
                      <a:pt x="79" y="743"/>
                      <a:pt x="78" y="736"/>
                    </a:cubicBezTo>
                    <a:cubicBezTo>
                      <a:pt x="78" y="740"/>
                      <a:pt x="81" y="744"/>
                      <a:pt x="84" y="748"/>
                    </a:cubicBezTo>
                    <a:cubicBezTo>
                      <a:pt x="84" y="747"/>
                      <a:pt x="84" y="747"/>
                      <a:pt x="84" y="746"/>
                    </a:cubicBezTo>
                    <a:cubicBezTo>
                      <a:pt x="84" y="748"/>
                      <a:pt x="88" y="752"/>
                      <a:pt x="89" y="752"/>
                    </a:cubicBezTo>
                    <a:cubicBezTo>
                      <a:pt x="89" y="752"/>
                      <a:pt x="89" y="751"/>
                      <a:pt x="90" y="751"/>
                    </a:cubicBezTo>
                    <a:cubicBezTo>
                      <a:pt x="88" y="748"/>
                      <a:pt x="85" y="744"/>
                      <a:pt x="83" y="743"/>
                    </a:cubicBezTo>
                    <a:cubicBezTo>
                      <a:pt x="86" y="742"/>
                      <a:pt x="88" y="745"/>
                      <a:pt x="91" y="748"/>
                    </a:cubicBezTo>
                    <a:cubicBezTo>
                      <a:pt x="93" y="746"/>
                      <a:pt x="94" y="743"/>
                      <a:pt x="95" y="742"/>
                    </a:cubicBezTo>
                    <a:cubicBezTo>
                      <a:pt x="95" y="741"/>
                      <a:pt x="95" y="741"/>
                      <a:pt x="96" y="741"/>
                    </a:cubicBezTo>
                    <a:cubicBezTo>
                      <a:pt x="96" y="734"/>
                      <a:pt x="99" y="727"/>
                      <a:pt x="103" y="726"/>
                    </a:cubicBezTo>
                    <a:cubicBezTo>
                      <a:pt x="106" y="725"/>
                      <a:pt x="101" y="731"/>
                      <a:pt x="101" y="734"/>
                    </a:cubicBezTo>
                    <a:cubicBezTo>
                      <a:pt x="106" y="727"/>
                      <a:pt x="111" y="720"/>
                      <a:pt x="112" y="713"/>
                    </a:cubicBezTo>
                    <a:cubicBezTo>
                      <a:pt x="111" y="723"/>
                      <a:pt x="106" y="732"/>
                      <a:pt x="101" y="742"/>
                    </a:cubicBezTo>
                    <a:cubicBezTo>
                      <a:pt x="102" y="745"/>
                      <a:pt x="103" y="748"/>
                      <a:pt x="104" y="753"/>
                    </a:cubicBezTo>
                    <a:cubicBezTo>
                      <a:pt x="106" y="757"/>
                      <a:pt x="106" y="761"/>
                      <a:pt x="106" y="765"/>
                    </a:cubicBezTo>
                    <a:cubicBezTo>
                      <a:pt x="107" y="762"/>
                      <a:pt x="108" y="758"/>
                      <a:pt x="109" y="755"/>
                    </a:cubicBezTo>
                    <a:cubicBezTo>
                      <a:pt x="109" y="754"/>
                      <a:pt x="109" y="753"/>
                      <a:pt x="110" y="752"/>
                    </a:cubicBezTo>
                    <a:cubicBezTo>
                      <a:pt x="110" y="752"/>
                      <a:pt x="110" y="751"/>
                      <a:pt x="110" y="751"/>
                    </a:cubicBezTo>
                    <a:cubicBezTo>
                      <a:pt x="110" y="751"/>
                      <a:pt x="110" y="751"/>
                      <a:pt x="110" y="752"/>
                    </a:cubicBezTo>
                    <a:cubicBezTo>
                      <a:pt x="110" y="751"/>
                      <a:pt x="110" y="751"/>
                      <a:pt x="110" y="751"/>
                    </a:cubicBezTo>
                    <a:cubicBezTo>
                      <a:pt x="110" y="751"/>
                      <a:pt x="110" y="752"/>
                      <a:pt x="111" y="752"/>
                    </a:cubicBezTo>
                    <a:cubicBezTo>
                      <a:pt x="111" y="752"/>
                      <a:pt x="111" y="751"/>
                      <a:pt x="111" y="751"/>
                    </a:cubicBezTo>
                    <a:cubicBezTo>
                      <a:pt x="111" y="751"/>
                      <a:pt x="112" y="749"/>
                      <a:pt x="113" y="748"/>
                    </a:cubicBezTo>
                    <a:cubicBezTo>
                      <a:pt x="113" y="747"/>
                      <a:pt x="113" y="747"/>
                      <a:pt x="113" y="746"/>
                    </a:cubicBezTo>
                    <a:cubicBezTo>
                      <a:pt x="112" y="740"/>
                      <a:pt x="111" y="735"/>
                      <a:pt x="109" y="729"/>
                    </a:cubicBezTo>
                    <a:cubicBezTo>
                      <a:pt x="109" y="729"/>
                      <a:pt x="109" y="729"/>
                      <a:pt x="109" y="728"/>
                    </a:cubicBezTo>
                    <a:cubicBezTo>
                      <a:pt x="109" y="729"/>
                      <a:pt x="109" y="729"/>
                      <a:pt x="109" y="729"/>
                    </a:cubicBezTo>
                    <a:cubicBezTo>
                      <a:pt x="110" y="731"/>
                      <a:pt x="112" y="733"/>
                      <a:pt x="112" y="735"/>
                    </a:cubicBezTo>
                    <a:cubicBezTo>
                      <a:pt x="113" y="736"/>
                      <a:pt x="114" y="738"/>
                      <a:pt x="115" y="740"/>
                    </a:cubicBezTo>
                    <a:lnTo>
                      <a:pt x="115" y="0"/>
                    </a:lnTo>
                    <a:lnTo>
                      <a:pt x="0" y="0"/>
                    </a:lnTo>
                    <a:lnTo>
                      <a:pt x="0" y="741"/>
                    </a:lnTo>
                    <a:cubicBezTo>
                      <a:pt x="1" y="737"/>
                      <a:pt x="2" y="732"/>
                      <a:pt x="2" y="728"/>
                    </a:cubicBezTo>
                    <a:cubicBezTo>
                      <a:pt x="2" y="728"/>
                      <a:pt x="3" y="729"/>
                      <a:pt x="3" y="7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7" name="Freeform 34">
                <a:extLst>
                  <a:ext uri="{FF2B5EF4-FFF2-40B4-BE49-F238E27FC236}">
                    <a16:creationId xmlns:a16="http://schemas.microsoft.com/office/drawing/2014/main" id="{75EFCEAE-BFDE-B861-FC29-DB7E563E3B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4271" y="3935822"/>
                <a:ext cx="1810" cy="5430"/>
              </a:xfrm>
              <a:custGeom>
                <a:avLst/>
                <a:gdLst>
                  <a:gd name="T0" fmla="*/ 1 w 4"/>
                  <a:gd name="T1" fmla="*/ 8 h 11"/>
                  <a:gd name="T2" fmla="*/ 3 w 4"/>
                  <a:gd name="T3" fmla="*/ 10 h 11"/>
                  <a:gd name="T4" fmla="*/ 4 w 4"/>
                  <a:gd name="T5" fmla="*/ 11 h 11"/>
                  <a:gd name="T6" fmla="*/ 2 w 4"/>
                  <a:gd name="T7" fmla="*/ 0 h 11"/>
                  <a:gd name="T8" fmla="*/ 0 w 4"/>
                  <a:gd name="T9" fmla="*/ 6 h 11"/>
                  <a:gd name="T10" fmla="*/ 1 w 4"/>
                  <a:gd name="T11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1" y="8"/>
                    </a:moveTo>
                    <a:cubicBezTo>
                      <a:pt x="2" y="9"/>
                      <a:pt x="3" y="10"/>
                      <a:pt x="3" y="10"/>
                    </a:cubicBezTo>
                    <a:cubicBezTo>
                      <a:pt x="3" y="10"/>
                      <a:pt x="3" y="11"/>
                      <a:pt x="4" y="11"/>
                    </a:cubicBezTo>
                    <a:cubicBezTo>
                      <a:pt x="3" y="7"/>
                      <a:pt x="3" y="4"/>
                      <a:pt x="2" y="0"/>
                    </a:cubicBezTo>
                    <a:cubicBezTo>
                      <a:pt x="1" y="2"/>
                      <a:pt x="1" y="4"/>
                      <a:pt x="0" y="6"/>
                    </a:cubicBezTo>
                    <a:cubicBezTo>
                      <a:pt x="1" y="6"/>
                      <a:pt x="1" y="7"/>
                      <a:pt x="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8" name="Freeform 35">
                <a:extLst>
                  <a:ext uri="{FF2B5EF4-FFF2-40B4-BE49-F238E27FC236}">
                    <a16:creationId xmlns:a16="http://schemas.microsoft.com/office/drawing/2014/main" id="{1B463E5B-5F1B-4C9C-6A6D-0C3227E10A2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37032" y="3937633"/>
                <a:ext cx="1810" cy="9050"/>
              </a:xfrm>
              <a:custGeom>
                <a:avLst/>
                <a:gdLst>
                  <a:gd name="T0" fmla="*/ 2 w 4"/>
                  <a:gd name="T1" fmla="*/ 21 h 22"/>
                  <a:gd name="T2" fmla="*/ 3 w 4"/>
                  <a:gd name="T3" fmla="*/ 22 h 22"/>
                  <a:gd name="T4" fmla="*/ 3 w 4"/>
                  <a:gd name="T5" fmla="*/ 21 h 22"/>
                  <a:gd name="T6" fmla="*/ 2 w 4"/>
                  <a:gd name="T7" fmla="*/ 0 h 22"/>
                  <a:gd name="T8" fmla="*/ 0 w 4"/>
                  <a:gd name="T9" fmla="*/ 5 h 22"/>
                  <a:gd name="T10" fmla="*/ 2 w 4"/>
                  <a:gd name="T11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2">
                    <a:moveTo>
                      <a:pt x="2" y="21"/>
                    </a:moveTo>
                    <a:cubicBezTo>
                      <a:pt x="2" y="21"/>
                      <a:pt x="2" y="22"/>
                      <a:pt x="3" y="22"/>
                    </a:cubicBezTo>
                    <a:cubicBezTo>
                      <a:pt x="3" y="22"/>
                      <a:pt x="3" y="21"/>
                      <a:pt x="3" y="21"/>
                    </a:cubicBezTo>
                    <a:cubicBezTo>
                      <a:pt x="4" y="13"/>
                      <a:pt x="3" y="8"/>
                      <a:pt x="2" y="0"/>
                    </a:cubicBezTo>
                    <a:cubicBezTo>
                      <a:pt x="1" y="2"/>
                      <a:pt x="0" y="3"/>
                      <a:pt x="0" y="5"/>
                    </a:cubicBezTo>
                    <a:cubicBezTo>
                      <a:pt x="1" y="10"/>
                      <a:pt x="2" y="17"/>
                      <a:pt x="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9" name="Freeform 36">
                <a:extLst>
                  <a:ext uri="{FF2B5EF4-FFF2-40B4-BE49-F238E27FC236}">
                    <a16:creationId xmlns:a16="http://schemas.microsoft.com/office/drawing/2014/main" id="{80D07420-3241-230A-F82A-75E41C376D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03995" y="3626341"/>
                <a:ext cx="220800" cy="318531"/>
              </a:xfrm>
              <a:custGeom>
                <a:avLst/>
                <a:gdLst>
                  <a:gd name="T0" fmla="*/ 381 w 538"/>
                  <a:gd name="T1" fmla="*/ 766 h 775"/>
                  <a:gd name="T2" fmla="*/ 388 w 538"/>
                  <a:gd name="T3" fmla="*/ 736 h 775"/>
                  <a:gd name="T4" fmla="*/ 419 w 538"/>
                  <a:gd name="T5" fmla="*/ 702 h 775"/>
                  <a:gd name="T6" fmla="*/ 403 w 538"/>
                  <a:gd name="T7" fmla="*/ 760 h 775"/>
                  <a:gd name="T8" fmla="*/ 441 w 538"/>
                  <a:gd name="T9" fmla="*/ 740 h 775"/>
                  <a:gd name="T10" fmla="*/ 450 w 538"/>
                  <a:gd name="T11" fmla="*/ 733 h 775"/>
                  <a:gd name="T12" fmla="*/ 416 w 538"/>
                  <a:gd name="T13" fmla="*/ 572 h 775"/>
                  <a:gd name="T14" fmla="*/ 153 w 538"/>
                  <a:gd name="T15" fmla="*/ 622 h 775"/>
                  <a:gd name="T16" fmla="*/ 123 w 538"/>
                  <a:gd name="T17" fmla="*/ 241 h 775"/>
                  <a:gd name="T18" fmla="*/ 271 w 538"/>
                  <a:gd name="T19" fmla="*/ 119 h 775"/>
                  <a:gd name="T20" fmla="*/ 538 w 538"/>
                  <a:gd name="T21" fmla="*/ 232 h 775"/>
                  <a:gd name="T22" fmla="*/ 122 w 538"/>
                  <a:gd name="T23" fmla="*/ 45 h 775"/>
                  <a:gd name="T24" fmla="*/ 0 w 538"/>
                  <a:gd name="T25" fmla="*/ 399 h 775"/>
                  <a:gd name="T26" fmla="*/ 33 w 538"/>
                  <a:gd name="T27" fmla="*/ 656 h 775"/>
                  <a:gd name="T28" fmla="*/ 100 w 538"/>
                  <a:gd name="T29" fmla="*/ 736 h 775"/>
                  <a:gd name="T30" fmla="*/ 103 w 538"/>
                  <a:gd name="T31" fmla="*/ 725 h 775"/>
                  <a:gd name="T32" fmla="*/ 113 w 538"/>
                  <a:gd name="T33" fmla="*/ 746 h 775"/>
                  <a:gd name="T34" fmla="*/ 119 w 538"/>
                  <a:gd name="T35" fmla="*/ 750 h 775"/>
                  <a:gd name="T36" fmla="*/ 120 w 538"/>
                  <a:gd name="T37" fmla="*/ 743 h 775"/>
                  <a:gd name="T38" fmla="*/ 130 w 538"/>
                  <a:gd name="T39" fmla="*/ 738 h 775"/>
                  <a:gd name="T40" fmla="*/ 128 w 538"/>
                  <a:gd name="T41" fmla="*/ 757 h 775"/>
                  <a:gd name="T42" fmla="*/ 138 w 538"/>
                  <a:gd name="T43" fmla="*/ 744 h 775"/>
                  <a:gd name="T44" fmla="*/ 149 w 538"/>
                  <a:gd name="T45" fmla="*/ 748 h 775"/>
                  <a:gd name="T46" fmla="*/ 144 w 538"/>
                  <a:gd name="T47" fmla="*/ 726 h 775"/>
                  <a:gd name="T48" fmla="*/ 157 w 538"/>
                  <a:gd name="T49" fmla="*/ 759 h 775"/>
                  <a:gd name="T50" fmla="*/ 164 w 538"/>
                  <a:gd name="T51" fmla="*/ 753 h 775"/>
                  <a:gd name="T52" fmla="*/ 180 w 538"/>
                  <a:gd name="T53" fmla="*/ 757 h 775"/>
                  <a:gd name="T54" fmla="*/ 190 w 538"/>
                  <a:gd name="T55" fmla="*/ 771 h 775"/>
                  <a:gd name="T56" fmla="*/ 198 w 538"/>
                  <a:gd name="T57" fmla="*/ 711 h 775"/>
                  <a:gd name="T58" fmla="*/ 209 w 538"/>
                  <a:gd name="T59" fmla="*/ 768 h 775"/>
                  <a:gd name="T60" fmla="*/ 213 w 538"/>
                  <a:gd name="T61" fmla="*/ 734 h 775"/>
                  <a:gd name="T62" fmla="*/ 221 w 538"/>
                  <a:gd name="T63" fmla="*/ 753 h 775"/>
                  <a:gd name="T64" fmla="*/ 230 w 538"/>
                  <a:gd name="T65" fmla="*/ 755 h 775"/>
                  <a:gd name="T66" fmla="*/ 234 w 538"/>
                  <a:gd name="T67" fmla="*/ 741 h 775"/>
                  <a:gd name="T68" fmla="*/ 237 w 538"/>
                  <a:gd name="T69" fmla="*/ 742 h 775"/>
                  <a:gd name="T70" fmla="*/ 257 w 538"/>
                  <a:gd name="T71" fmla="*/ 723 h 775"/>
                  <a:gd name="T72" fmla="*/ 260 w 538"/>
                  <a:gd name="T73" fmla="*/ 728 h 775"/>
                  <a:gd name="T74" fmla="*/ 267 w 538"/>
                  <a:gd name="T75" fmla="*/ 740 h 775"/>
                  <a:gd name="T76" fmla="*/ 268 w 538"/>
                  <a:gd name="T77" fmla="*/ 775 h 775"/>
                  <a:gd name="T78" fmla="*/ 273 w 538"/>
                  <a:gd name="T79" fmla="*/ 753 h 775"/>
                  <a:gd name="T80" fmla="*/ 278 w 538"/>
                  <a:gd name="T81" fmla="*/ 755 h 775"/>
                  <a:gd name="T82" fmla="*/ 288 w 538"/>
                  <a:gd name="T83" fmla="*/ 765 h 775"/>
                  <a:gd name="T84" fmla="*/ 291 w 538"/>
                  <a:gd name="T85" fmla="*/ 762 h 775"/>
                  <a:gd name="T86" fmla="*/ 292 w 538"/>
                  <a:gd name="T87" fmla="*/ 743 h 775"/>
                  <a:gd name="T88" fmla="*/ 302 w 538"/>
                  <a:gd name="T89" fmla="*/ 766 h 775"/>
                  <a:gd name="T90" fmla="*/ 297 w 538"/>
                  <a:gd name="T91" fmla="*/ 736 h 775"/>
                  <a:gd name="T92" fmla="*/ 305 w 538"/>
                  <a:gd name="T93" fmla="*/ 753 h 775"/>
                  <a:gd name="T94" fmla="*/ 309 w 538"/>
                  <a:gd name="T95" fmla="*/ 756 h 775"/>
                  <a:gd name="T96" fmla="*/ 310 w 538"/>
                  <a:gd name="T97" fmla="*/ 770 h 775"/>
                  <a:gd name="T98" fmla="*/ 317 w 538"/>
                  <a:gd name="T99" fmla="*/ 754 h 775"/>
                  <a:gd name="T100" fmla="*/ 334 w 538"/>
                  <a:gd name="T101" fmla="*/ 741 h 775"/>
                  <a:gd name="T102" fmla="*/ 344 w 538"/>
                  <a:gd name="T103" fmla="*/ 723 h 775"/>
                  <a:gd name="T104" fmla="*/ 343 w 538"/>
                  <a:gd name="T105" fmla="*/ 771 h 775"/>
                  <a:gd name="T106" fmla="*/ 353 w 538"/>
                  <a:gd name="T107" fmla="*/ 722 h 775"/>
                  <a:gd name="T108" fmla="*/ 355 w 538"/>
                  <a:gd name="T109" fmla="*/ 755 h 775"/>
                  <a:gd name="T110" fmla="*/ 362 w 538"/>
                  <a:gd name="T111" fmla="*/ 75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38" h="775">
                    <a:moveTo>
                      <a:pt x="366" y="734"/>
                    </a:moveTo>
                    <a:cubicBezTo>
                      <a:pt x="365" y="739"/>
                      <a:pt x="367" y="747"/>
                      <a:pt x="369" y="753"/>
                    </a:cubicBezTo>
                    <a:cubicBezTo>
                      <a:pt x="372" y="760"/>
                      <a:pt x="376" y="765"/>
                      <a:pt x="381" y="766"/>
                    </a:cubicBezTo>
                    <a:cubicBezTo>
                      <a:pt x="381" y="763"/>
                      <a:pt x="382" y="758"/>
                      <a:pt x="383" y="756"/>
                    </a:cubicBezTo>
                    <a:cubicBezTo>
                      <a:pt x="386" y="750"/>
                      <a:pt x="387" y="741"/>
                      <a:pt x="387" y="735"/>
                    </a:cubicBezTo>
                    <a:cubicBezTo>
                      <a:pt x="387" y="735"/>
                      <a:pt x="388" y="736"/>
                      <a:pt x="388" y="736"/>
                    </a:cubicBezTo>
                    <a:cubicBezTo>
                      <a:pt x="390" y="745"/>
                      <a:pt x="392" y="752"/>
                      <a:pt x="394" y="763"/>
                    </a:cubicBezTo>
                    <a:cubicBezTo>
                      <a:pt x="395" y="751"/>
                      <a:pt x="400" y="741"/>
                      <a:pt x="405" y="731"/>
                    </a:cubicBezTo>
                    <a:cubicBezTo>
                      <a:pt x="410" y="722"/>
                      <a:pt x="416" y="713"/>
                      <a:pt x="419" y="702"/>
                    </a:cubicBezTo>
                    <a:cubicBezTo>
                      <a:pt x="419" y="710"/>
                      <a:pt x="419" y="716"/>
                      <a:pt x="415" y="723"/>
                    </a:cubicBezTo>
                    <a:cubicBezTo>
                      <a:pt x="411" y="730"/>
                      <a:pt x="409" y="734"/>
                      <a:pt x="408" y="739"/>
                    </a:cubicBezTo>
                    <a:cubicBezTo>
                      <a:pt x="406" y="743"/>
                      <a:pt x="405" y="749"/>
                      <a:pt x="403" y="760"/>
                    </a:cubicBezTo>
                    <a:cubicBezTo>
                      <a:pt x="403" y="759"/>
                      <a:pt x="416" y="750"/>
                      <a:pt x="415" y="751"/>
                    </a:cubicBezTo>
                    <a:cubicBezTo>
                      <a:pt x="415" y="754"/>
                      <a:pt x="415" y="756"/>
                      <a:pt x="416" y="758"/>
                    </a:cubicBezTo>
                    <a:cubicBezTo>
                      <a:pt x="425" y="753"/>
                      <a:pt x="433" y="747"/>
                      <a:pt x="441" y="740"/>
                    </a:cubicBezTo>
                    <a:cubicBezTo>
                      <a:pt x="442" y="740"/>
                      <a:pt x="442" y="740"/>
                      <a:pt x="443" y="739"/>
                    </a:cubicBezTo>
                    <a:cubicBezTo>
                      <a:pt x="443" y="739"/>
                      <a:pt x="443" y="739"/>
                      <a:pt x="443" y="739"/>
                    </a:cubicBezTo>
                    <a:cubicBezTo>
                      <a:pt x="445" y="737"/>
                      <a:pt x="447" y="735"/>
                      <a:pt x="450" y="733"/>
                    </a:cubicBezTo>
                    <a:cubicBezTo>
                      <a:pt x="451" y="732"/>
                      <a:pt x="453" y="731"/>
                      <a:pt x="454" y="729"/>
                    </a:cubicBezTo>
                    <a:cubicBezTo>
                      <a:pt x="495" y="691"/>
                      <a:pt x="523" y="638"/>
                      <a:pt x="538" y="572"/>
                    </a:cubicBezTo>
                    <a:lnTo>
                      <a:pt x="416" y="572"/>
                    </a:lnTo>
                    <a:cubicBezTo>
                      <a:pt x="384" y="643"/>
                      <a:pt x="336" y="679"/>
                      <a:pt x="271" y="679"/>
                    </a:cubicBezTo>
                    <a:cubicBezTo>
                      <a:pt x="244" y="679"/>
                      <a:pt x="221" y="673"/>
                      <a:pt x="201" y="661"/>
                    </a:cubicBezTo>
                    <a:cubicBezTo>
                      <a:pt x="181" y="651"/>
                      <a:pt x="165" y="638"/>
                      <a:pt x="153" y="622"/>
                    </a:cubicBezTo>
                    <a:cubicBezTo>
                      <a:pt x="138" y="605"/>
                      <a:pt x="128" y="583"/>
                      <a:pt x="123" y="556"/>
                    </a:cubicBezTo>
                    <a:cubicBezTo>
                      <a:pt x="118" y="528"/>
                      <a:pt x="115" y="476"/>
                      <a:pt x="115" y="399"/>
                    </a:cubicBezTo>
                    <a:cubicBezTo>
                      <a:pt x="115" y="322"/>
                      <a:pt x="118" y="269"/>
                      <a:pt x="123" y="241"/>
                    </a:cubicBezTo>
                    <a:cubicBezTo>
                      <a:pt x="128" y="214"/>
                      <a:pt x="138" y="193"/>
                      <a:pt x="153" y="176"/>
                    </a:cubicBezTo>
                    <a:cubicBezTo>
                      <a:pt x="165" y="160"/>
                      <a:pt x="181" y="146"/>
                      <a:pt x="201" y="135"/>
                    </a:cubicBezTo>
                    <a:cubicBezTo>
                      <a:pt x="221" y="125"/>
                      <a:pt x="244" y="119"/>
                      <a:pt x="271" y="119"/>
                    </a:cubicBezTo>
                    <a:cubicBezTo>
                      <a:pt x="308" y="119"/>
                      <a:pt x="339" y="130"/>
                      <a:pt x="365" y="152"/>
                    </a:cubicBezTo>
                    <a:cubicBezTo>
                      <a:pt x="390" y="174"/>
                      <a:pt x="407" y="201"/>
                      <a:pt x="416" y="232"/>
                    </a:cubicBezTo>
                    <a:lnTo>
                      <a:pt x="538" y="232"/>
                    </a:lnTo>
                    <a:cubicBezTo>
                      <a:pt x="526" y="167"/>
                      <a:pt x="497" y="112"/>
                      <a:pt x="451" y="68"/>
                    </a:cubicBezTo>
                    <a:cubicBezTo>
                      <a:pt x="404" y="24"/>
                      <a:pt x="345" y="1"/>
                      <a:pt x="271" y="0"/>
                    </a:cubicBezTo>
                    <a:cubicBezTo>
                      <a:pt x="212" y="1"/>
                      <a:pt x="162" y="16"/>
                      <a:pt x="122" y="45"/>
                    </a:cubicBezTo>
                    <a:cubicBezTo>
                      <a:pt x="81" y="73"/>
                      <a:pt x="52" y="105"/>
                      <a:pt x="33" y="141"/>
                    </a:cubicBezTo>
                    <a:cubicBezTo>
                      <a:pt x="22" y="160"/>
                      <a:pt x="13" y="185"/>
                      <a:pt x="8" y="216"/>
                    </a:cubicBezTo>
                    <a:cubicBezTo>
                      <a:pt x="3" y="247"/>
                      <a:pt x="0" y="308"/>
                      <a:pt x="0" y="399"/>
                    </a:cubicBezTo>
                    <a:cubicBezTo>
                      <a:pt x="0" y="489"/>
                      <a:pt x="3" y="549"/>
                      <a:pt x="8" y="581"/>
                    </a:cubicBezTo>
                    <a:cubicBezTo>
                      <a:pt x="11" y="598"/>
                      <a:pt x="14" y="612"/>
                      <a:pt x="18" y="623"/>
                    </a:cubicBezTo>
                    <a:cubicBezTo>
                      <a:pt x="23" y="633"/>
                      <a:pt x="28" y="645"/>
                      <a:pt x="33" y="656"/>
                    </a:cubicBezTo>
                    <a:cubicBezTo>
                      <a:pt x="42" y="674"/>
                      <a:pt x="54" y="690"/>
                      <a:pt x="67" y="705"/>
                    </a:cubicBezTo>
                    <a:cubicBezTo>
                      <a:pt x="68" y="706"/>
                      <a:pt x="68" y="706"/>
                      <a:pt x="69" y="707"/>
                    </a:cubicBezTo>
                    <a:cubicBezTo>
                      <a:pt x="78" y="717"/>
                      <a:pt x="88" y="727"/>
                      <a:pt x="100" y="736"/>
                    </a:cubicBezTo>
                    <a:cubicBezTo>
                      <a:pt x="99" y="730"/>
                      <a:pt x="99" y="724"/>
                      <a:pt x="99" y="718"/>
                    </a:cubicBezTo>
                    <a:cubicBezTo>
                      <a:pt x="99" y="711"/>
                      <a:pt x="100" y="704"/>
                      <a:pt x="101" y="697"/>
                    </a:cubicBezTo>
                    <a:cubicBezTo>
                      <a:pt x="100" y="706"/>
                      <a:pt x="101" y="716"/>
                      <a:pt x="103" y="725"/>
                    </a:cubicBezTo>
                    <a:cubicBezTo>
                      <a:pt x="104" y="731"/>
                      <a:pt x="106" y="736"/>
                      <a:pt x="108" y="742"/>
                    </a:cubicBezTo>
                    <a:cubicBezTo>
                      <a:pt x="110" y="743"/>
                      <a:pt x="111" y="745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5" y="747"/>
                      <a:pt x="116" y="748"/>
                      <a:pt x="118" y="750"/>
                    </a:cubicBezTo>
                    <a:lnTo>
                      <a:pt x="119" y="750"/>
                    </a:lnTo>
                    <a:cubicBezTo>
                      <a:pt x="119" y="750"/>
                      <a:pt x="119" y="750"/>
                      <a:pt x="119" y="750"/>
                    </a:cubicBezTo>
                    <a:cubicBezTo>
                      <a:pt x="120" y="750"/>
                      <a:pt x="120" y="751"/>
                      <a:pt x="121" y="752"/>
                    </a:cubicBezTo>
                    <a:cubicBezTo>
                      <a:pt x="121" y="749"/>
                      <a:pt x="121" y="746"/>
                      <a:pt x="120" y="743"/>
                    </a:cubicBezTo>
                    <a:cubicBezTo>
                      <a:pt x="120" y="743"/>
                      <a:pt x="122" y="745"/>
                      <a:pt x="122" y="745"/>
                    </a:cubicBezTo>
                    <a:cubicBezTo>
                      <a:pt x="122" y="746"/>
                      <a:pt x="123" y="747"/>
                      <a:pt x="124" y="749"/>
                    </a:cubicBezTo>
                    <a:cubicBezTo>
                      <a:pt x="126" y="745"/>
                      <a:pt x="129" y="741"/>
                      <a:pt x="130" y="738"/>
                    </a:cubicBezTo>
                    <a:cubicBezTo>
                      <a:pt x="135" y="731"/>
                      <a:pt x="146" y="721"/>
                      <a:pt x="147" y="710"/>
                    </a:cubicBezTo>
                    <a:cubicBezTo>
                      <a:pt x="146" y="719"/>
                      <a:pt x="142" y="727"/>
                      <a:pt x="138" y="735"/>
                    </a:cubicBezTo>
                    <a:cubicBezTo>
                      <a:pt x="134" y="742"/>
                      <a:pt x="130" y="749"/>
                      <a:pt x="128" y="757"/>
                    </a:cubicBezTo>
                    <a:cubicBezTo>
                      <a:pt x="131" y="758"/>
                      <a:pt x="133" y="760"/>
                      <a:pt x="135" y="761"/>
                    </a:cubicBezTo>
                    <a:cubicBezTo>
                      <a:pt x="136" y="759"/>
                      <a:pt x="137" y="756"/>
                      <a:pt x="137" y="754"/>
                    </a:cubicBezTo>
                    <a:cubicBezTo>
                      <a:pt x="137" y="751"/>
                      <a:pt x="137" y="747"/>
                      <a:pt x="138" y="744"/>
                    </a:cubicBezTo>
                    <a:cubicBezTo>
                      <a:pt x="137" y="751"/>
                      <a:pt x="139" y="758"/>
                      <a:pt x="141" y="764"/>
                    </a:cubicBezTo>
                    <a:cubicBezTo>
                      <a:pt x="144" y="766"/>
                      <a:pt x="147" y="768"/>
                      <a:pt x="150" y="769"/>
                    </a:cubicBezTo>
                    <a:cubicBezTo>
                      <a:pt x="150" y="762"/>
                      <a:pt x="150" y="755"/>
                      <a:pt x="149" y="748"/>
                    </a:cubicBezTo>
                    <a:cubicBezTo>
                      <a:pt x="148" y="741"/>
                      <a:pt x="146" y="734"/>
                      <a:pt x="144" y="726"/>
                    </a:cubicBezTo>
                    <a:cubicBezTo>
                      <a:pt x="144" y="726"/>
                      <a:pt x="144" y="726"/>
                      <a:pt x="144" y="725"/>
                    </a:cubicBezTo>
                    <a:cubicBezTo>
                      <a:pt x="144" y="726"/>
                      <a:pt x="144" y="726"/>
                      <a:pt x="144" y="726"/>
                    </a:cubicBezTo>
                    <a:cubicBezTo>
                      <a:pt x="145" y="728"/>
                      <a:pt x="147" y="730"/>
                      <a:pt x="148" y="731"/>
                    </a:cubicBezTo>
                    <a:cubicBezTo>
                      <a:pt x="149" y="734"/>
                      <a:pt x="151" y="739"/>
                      <a:pt x="152" y="743"/>
                    </a:cubicBezTo>
                    <a:cubicBezTo>
                      <a:pt x="153" y="747"/>
                      <a:pt x="156" y="754"/>
                      <a:pt x="157" y="759"/>
                    </a:cubicBezTo>
                    <a:cubicBezTo>
                      <a:pt x="159" y="762"/>
                      <a:pt x="163" y="772"/>
                      <a:pt x="165" y="773"/>
                    </a:cubicBezTo>
                    <a:cubicBezTo>
                      <a:pt x="165" y="772"/>
                      <a:pt x="164" y="769"/>
                      <a:pt x="164" y="767"/>
                    </a:cubicBezTo>
                    <a:cubicBezTo>
                      <a:pt x="164" y="763"/>
                      <a:pt x="164" y="758"/>
                      <a:pt x="164" y="753"/>
                    </a:cubicBezTo>
                    <a:cubicBezTo>
                      <a:pt x="164" y="761"/>
                      <a:pt x="173" y="768"/>
                      <a:pt x="178" y="771"/>
                    </a:cubicBezTo>
                    <a:cubicBezTo>
                      <a:pt x="178" y="769"/>
                      <a:pt x="179" y="768"/>
                      <a:pt x="179" y="766"/>
                    </a:cubicBezTo>
                    <a:cubicBezTo>
                      <a:pt x="180" y="763"/>
                      <a:pt x="180" y="760"/>
                      <a:pt x="180" y="757"/>
                    </a:cubicBezTo>
                    <a:cubicBezTo>
                      <a:pt x="181" y="751"/>
                      <a:pt x="182" y="742"/>
                      <a:pt x="180" y="735"/>
                    </a:cubicBezTo>
                    <a:cubicBezTo>
                      <a:pt x="182" y="740"/>
                      <a:pt x="184" y="745"/>
                      <a:pt x="186" y="751"/>
                    </a:cubicBezTo>
                    <a:cubicBezTo>
                      <a:pt x="187" y="757"/>
                      <a:pt x="189" y="764"/>
                      <a:pt x="190" y="771"/>
                    </a:cubicBezTo>
                    <a:cubicBezTo>
                      <a:pt x="191" y="758"/>
                      <a:pt x="190" y="765"/>
                      <a:pt x="195" y="753"/>
                    </a:cubicBezTo>
                    <a:cubicBezTo>
                      <a:pt x="198" y="745"/>
                      <a:pt x="199" y="737"/>
                      <a:pt x="200" y="730"/>
                    </a:cubicBezTo>
                    <a:cubicBezTo>
                      <a:pt x="200" y="722"/>
                      <a:pt x="200" y="715"/>
                      <a:pt x="198" y="711"/>
                    </a:cubicBezTo>
                    <a:cubicBezTo>
                      <a:pt x="198" y="713"/>
                      <a:pt x="204" y="722"/>
                      <a:pt x="205" y="726"/>
                    </a:cubicBezTo>
                    <a:cubicBezTo>
                      <a:pt x="205" y="736"/>
                      <a:pt x="202" y="742"/>
                      <a:pt x="202" y="751"/>
                    </a:cubicBezTo>
                    <a:cubicBezTo>
                      <a:pt x="200" y="766"/>
                      <a:pt x="199" y="759"/>
                      <a:pt x="209" y="768"/>
                    </a:cubicBezTo>
                    <a:cubicBezTo>
                      <a:pt x="209" y="768"/>
                      <a:pt x="208" y="765"/>
                      <a:pt x="208" y="764"/>
                    </a:cubicBezTo>
                    <a:cubicBezTo>
                      <a:pt x="208" y="758"/>
                      <a:pt x="208" y="754"/>
                      <a:pt x="209" y="749"/>
                    </a:cubicBezTo>
                    <a:cubicBezTo>
                      <a:pt x="210" y="745"/>
                      <a:pt x="211" y="740"/>
                      <a:pt x="213" y="734"/>
                    </a:cubicBezTo>
                    <a:cubicBezTo>
                      <a:pt x="213" y="742"/>
                      <a:pt x="216" y="756"/>
                      <a:pt x="222" y="762"/>
                    </a:cubicBezTo>
                    <a:cubicBezTo>
                      <a:pt x="222" y="761"/>
                      <a:pt x="221" y="759"/>
                      <a:pt x="221" y="758"/>
                    </a:cubicBezTo>
                    <a:cubicBezTo>
                      <a:pt x="221" y="756"/>
                      <a:pt x="221" y="757"/>
                      <a:pt x="221" y="753"/>
                    </a:cubicBezTo>
                    <a:cubicBezTo>
                      <a:pt x="220" y="754"/>
                      <a:pt x="222" y="758"/>
                      <a:pt x="224" y="759"/>
                    </a:cubicBezTo>
                    <a:cubicBezTo>
                      <a:pt x="225" y="759"/>
                      <a:pt x="226" y="761"/>
                      <a:pt x="228" y="762"/>
                    </a:cubicBezTo>
                    <a:cubicBezTo>
                      <a:pt x="228" y="760"/>
                      <a:pt x="229" y="757"/>
                      <a:pt x="230" y="755"/>
                    </a:cubicBezTo>
                    <a:cubicBezTo>
                      <a:pt x="232" y="752"/>
                      <a:pt x="233" y="748"/>
                      <a:pt x="234" y="743"/>
                    </a:cubicBezTo>
                    <a:cubicBezTo>
                      <a:pt x="233" y="743"/>
                      <a:pt x="232" y="742"/>
                      <a:pt x="231" y="741"/>
                    </a:cubicBezTo>
                    <a:cubicBezTo>
                      <a:pt x="232" y="740"/>
                      <a:pt x="233" y="741"/>
                      <a:pt x="234" y="741"/>
                    </a:cubicBezTo>
                    <a:cubicBezTo>
                      <a:pt x="234" y="739"/>
                      <a:pt x="234" y="736"/>
                      <a:pt x="235" y="734"/>
                    </a:cubicBezTo>
                    <a:cubicBezTo>
                      <a:pt x="235" y="734"/>
                      <a:pt x="235" y="736"/>
                      <a:pt x="235" y="736"/>
                    </a:cubicBezTo>
                    <a:cubicBezTo>
                      <a:pt x="236" y="738"/>
                      <a:pt x="236" y="740"/>
                      <a:pt x="237" y="742"/>
                    </a:cubicBezTo>
                    <a:cubicBezTo>
                      <a:pt x="239" y="744"/>
                      <a:pt x="242" y="746"/>
                      <a:pt x="244" y="749"/>
                    </a:cubicBezTo>
                    <a:cubicBezTo>
                      <a:pt x="246" y="742"/>
                      <a:pt x="250" y="735"/>
                      <a:pt x="254" y="729"/>
                    </a:cubicBezTo>
                    <a:cubicBezTo>
                      <a:pt x="254" y="727"/>
                      <a:pt x="256" y="725"/>
                      <a:pt x="257" y="723"/>
                    </a:cubicBezTo>
                    <a:cubicBezTo>
                      <a:pt x="260" y="716"/>
                      <a:pt x="264" y="710"/>
                      <a:pt x="267" y="702"/>
                    </a:cubicBezTo>
                    <a:cubicBezTo>
                      <a:pt x="266" y="710"/>
                      <a:pt x="266" y="716"/>
                      <a:pt x="262" y="723"/>
                    </a:cubicBezTo>
                    <a:cubicBezTo>
                      <a:pt x="261" y="725"/>
                      <a:pt x="260" y="726"/>
                      <a:pt x="260" y="728"/>
                    </a:cubicBezTo>
                    <a:cubicBezTo>
                      <a:pt x="259" y="732"/>
                      <a:pt x="259" y="736"/>
                      <a:pt x="260" y="740"/>
                    </a:cubicBezTo>
                    <a:cubicBezTo>
                      <a:pt x="265" y="734"/>
                      <a:pt x="271" y="730"/>
                      <a:pt x="279" y="728"/>
                    </a:cubicBezTo>
                    <a:cubicBezTo>
                      <a:pt x="278" y="732"/>
                      <a:pt x="269" y="736"/>
                      <a:pt x="267" y="740"/>
                    </a:cubicBezTo>
                    <a:cubicBezTo>
                      <a:pt x="265" y="744"/>
                      <a:pt x="264" y="748"/>
                      <a:pt x="264" y="753"/>
                    </a:cubicBezTo>
                    <a:cubicBezTo>
                      <a:pt x="264" y="754"/>
                      <a:pt x="265" y="756"/>
                      <a:pt x="265" y="757"/>
                    </a:cubicBezTo>
                    <a:cubicBezTo>
                      <a:pt x="267" y="762"/>
                      <a:pt x="267" y="768"/>
                      <a:pt x="268" y="775"/>
                    </a:cubicBezTo>
                    <a:cubicBezTo>
                      <a:pt x="270" y="773"/>
                      <a:pt x="273" y="771"/>
                      <a:pt x="274" y="769"/>
                    </a:cubicBezTo>
                    <a:lnTo>
                      <a:pt x="274" y="769"/>
                    </a:lnTo>
                    <a:cubicBezTo>
                      <a:pt x="274" y="764"/>
                      <a:pt x="274" y="758"/>
                      <a:pt x="273" y="753"/>
                    </a:cubicBezTo>
                    <a:cubicBezTo>
                      <a:pt x="273" y="754"/>
                      <a:pt x="274" y="755"/>
                      <a:pt x="275" y="756"/>
                    </a:cubicBezTo>
                    <a:cubicBezTo>
                      <a:pt x="276" y="757"/>
                      <a:pt x="277" y="759"/>
                      <a:pt x="278" y="761"/>
                    </a:cubicBezTo>
                    <a:cubicBezTo>
                      <a:pt x="278" y="759"/>
                      <a:pt x="278" y="757"/>
                      <a:pt x="278" y="755"/>
                    </a:cubicBezTo>
                    <a:cubicBezTo>
                      <a:pt x="280" y="757"/>
                      <a:pt x="282" y="760"/>
                      <a:pt x="283" y="762"/>
                    </a:cubicBezTo>
                    <a:cubicBezTo>
                      <a:pt x="285" y="764"/>
                      <a:pt x="287" y="767"/>
                      <a:pt x="288" y="770"/>
                    </a:cubicBezTo>
                    <a:cubicBezTo>
                      <a:pt x="288" y="768"/>
                      <a:pt x="287" y="766"/>
                      <a:pt x="288" y="765"/>
                    </a:cubicBezTo>
                    <a:cubicBezTo>
                      <a:pt x="288" y="762"/>
                      <a:pt x="290" y="758"/>
                      <a:pt x="290" y="755"/>
                    </a:cubicBezTo>
                    <a:cubicBezTo>
                      <a:pt x="290" y="758"/>
                      <a:pt x="290" y="760"/>
                      <a:pt x="291" y="763"/>
                    </a:cubicBezTo>
                    <a:cubicBezTo>
                      <a:pt x="291" y="763"/>
                      <a:pt x="291" y="762"/>
                      <a:pt x="291" y="762"/>
                    </a:cubicBezTo>
                    <a:cubicBezTo>
                      <a:pt x="291" y="759"/>
                      <a:pt x="291" y="754"/>
                      <a:pt x="292" y="751"/>
                    </a:cubicBezTo>
                    <a:cubicBezTo>
                      <a:pt x="292" y="745"/>
                      <a:pt x="290" y="739"/>
                      <a:pt x="286" y="736"/>
                    </a:cubicBezTo>
                    <a:cubicBezTo>
                      <a:pt x="287" y="736"/>
                      <a:pt x="292" y="742"/>
                      <a:pt x="292" y="743"/>
                    </a:cubicBezTo>
                    <a:cubicBezTo>
                      <a:pt x="295" y="747"/>
                      <a:pt x="296" y="752"/>
                      <a:pt x="298" y="757"/>
                    </a:cubicBezTo>
                    <a:cubicBezTo>
                      <a:pt x="299" y="762"/>
                      <a:pt x="300" y="767"/>
                      <a:pt x="301" y="772"/>
                    </a:cubicBezTo>
                    <a:cubicBezTo>
                      <a:pt x="301" y="770"/>
                      <a:pt x="302" y="768"/>
                      <a:pt x="302" y="766"/>
                    </a:cubicBezTo>
                    <a:cubicBezTo>
                      <a:pt x="302" y="761"/>
                      <a:pt x="301" y="756"/>
                      <a:pt x="300" y="751"/>
                    </a:cubicBezTo>
                    <a:cubicBezTo>
                      <a:pt x="299" y="746"/>
                      <a:pt x="298" y="742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8" y="738"/>
                      <a:pt x="300" y="741"/>
                      <a:pt x="300" y="742"/>
                    </a:cubicBezTo>
                    <a:cubicBezTo>
                      <a:pt x="302" y="745"/>
                      <a:pt x="304" y="750"/>
                      <a:pt x="305" y="753"/>
                    </a:cubicBezTo>
                    <a:cubicBezTo>
                      <a:pt x="305" y="754"/>
                      <a:pt x="305" y="756"/>
                      <a:pt x="306" y="758"/>
                    </a:cubicBezTo>
                    <a:cubicBezTo>
                      <a:pt x="307" y="754"/>
                      <a:pt x="309" y="750"/>
                      <a:pt x="311" y="747"/>
                    </a:cubicBezTo>
                    <a:cubicBezTo>
                      <a:pt x="310" y="750"/>
                      <a:pt x="310" y="753"/>
                      <a:pt x="309" y="756"/>
                    </a:cubicBezTo>
                    <a:cubicBezTo>
                      <a:pt x="309" y="758"/>
                      <a:pt x="310" y="759"/>
                      <a:pt x="309" y="761"/>
                    </a:cubicBezTo>
                    <a:cubicBezTo>
                      <a:pt x="309" y="762"/>
                      <a:pt x="310" y="765"/>
                      <a:pt x="310" y="766"/>
                    </a:cubicBezTo>
                    <a:cubicBezTo>
                      <a:pt x="310" y="767"/>
                      <a:pt x="310" y="768"/>
                      <a:pt x="310" y="770"/>
                    </a:cubicBezTo>
                    <a:cubicBezTo>
                      <a:pt x="311" y="772"/>
                      <a:pt x="313" y="773"/>
                      <a:pt x="315" y="773"/>
                    </a:cubicBezTo>
                    <a:cubicBezTo>
                      <a:pt x="315" y="771"/>
                      <a:pt x="316" y="769"/>
                      <a:pt x="317" y="767"/>
                    </a:cubicBezTo>
                    <a:cubicBezTo>
                      <a:pt x="317" y="763"/>
                      <a:pt x="317" y="758"/>
                      <a:pt x="317" y="754"/>
                    </a:cubicBezTo>
                    <a:cubicBezTo>
                      <a:pt x="317" y="757"/>
                      <a:pt x="318" y="760"/>
                      <a:pt x="320" y="762"/>
                    </a:cubicBezTo>
                    <a:cubicBezTo>
                      <a:pt x="323" y="757"/>
                      <a:pt x="326" y="752"/>
                      <a:pt x="328" y="749"/>
                    </a:cubicBezTo>
                    <a:cubicBezTo>
                      <a:pt x="329" y="746"/>
                      <a:pt x="332" y="744"/>
                      <a:pt x="334" y="741"/>
                    </a:cubicBezTo>
                    <a:cubicBezTo>
                      <a:pt x="333" y="738"/>
                      <a:pt x="332" y="735"/>
                      <a:pt x="331" y="733"/>
                    </a:cubicBezTo>
                    <a:cubicBezTo>
                      <a:pt x="333" y="735"/>
                      <a:pt x="334" y="737"/>
                      <a:pt x="335" y="739"/>
                    </a:cubicBezTo>
                    <a:cubicBezTo>
                      <a:pt x="339" y="734"/>
                      <a:pt x="343" y="729"/>
                      <a:pt x="344" y="723"/>
                    </a:cubicBezTo>
                    <a:cubicBezTo>
                      <a:pt x="343" y="730"/>
                      <a:pt x="340" y="736"/>
                      <a:pt x="337" y="742"/>
                    </a:cubicBezTo>
                    <a:cubicBezTo>
                      <a:pt x="339" y="747"/>
                      <a:pt x="340" y="751"/>
                      <a:pt x="341" y="756"/>
                    </a:cubicBezTo>
                    <a:cubicBezTo>
                      <a:pt x="342" y="761"/>
                      <a:pt x="342" y="766"/>
                      <a:pt x="343" y="771"/>
                    </a:cubicBezTo>
                    <a:cubicBezTo>
                      <a:pt x="343" y="765"/>
                      <a:pt x="344" y="760"/>
                      <a:pt x="345" y="755"/>
                    </a:cubicBezTo>
                    <a:cubicBezTo>
                      <a:pt x="345" y="751"/>
                      <a:pt x="346" y="746"/>
                      <a:pt x="348" y="740"/>
                    </a:cubicBezTo>
                    <a:cubicBezTo>
                      <a:pt x="350" y="733"/>
                      <a:pt x="352" y="727"/>
                      <a:pt x="353" y="722"/>
                    </a:cubicBezTo>
                    <a:cubicBezTo>
                      <a:pt x="353" y="718"/>
                      <a:pt x="353" y="713"/>
                      <a:pt x="349" y="709"/>
                    </a:cubicBezTo>
                    <a:cubicBezTo>
                      <a:pt x="361" y="709"/>
                      <a:pt x="358" y="729"/>
                      <a:pt x="357" y="737"/>
                    </a:cubicBezTo>
                    <a:cubicBezTo>
                      <a:pt x="357" y="745"/>
                      <a:pt x="355" y="750"/>
                      <a:pt x="355" y="755"/>
                    </a:cubicBezTo>
                    <a:cubicBezTo>
                      <a:pt x="355" y="760"/>
                      <a:pt x="357" y="764"/>
                      <a:pt x="362" y="769"/>
                    </a:cubicBezTo>
                    <a:cubicBezTo>
                      <a:pt x="362" y="768"/>
                      <a:pt x="361" y="765"/>
                      <a:pt x="361" y="764"/>
                    </a:cubicBezTo>
                    <a:cubicBezTo>
                      <a:pt x="361" y="758"/>
                      <a:pt x="361" y="754"/>
                      <a:pt x="362" y="750"/>
                    </a:cubicBezTo>
                    <a:cubicBezTo>
                      <a:pt x="363" y="745"/>
                      <a:pt x="364" y="741"/>
                      <a:pt x="366" y="7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0" name="Freeform 37">
                <a:extLst>
                  <a:ext uri="{FF2B5EF4-FFF2-40B4-BE49-F238E27FC236}">
                    <a16:creationId xmlns:a16="http://schemas.microsoft.com/office/drawing/2014/main" id="{10DFCB3C-637E-6B6A-71AE-F652951DE2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7156" y="3934013"/>
                <a:ext cx="1810" cy="3620"/>
              </a:xfrm>
              <a:custGeom>
                <a:avLst/>
                <a:gdLst>
                  <a:gd name="T0" fmla="*/ 2 w 3"/>
                  <a:gd name="T1" fmla="*/ 0 h 12"/>
                  <a:gd name="T2" fmla="*/ 0 w 3"/>
                  <a:gd name="T3" fmla="*/ 12 h 12"/>
                  <a:gd name="T4" fmla="*/ 3 w 3"/>
                  <a:gd name="T5" fmla="*/ 6 h 12"/>
                  <a:gd name="T6" fmla="*/ 3 w 3"/>
                  <a:gd name="T7" fmla="*/ 5 h 12"/>
                  <a:gd name="T8" fmla="*/ 2 w 3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2">
                    <a:moveTo>
                      <a:pt x="2" y="0"/>
                    </a:moveTo>
                    <a:cubicBezTo>
                      <a:pt x="2" y="4"/>
                      <a:pt x="1" y="7"/>
                      <a:pt x="0" y="12"/>
                    </a:cubicBezTo>
                    <a:cubicBezTo>
                      <a:pt x="0" y="11"/>
                      <a:pt x="2" y="8"/>
                      <a:pt x="3" y="6"/>
                    </a:cubicBezTo>
                    <a:cubicBezTo>
                      <a:pt x="3" y="6"/>
                      <a:pt x="3" y="5"/>
                      <a:pt x="3" y="5"/>
                    </a:cubicBezTo>
                    <a:cubicBezTo>
                      <a:pt x="3" y="3"/>
                      <a:pt x="3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1" name="Freeform 38">
                <a:extLst>
                  <a:ext uri="{FF2B5EF4-FFF2-40B4-BE49-F238E27FC236}">
                    <a16:creationId xmlns:a16="http://schemas.microsoft.com/office/drawing/2014/main" id="{D3CD4A97-49DB-DCCB-432F-F93F2AEBEF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1726" y="3934013"/>
                <a:ext cx="1810" cy="5430"/>
              </a:xfrm>
              <a:custGeom>
                <a:avLst/>
                <a:gdLst>
                  <a:gd name="T0" fmla="*/ 0 w 5"/>
                  <a:gd name="T1" fmla="*/ 0 h 14"/>
                  <a:gd name="T2" fmla="*/ 3 w 5"/>
                  <a:gd name="T3" fmla="*/ 14 h 14"/>
                  <a:gd name="T4" fmla="*/ 5 w 5"/>
                  <a:gd name="T5" fmla="*/ 6 h 14"/>
                  <a:gd name="T6" fmla="*/ 0 w 5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4">
                    <a:moveTo>
                      <a:pt x="0" y="0"/>
                    </a:moveTo>
                    <a:cubicBezTo>
                      <a:pt x="1" y="4"/>
                      <a:pt x="2" y="9"/>
                      <a:pt x="3" y="14"/>
                    </a:cubicBezTo>
                    <a:cubicBezTo>
                      <a:pt x="4" y="11"/>
                      <a:pt x="4" y="9"/>
                      <a:pt x="5" y="6"/>
                    </a:cubicBezTo>
                    <a:cubicBezTo>
                      <a:pt x="4" y="4"/>
                      <a:pt x="2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2" name="Freeform 39">
                <a:extLst>
                  <a:ext uri="{FF2B5EF4-FFF2-40B4-BE49-F238E27FC236}">
                    <a16:creationId xmlns:a16="http://schemas.microsoft.com/office/drawing/2014/main" id="{DEBA006C-188C-9F98-71AD-E953F5BB51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1051" y="39322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3" name="Freeform 40">
                <a:extLst>
                  <a:ext uri="{FF2B5EF4-FFF2-40B4-BE49-F238E27FC236}">
                    <a16:creationId xmlns:a16="http://schemas.microsoft.com/office/drawing/2014/main" id="{053EA6E6-A265-C0C4-4C5A-2E9CABB8FE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2861" y="3934013"/>
                <a:ext cx="0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4" name="Freeform 41">
                <a:extLst>
                  <a:ext uri="{FF2B5EF4-FFF2-40B4-BE49-F238E27FC236}">
                    <a16:creationId xmlns:a16="http://schemas.microsoft.com/office/drawing/2014/main" id="{A9F55A8B-ECAA-74C6-C3CA-B027BD5133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37923" y="3932203"/>
                <a:ext cx="3620" cy="10859"/>
              </a:xfrm>
              <a:custGeom>
                <a:avLst/>
                <a:gdLst>
                  <a:gd name="T0" fmla="*/ 9 w 10"/>
                  <a:gd name="T1" fmla="*/ 11 h 24"/>
                  <a:gd name="T2" fmla="*/ 10 w 10"/>
                  <a:gd name="T3" fmla="*/ 0 h 24"/>
                  <a:gd name="T4" fmla="*/ 0 w 10"/>
                  <a:gd name="T5" fmla="*/ 21 h 24"/>
                  <a:gd name="T6" fmla="*/ 6 w 10"/>
                  <a:gd name="T7" fmla="*/ 24 h 24"/>
                  <a:gd name="T8" fmla="*/ 7 w 10"/>
                  <a:gd name="T9" fmla="*/ 20 h 24"/>
                  <a:gd name="T10" fmla="*/ 9 w 10"/>
                  <a:gd name="T11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4">
                    <a:moveTo>
                      <a:pt x="9" y="11"/>
                    </a:moveTo>
                    <a:cubicBezTo>
                      <a:pt x="10" y="8"/>
                      <a:pt x="10" y="4"/>
                      <a:pt x="10" y="0"/>
                    </a:cubicBezTo>
                    <a:cubicBezTo>
                      <a:pt x="6" y="7"/>
                      <a:pt x="2" y="14"/>
                      <a:pt x="0" y="21"/>
                    </a:cubicBezTo>
                    <a:cubicBezTo>
                      <a:pt x="2" y="23"/>
                      <a:pt x="4" y="24"/>
                      <a:pt x="6" y="24"/>
                    </a:cubicBezTo>
                    <a:cubicBezTo>
                      <a:pt x="6" y="22"/>
                      <a:pt x="7" y="22"/>
                      <a:pt x="7" y="20"/>
                    </a:cubicBezTo>
                    <a:cubicBezTo>
                      <a:pt x="7" y="17"/>
                      <a:pt x="9" y="14"/>
                      <a:pt x="9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5" name="Freeform 42">
                <a:extLst>
                  <a:ext uri="{FF2B5EF4-FFF2-40B4-BE49-F238E27FC236}">
                    <a16:creationId xmlns:a16="http://schemas.microsoft.com/office/drawing/2014/main" id="{D3D378FD-218D-5549-9D5E-F5AD8B8A41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29360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6" name="Freeform 43">
                <a:extLst>
                  <a:ext uri="{FF2B5EF4-FFF2-40B4-BE49-F238E27FC236}">
                    <a16:creationId xmlns:a16="http://schemas.microsoft.com/office/drawing/2014/main" id="{4EF6B16F-0CE0-4816-06D8-3285B9681A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56048" y="4004596"/>
                <a:ext cx="54295" cy="74204"/>
              </a:xfrm>
              <a:custGeom>
                <a:avLst/>
                <a:gdLst>
                  <a:gd name="T0" fmla="*/ 84 w 130"/>
                  <a:gd name="T1" fmla="*/ 181 h 181"/>
                  <a:gd name="T2" fmla="*/ 84 w 130"/>
                  <a:gd name="T3" fmla="*/ 33 h 181"/>
                  <a:gd name="T4" fmla="*/ 130 w 130"/>
                  <a:gd name="T5" fmla="*/ 33 h 181"/>
                  <a:gd name="T6" fmla="*/ 130 w 130"/>
                  <a:gd name="T7" fmla="*/ 0 h 181"/>
                  <a:gd name="T8" fmla="*/ 0 w 130"/>
                  <a:gd name="T9" fmla="*/ 0 h 181"/>
                  <a:gd name="T10" fmla="*/ 0 w 130"/>
                  <a:gd name="T11" fmla="*/ 33 h 181"/>
                  <a:gd name="T12" fmla="*/ 45 w 130"/>
                  <a:gd name="T13" fmla="*/ 33 h 181"/>
                  <a:gd name="T14" fmla="*/ 45 w 130"/>
                  <a:gd name="T15" fmla="*/ 181 h 181"/>
                  <a:gd name="T16" fmla="*/ 84 w 130"/>
                  <a:gd name="T17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0" h="181">
                    <a:moveTo>
                      <a:pt x="84" y="181"/>
                    </a:moveTo>
                    <a:lnTo>
                      <a:pt x="84" y="33"/>
                    </a:lnTo>
                    <a:lnTo>
                      <a:pt x="130" y="33"/>
                    </a:lnTo>
                    <a:lnTo>
                      <a:pt x="130" y="0"/>
                    </a:lnTo>
                    <a:lnTo>
                      <a:pt x="0" y="0"/>
                    </a:lnTo>
                    <a:lnTo>
                      <a:pt x="0" y="33"/>
                    </a:lnTo>
                    <a:lnTo>
                      <a:pt x="45" y="33"/>
                    </a:lnTo>
                    <a:lnTo>
                      <a:pt x="45" y="181"/>
                    </a:lnTo>
                    <a:lnTo>
                      <a:pt x="84" y="1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7" name="Freeform 44">
                <a:extLst>
                  <a:ext uri="{FF2B5EF4-FFF2-40B4-BE49-F238E27FC236}">
                    <a16:creationId xmlns:a16="http://schemas.microsoft.com/office/drawing/2014/main" id="{6594D440-AFD7-D8A6-8A8E-782F5BA085C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81844" y="4002787"/>
                <a:ext cx="61534" cy="77823"/>
              </a:xfrm>
              <a:custGeom>
                <a:avLst/>
                <a:gdLst>
                  <a:gd name="T0" fmla="*/ 76 w 150"/>
                  <a:gd name="T1" fmla="*/ 154 h 187"/>
                  <a:gd name="T2" fmla="*/ 40 w 150"/>
                  <a:gd name="T3" fmla="*/ 92 h 187"/>
                  <a:gd name="T4" fmla="*/ 74 w 150"/>
                  <a:gd name="T5" fmla="*/ 33 h 187"/>
                  <a:gd name="T6" fmla="*/ 109 w 150"/>
                  <a:gd name="T7" fmla="*/ 95 h 187"/>
                  <a:gd name="T8" fmla="*/ 76 w 150"/>
                  <a:gd name="T9" fmla="*/ 154 h 187"/>
                  <a:gd name="T10" fmla="*/ 76 w 150"/>
                  <a:gd name="T11" fmla="*/ 0 h 187"/>
                  <a:gd name="T12" fmla="*/ 0 w 150"/>
                  <a:gd name="T13" fmla="*/ 95 h 187"/>
                  <a:gd name="T14" fmla="*/ 74 w 150"/>
                  <a:gd name="T15" fmla="*/ 187 h 187"/>
                  <a:gd name="T16" fmla="*/ 150 w 150"/>
                  <a:gd name="T17" fmla="*/ 93 h 187"/>
                  <a:gd name="T18" fmla="*/ 76 w 150"/>
                  <a:gd name="T1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87">
                    <a:moveTo>
                      <a:pt x="76" y="154"/>
                    </a:moveTo>
                    <a:cubicBezTo>
                      <a:pt x="54" y="154"/>
                      <a:pt x="40" y="138"/>
                      <a:pt x="40" y="92"/>
                    </a:cubicBezTo>
                    <a:cubicBezTo>
                      <a:pt x="40" y="47"/>
                      <a:pt x="54" y="33"/>
                      <a:pt x="74" y="33"/>
                    </a:cubicBezTo>
                    <a:cubicBezTo>
                      <a:pt x="96" y="33"/>
                      <a:pt x="109" y="49"/>
                      <a:pt x="109" y="95"/>
                    </a:cubicBezTo>
                    <a:cubicBezTo>
                      <a:pt x="109" y="139"/>
                      <a:pt x="97" y="154"/>
                      <a:pt x="76" y="154"/>
                    </a:cubicBezTo>
                    <a:close/>
                    <a:moveTo>
                      <a:pt x="76" y="0"/>
                    </a:moveTo>
                    <a:cubicBezTo>
                      <a:pt x="32" y="0"/>
                      <a:pt x="0" y="29"/>
                      <a:pt x="0" y="95"/>
                    </a:cubicBezTo>
                    <a:cubicBezTo>
                      <a:pt x="0" y="163"/>
                      <a:pt x="28" y="187"/>
                      <a:pt x="74" y="187"/>
                    </a:cubicBezTo>
                    <a:cubicBezTo>
                      <a:pt x="118" y="187"/>
                      <a:pt x="150" y="159"/>
                      <a:pt x="150" y="93"/>
                    </a:cubicBezTo>
                    <a:cubicBezTo>
                      <a:pt x="150" y="25"/>
                      <a:pt x="121" y="0"/>
                      <a:pt x="7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" name="Freeform 45">
                <a:extLst>
                  <a:ext uri="{FF2B5EF4-FFF2-40B4-BE49-F238E27FC236}">
                    <a16:creationId xmlns:a16="http://schemas.microsoft.com/office/drawing/2014/main" id="{4601378D-4F67-F047-B0A8-A32AFE6A54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07642" y="4004596"/>
                <a:ext cx="54295" cy="74204"/>
              </a:xfrm>
              <a:custGeom>
                <a:avLst/>
                <a:gdLst>
                  <a:gd name="T0" fmla="*/ 66 w 132"/>
                  <a:gd name="T1" fmla="*/ 149 h 181"/>
                  <a:gd name="T2" fmla="*/ 39 w 132"/>
                  <a:gd name="T3" fmla="*/ 149 h 181"/>
                  <a:gd name="T4" fmla="*/ 39 w 132"/>
                  <a:gd name="T5" fmla="*/ 105 h 181"/>
                  <a:gd name="T6" fmla="*/ 64 w 132"/>
                  <a:gd name="T7" fmla="*/ 105 h 181"/>
                  <a:gd name="T8" fmla="*/ 92 w 132"/>
                  <a:gd name="T9" fmla="*/ 127 h 181"/>
                  <a:gd name="T10" fmla="*/ 66 w 132"/>
                  <a:gd name="T11" fmla="*/ 149 h 181"/>
                  <a:gd name="T12" fmla="*/ 39 w 132"/>
                  <a:gd name="T13" fmla="*/ 33 h 181"/>
                  <a:gd name="T14" fmla="*/ 60 w 132"/>
                  <a:gd name="T15" fmla="*/ 33 h 181"/>
                  <a:gd name="T16" fmla="*/ 85 w 132"/>
                  <a:gd name="T17" fmla="*/ 52 h 181"/>
                  <a:gd name="T18" fmla="*/ 59 w 132"/>
                  <a:gd name="T19" fmla="*/ 73 h 181"/>
                  <a:gd name="T20" fmla="*/ 39 w 132"/>
                  <a:gd name="T21" fmla="*/ 73 h 181"/>
                  <a:gd name="T22" fmla="*/ 39 w 132"/>
                  <a:gd name="T23" fmla="*/ 33 h 181"/>
                  <a:gd name="T24" fmla="*/ 97 w 132"/>
                  <a:gd name="T25" fmla="*/ 86 h 181"/>
                  <a:gd name="T26" fmla="*/ 97 w 132"/>
                  <a:gd name="T27" fmla="*/ 85 h 181"/>
                  <a:gd name="T28" fmla="*/ 123 w 132"/>
                  <a:gd name="T29" fmla="*/ 47 h 181"/>
                  <a:gd name="T30" fmla="*/ 65 w 132"/>
                  <a:gd name="T31" fmla="*/ 0 h 181"/>
                  <a:gd name="T32" fmla="*/ 0 w 132"/>
                  <a:gd name="T33" fmla="*/ 0 h 181"/>
                  <a:gd name="T34" fmla="*/ 0 w 132"/>
                  <a:gd name="T35" fmla="*/ 181 h 181"/>
                  <a:gd name="T36" fmla="*/ 60 w 132"/>
                  <a:gd name="T37" fmla="*/ 181 h 181"/>
                  <a:gd name="T38" fmla="*/ 132 w 132"/>
                  <a:gd name="T39" fmla="*/ 126 h 181"/>
                  <a:gd name="T40" fmla="*/ 97 w 132"/>
                  <a:gd name="T41" fmla="*/ 86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2" h="181">
                    <a:moveTo>
                      <a:pt x="66" y="149"/>
                    </a:moveTo>
                    <a:lnTo>
                      <a:pt x="39" y="149"/>
                    </a:lnTo>
                    <a:lnTo>
                      <a:pt x="39" y="105"/>
                    </a:lnTo>
                    <a:lnTo>
                      <a:pt x="64" y="105"/>
                    </a:lnTo>
                    <a:cubicBezTo>
                      <a:pt x="79" y="105"/>
                      <a:pt x="92" y="111"/>
                      <a:pt x="92" y="127"/>
                    </a:cubicBezTo>
                    <a:cubicBezTo>
                      <a:pt x="92" y="137"/>
                      <a:pt x="86" y="149"/>
                      <a:pt x="66" y="149"/>
                    </a:cubicBezTo>
                    <a:close/>
                    <a:moveTo>
                      <a:pt x="39" y="33"/>
                    </a:moveTo>
                    <a:lnTo>
                      <a:pt x="60" y="33"/>
                    </a:lnTo>
                    <a:cubicBezTo>
                      <a:pt x="79" y="33"/>
                      <a:pt x="85" y="41"/>
                      <a:pt x="85" y="52"/>
                    </a:cubicBezTo>
                    <a:cubicBezTo>
                      <a:pt x="85" y="63"/>
                      <a:pt x="78" y="73"/>
                      <a:pt x="59" y="73"/>
                    </a:cubicBezTo>
                    <a:lnTo>
                      <a:pt x="39" y="73"/>
                    </a:lnTo>
                    <a:lnTo>
                      <a:pt x="39" y="33"/>
                    </a:lnTo>
                    <a:close/>
                    <a:moveTo>
                      <a:pt x="97" y="86"/>
                    </a:moveTo>
                    <a:lnTo>
                      <a:pt x="97" y="85"/>
                    </a:lnTo>
                    <a:cubicBezTo>
                      <a:pt x="111" y="80"/>
                      <a:pt x="123" y="67"/>
                      <a:pt x="123" y="47"/>
                    </a:cubicBezTo>
                    <a:cubicBezTo>
                      <a:pt x="123" y="10"/>
                      <a:pt x="97" y="0"/>
                      <a:pt x="65" y="0"/>
                    </a:cubicBezTo>
                    <a:lnTo>
                      <a:pt x="0" y="0"/>
                    </a:lnTo>
                    <a:lnTo>
                      <a:pt x="0" y="181"/>
                    </a:lnTo>
                    <a:lnTo>
                      <a:pt x="60" y="181"/>
                    </a:lnTo>
                    <a:cubicBezTo>
                      <a:pt x="120" y="181"/>
                      <a:pt x="132" y="149"/>
                      <a:pt x="132" y="126"/>
                    </a:cubicBezTo>
                    <a:cubicBezTo>
                      <a:pt x="132" y="100"/>
                      <a:pt x="114" y="88"/>
                      <a:pt x="9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" name="Freeform 46">
                <a:extLst>
                  <a:ext uri="{FF2B5EF4-FFF2-40B4-BE49-F238E27FC236}">
                    <a16:creationId xmlns:a16="http://schemas.microsoft.com/office/drawing/2014/main" id="{18E3DDB7-9F78-763E-9751-B10D6BD052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7182" y="4104138"/>
                <a:ext cx="30768" cy="39816"/>
              </a:xfrm>
              <a:custGeom>
                <a:avLst/>
                <a:gdLst>
                  <a:gd name="T0" fmla="*/ 53 w 74"/>
                  <a:gd name="T1" fmla="*/ 61 h 97"/>
                  <a:gd name="T2" fmla="*/ 38 w 74"/>
                  <a:gd name="T3" fmla="*/ 80 h 97"/>
                  <a:gd name="T4" fmla="*/ 21 w 74"/>
                  <a:gd name="T5" fmla="*/ 59 h 97"/>
                  <a:gd name="T6" fmla="*/ 21 w 74"/>
                  <a:gd name="T7" fmla="*/ 0 h 97"/>
                  <a:gd name="T8" fmla="*/ 0 w 74"/>
                  <a:gd name="T9" fmla="*/ 0 h 97"/>
                  <a:gd name="T10" fmla="*/ 0 w 74"/>
                  <a:gd name="T11" fmla="*/ 63 h 97"/>
                  <a:gd name="T12" fmla="*/ 35 w 74"/>
                  <a:gd name="T13" fmla="*/ 97 h 97"/>
                  <a:gd name="T14" fmla="*/ 74 w 74"/>
                  <a:gd name="T15" fmla="*/ 58 h 97"/>
                  <a:gd name="T16" fmla="*/ 74 w 74"/>
                  <a:gd name="T17" fmla="*/ 0 h 97"/>
                  <a:gd name="T18" fmla="*/ 53 w 74"/>
                  <a:gd name="T19" fmla="*/ 0 h 97"/>
                  <a:gd name="T20" fmla="*/ 53 w 74"/>
                  <a:gd name="T21" fmla="*/ 6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4" h="97">
                    <a:moveTo>
                      <a:pt x="53" y="61"/>
                    </a:moveTo>
                    <a:cubicBezTo>
                      <a:pt x="53" y="74"/>
                      <a:pt x="48" y="80"/>
                      <a:pt x="38" y="80"/>
                    </a:cubicBezTo>
                    <a:cubicBezTo>
                      <a:pt x="26" y="80"/>
                      <a:pt x="21" y="72"/>
                      <a:pt x="21" y="59"/>
                    </a:cubicBezTo>
                    <a:lnTo>
                      <a:pt x="21" y="0"/>
                    </a:lnTo>
                    <a:lnTo>
                      <a:pt x="0" y="0"/>
                    </a:lnTo>
                    <a:lnTo>
                      <a:pt x="0" y="63"/>
                    </a:lnTo>
                    <a:cubicBezTo>
                      <a:pt x="0" y="82"/>
                      <a:pt x="10" y="97"/>
                      <a:pt x="35" y="97"/>
                    </a:cubicBezTo>
                    <a:cubicBezTo>
                      <a:pt x="56" y="97"/>
                      <a:pt x="74" y="87"/>
                      <a:pt x="74" y="58"/>
                    </a:cubicBezTo>
                    <a:lnTo>
                      <a:pt x="74" y="0"/>
                    </a:lnTo>
                    <a:lnTo>
                      <a:pt x="53" y="0"/>
                    </a:lnTo>
                    <a:lnTo>
                      <a:pt x="53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" name="Freeform 47">
                <a:extLst>
                  <a:ext uri="{FF2B5EF4-FFF2-40B4-BE49-F238E27FC236}">
                    <a16:creationId xmlns:a16="http://schemas.microsoft.com/office/drawing/2014/main" id="{1E26F21C-4A53-95B3-D478-416610F1925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9176" y="4104138"/>
                <a:ext cx="28957" cy="39816"/>
              </a:xfrm>
              <a:custGeom>
                <a:avLst/>
                <a:gdLst>
                  <a:gd name="T0" fmla="*/ 26 w 69"/>
                  <a:gd name="T1" fmla="*/ 26 h 98"/>
                  <a:gd name="T2" fmla="*/ 36 w 69"/>
                  <a:gd name="T3" fmla="*/ 18 h 98"/>
                  <a:gd name="T4" fmla="*/ 54 w 69"/>
                  <a:gd name="T5" fmla="*/ 27 h 98"/>
                  <a:gd name="T6" fmla="*/ 67 w 69"/>
                  <a:gd name="T7" fmla="*/ 11 h 98"/>
                  <a:gd name="T8" fmla="*/ 38 w 69"/>
                  <a:gd name="T9" fmla="*/ 0 h 98"/>
                  <a:gd name="T10" fmla="*/ 4 w 69"/>
                  <a:gd name="T11" fmla="*/ 28 h 98"/>
                  <a:gd name="T12" fmla="*/ 48 w 69"/>
                  <a:gd name="T13" fmla="*/ 71 h 98"/>
                  <a:gd name="T14" fmla="*/ 36 w 69"/>
                  <a:gd name="T15" fmla="*/ 81 h 98"/>
                  <a:gd name="T16" fmla="*/ 12 w 69"/>
                  <a:gd name="T17" fmla="*/ 69 h 98"/>
                  <a:gd name="T18" fmla="*/ 0 w 69"/>
                  <a:gd name="T19" fmla="*/ 86 h 98"/>
                  <a:gd name="T20" fmla="*/ 33 w 69"/>
                  <a:gd name="T21" fmla="*/ 98 h 98"/>
                  <a:gd name="T22" fmla="*/ 69 w 69"/>
                  <a:gd name="T23" fmla="*/ 70 h 98"/>
                  <a:gd name="T24" fmla="*/ 26 w 69"/>
                  <a:gd name="T25" fmla="*/ 2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98">
                    <a:moveTo>
                      <a:pt x="26" y="26"/>
                    </a:moveTo>
                    <a:cubicBezTo>
                      <a:pt x="26" y="22"/>
                      <a:pt x="29" y="18"/>
                      <a:pt x="36" y="18"/>
                    </a:cubicBezTo>
                    <a:cubicBezTo>
                      <a:pt x="46" y="18"/>
                      <a:pt x="52" y="24"/>
                      <a:pt x="54" y="27"/>
                    </a:cubicBezTo>
                    <a:lnTo>
                      <a:pt x="67" y="11"/>
                    </a:lnTo>
                    <a:cubicBezTo>
                      <a:pt x="64" y="7"/>
                      <a:pt x="54" y="0"/>
                      <a:pt x="38" y="0"/>
                    </a:cubicBezTo>
                    <a:cubicBezTo>
                      <a:pt x="18" y="0"/>
                      <a:pt x="4" y="12"/>
                      <a:pt x="4" y="28"/>
                    </a:cubicBezTo>
                    <a:cubicBezTo>
                      <a:pt x="4" y="58"/>
                      <a:pt x="48" y="56"/>
                      <a:pt x="48" y="71"/>
                    </a:cubicBezTo>
                    <a:cubicBezTo>
                      <a:pt x="48" y="76"/>
                      <a:pt x="44" y="81"/>
                      <a:pt x="36" y="81"/>
                    </a:cubicBezTo>
                    <a:cubicBezTo>
                      <a:pt x="24" y="81"/>
                      <a:pt x="16" y="73"/>
                      <a:pt x="12" y="69"/>
                    </a:cubicBezTo>
                    <a:lnTo>
                      <a:pt x="0" y="86"/>
                    </a:lnTo>
                    <a:cubicBezTo>
                      <a:pt x="4" y="90"/>
                      <a:pt x="15" y="98"/>
                      <a:pt x="33" y="98"/>
                    </a:cubicBezTo>
                    <a:cubicBezTo>
                      <a:pt x="58" y="98"/>
                      <a:pt x="69" y="84"/>
                      <a:pt x="69" y="70"/>
                    </a:cubicBezTo>
                    <a:cubicBezTo>
                      <a:pt x="69" y="40"/>
                      <a:pt x="26" y="42"/>
                      <a:pt x="2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" name="Freeform 48">
                <a:extLst>
                  <a:ext uri="{FF2B5EF4-FFF2-40B4-BE49-F238E27FC236}">
                    <a16:creationId xmlns:a16="http://schemas.microsoft.com/office/drawing/2014/main" id="{7DF84786-29CF-9077-5450-A5361B78CFE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83628" y="4104138"/>
                <a:ext cx="27148" cy="39816"/>
              </a:xfrm>
              <a:custGeom>
                <a:avLst/>
                <a:gdLst>
                  <a:gd name="T0" fmla="*/ 27 w 66"/>
                  <a:gd name="T1" fmla="*/ 45 h 96"/>
                  <a:gd name="T2" fmla="*/ 21 w 66"/>
                  <a:gd name="T3" fmla="*/ 45 h 96"/>
                  <a:gd name="T4" fmla="*/ 21 w 66"/>
                  <a:gd name="T5" fmla="*/ 18 h 96"/>
                  <a:gd name="T6" fmla="*/ 29 w 66"/>
                  <a:gd name="T7" fmla="*/ 18 h 96"/>
                  <a:gd name="T8" fmla="*/ 44 w 66"/>
                  <a:gd name="T9" fmla="*/ 31 h 96"/>
                  <a:gd name="T10" fmla="*/ 27 w 66"/>
                  <a:gd name="T11" fmla="*/ 45 h 96"/>
                  <a:gd name="T12" fmla="*/ 32 w 66"/>
                  <a:gd name="T13" fmla="*/ 0 h 96"/>
                  <a:gd name="T14" fmla="*/ 0 w 66"/>
                  <a:gd name="T15" fmla="*/ 0 h 96"/>
                  <a:gd name="T16" fmla="*/ 0 w 66"/>
                  <a:gd name="T17" fmla="*/ 96 h 96"/>
                  <a:gd name="T18" fmla="*/ 21 w 66"/>
                  <a:gd name="T19" fmla="*/ 96 h 96"/>
                  <a:gd name="T20" fmla="*/ 21 w 66"/>
                  <a:gd name="T21" fmla="*/ 62 h 96"/>
                  <a:gd name="T22" fmla="*/ 29 w 66"/>
                  <a:gd name="T23" fmla="*/ 62 h 96"/>
                  <a:gd name="T24" fmla="*/ 66 w 66"/>
                  <a:gd name="T25" fmla="*/ 29 h 96"/>
                  <a:gd name="T26" fmla="*/ 32 w 66"/>
                  <a:gd name="T27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6" h="96">
                    <a:moveTo>
                      <a:pt x="27" y="45"/>
                    </a:moveTo>
                    <a:lnTo>
                      <a:pt x="21" y="45"/>
                    </a:lnTo>
                    <a:lnTo>
                      <a:pt x="21" y="18"/>
                    </a:lnTo>
                    <a:lnTo>
                      <a:pt x="29" y="18"/>
                    </a:lnTo>
                    <a:cubicBezTo>
                      <a:pt x="40" y="18"/>
                      <a:pt x="44" y="22"/>
                      <a:pt x="44" y="31"/>
                    </a:cubicBezTo>
                    <a:cubicBezTo>
                      <a:pt x="44" y="39"/>
                      <a:pt x="41" y="45"/>
                      <a:pt x="27" y="45"/>
                    </a:cubicBezTo>
                    <a:close/>
                    <a:moveTo>
                      <a:pt x="32" y="0"/>
                    </a:move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2"/>
                    </a:lnTo>
                    <a:lnTo>
                      <a:pt x="29" y="62"/>
                    </a:lnTo>
                    <a:cubicBezTo>
                      <a:pt x="57" y="62"/>
                      <a:pt x="66" y="46"/>
                      <a:pt x="66" y="29"/>
                    </a:cubicBezTo>
                    <a:cubicBezTo>
                      <a:pt x="66" y="7"/>
                      <a:pt x="52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" name="Freeform 49">
                <a:extLst>
                  <a:ext uri="{FF2B5EF4-FFF2-40B4-BE49-F238E27FC236}">
                    <a16:creationId xmlns:a16="http://schemas.microsoft.com/office/drawing/2014/main" id="{28CF7D54-9617-1DD7-4977-2034381895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31143" y="4104138"/>
                <a:ext cx="39816" cy="39816"/>
              </a:xfrm>
              <a:custGeom>
                <a:avLst/>
                <a:gdLst>
                  <a:gd name="T0" fmla="*/ 51 w 100"/>
                  <a:gd name="T1" fmla="*/ 52 h 96"/>
                  <a:gd name="T2" fmla="*/ 50 w 100"/>
                  <a:gd name="T3" fmla="*/ 52 h 96"/>
                  <a:gd name="T4" fmla="*/ 32 w 100"/>
                  <a:gd name="T5" fmla="*/ 0 h 96"/>
                  <a:gd name="T6" fmla="*/ 0 w 100"/>
                  <a:gd name="T7" fmla="*/ 0 h 96"/>
                  <a:gd name="T8" fmla="*/ 0 w 100"/>
                  <a:gd name="T9" fmla="*/ 96 h 96"/>
                  <a:gd name="T10" fmla="*/ 19 w 100"/>
                  <a:gd name="T11" fmla="*/ 96 h 96"/>
                  <a:gd name="T12" fmla="*/ 19 w 100"/>
                  <a:gd name="T13" fmla="*/ 25 h 96"/>
                  <a:gd name="T14" fmla="*/ 20 w 100"/>
                  <a:gd name="T15" fmla="*/ 25 h 96"/>
                  <a:gd name="T16" fmla="*/ 41 w 100"/>
                  <a:gd name="T17" fmla="*/ 84 h 96"/>
                  <a:gd name="T18" fmla="*/ 58 w 100"/>
                  <a:gd name="T19" fmla="*/ 84 h 96"/>
                  <a:gd name="T20" fmla="*/ 80 w 100"/>
                  <a:gd name="T21" fmla="*/ 25 h 96"/>
                  <a:gd name="T22" fmla="*/ 80 w 100"/>
                  <a:gd name="T23" fmla="*/ 25 h 96"/>
                  <a:gd name="T24" fmla="*/ 80 w 100"/>
                  <a:gd name="T25" fmla="*/ 96 h 96"/>
                  <a:gd name="T26" fmla="*/ 100 w 100"/>
                  <a:gd name="T27" fmla="*/ 96 h 96"/>
                  <a:gd name="T28" fmla="*/ 100 w 100"/>
                  <a:gd name="T29" fmla="*/ 0 h 96"/>
                  <a:gd name="T30" fmla="*/ 69 w 100"/>
                  <a:gd name="T31" fmla="*/ 0 h 96"/>
                  <a:gd name="T32" fmla="*/ 51 w 100"/>
                  <a:gd name="T33" fmla="*/ 5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96">
                    <a:moveTo>
                      <a:pt x="51" y="52"/>
                    </a:moveTo>
                    <a:lnTo>
                      <a:pt x="50" y="52"/>
                    </a:lnTo>
                    <a:lnTo>
                      <a:pt x="32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25"/>
                    </a:lnTo>
                    <a:lnTo>
                      <a:pt x="20" y="25"/>
                    </a:lnTo>
                    <a:lnTo>
                      <a:pt x="41" y="84"/>
                    </a:lnTo>
                    <a:lnTo>
                      <a:pt x="58" y="84"/>
                    </a:lnTo>
                    <a:lnTo>
                      <a:pt x="80" y="25"/>
                    </a:lnTo>
                    <a:lnTo>
                      <a:pt x="80" y="25"/>
                    </a:lnTo>
                    <a:lnTo>
                      <a:pt x="80" y="96"/>
                    </a:lnTo>
                    <a:lnTo>
                      <a:pt x="100" y="96"/>
                    </a:lnTo>
                    <a:lnTo>
                      <a:pt x="100" y="0"/>
                    </a:lnTo>
                    <a:lnTo>
                      <a:pt x="69" y="0"/>
                    </a:lnTo>
                    <a:lnTo>
                      <a:pt x="51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" name="Freeform 50">
                <a:extLst>
                  <a:ext uri="{FF2B5EF4-FFF2-40B4-BE49-F238E27FC236}">
                    <a16:creationId xmlns:a16="http://schemas.microsoft.com/office/drawing/2014/main" id="{347C4EAB-25E0-1317-7E3A-70BCEE5A14E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1077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4 w 87"/>
                  <a:gd name="T7" fmla="*/ 15 h 96"/>
                  <a:gd name="T8" fmla="*/ 51 w 87"/>
                  <a:gd name="T9" fmla="*/ 43 h 96"/>
                  <a:gd name="T10" fmla="*/ 55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2" y="23"/>
                      <a:pt x="43" y="15"/>
                    </a:cubicBezTo>
                    <a:lnTo>
                      <a:pt x="44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5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" name="Freeform 51">
                <a:extLst>
                  <a:ext uri="{FF2B5EF4-FFF2-40B4-BE49-F238E27FC236}">
                    <a16:creationId xmlns:a16="http://schemas.microsoft.com/office/drawing/2014/main" id="{DFD74453-0C4D-4FD2-3976-FA2B804399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81819" y="4004596"/>
                <a:ext cx="59725" cy="74204"/>
              </a:xfrm>
              <a:custGeom>
                <a:avLst/>
                <a:gdLst>
                  <a:gd name="T0" fmla="*/ 0 w 146"/>
                  <a:gd name="T1" fmla="*/ 0 h 181"/>
                  <a:gd name="T2" fmla="*/ 0 w 146"/>
                  <a:gd name="T3" fmla="*/ 181 h 181"/>
                  <a:gd name="T4" fmla="*/ 38 w 146"/>
                  <a:gd name="T5" fmla="*/ 181 h 181"/>
                  <a:gd name="T6" fmla="*/ 38 w 146"/>
                  <a:gd name="T7" fmla="*/ 113 h 181"/>
                  <a:gd name="T8" fmla="*/ 35 w 146"/>
                  <a:gd name="T9" fmla="*/ 49 h 181"/>
                  <a:gd name="T10" fmla="*/ 36 w 146"/>
                  <a:gd name="T11" fmla="*/ 49 h 181"/>
                  <a:gd name="T12" fmla="*/ 60 w 146"/>
                  <a:gd name="T13" fmla="*/ 105 h 181"/>
                  <a:gd name="T14" fmla="*/ 100 w 146"/>
                  <a:gd name="T15" fmla="*/ 181 h 181"/>
                  <a:gd name="T16" fmla="*/ 146 w 146"/>
                  <a:gd name="T17" fmla="*/ 181 h 181"/>
                  <a:gd name="T18" fmla="*/ 146 w 146"/>
                  <a:gd name="T19" fmla="*/ 0 h 181"/>
                  <a:gd name="T20" fmla="*/ 109 w 146"/>
                  <a:gd name="T21" fmla="*/ 0 h 181"/>
                  <a:gd name="T22" fmla="*/ 109 w 146"/>
                  <a:gd name="T23" fmla="*/ 57 h 181"/>
                  <a:gd name="T24" fmla="*/ 111 w 146"/>
                  <a:gd name="T25" fmla="*/ 127 h 181"/>
                  <a:gd name="T26" fmla="*/ 110 w 146"/>
                  <a:gd name="T27" fmla="*/ 127 h 181"/>
                  <a:gd name="T28" fmla="*/ 84 w 146"/>
                  <a:gd name="T29" fmla="*/ 71 h 181"/>
                  <a:gd name="T30" fmla="*/ 47 w 146"/>
                  <a:gd name="T31" fmla="*/ 0 h 181"/>
                  <a:gd name="T32" fmla="*/ 0 w 146"/>
                  <a:gd name="T33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6" h="181">
                    <a:moveTo>
                      <a:pt x="0" y="0"/>
                    </a:moveTo>
                    <a:lnTo>
                      <a:pt x="0" y="181"/>
                    </a:lnTo>
                    <a:lnTo>
                      <a:pt x="38" y="181"/>
                    </a:lnTo>
                    <a:lnTo>
                      <a:pt x="38" y="113"/>
                    </a:lnTo>
                    <a:cubicBezTo>
                      <a:pt x="38" y="81"/>
                      <a:pt x="37" y="67"/>
                      <a:pt x="35" y="49"/>
                    </a:cubicBezTo>
                    <a:lnTo>
                      <a:pt x="36" y="49"/>
                    </a:lnTo>
                    <a:cubicBezTo>
                      <a:pt x="44" y="69"/>
                      <a:pt x="51" y="87"/>
                      <a:pt x="60" y="105"/>
                    </a:cubicBezTo>
                    <a:lnTo>
                      <a:pt x="100" y="181"/>
                    </a:lnTo>
                    <a:lnTo>
                      <a:pt x="146" y="181"/>
                    </a:lnTo>
                    <a:lnTo>
                      <a:pt x="146" y="0"/>
                    </a:lnTo>
                    <a:lnTo>
                      <a:pt x="109" y="0"/>
                    </a:lnTo>
                    <a:lnTo>
                      <a:pt x="109" y="57"/>
                    </a:lnTo>
                    <a:cubicBezTo>
                      <a:pt x="109" y="77"/>
                      <a:pt x="109" y="102"/>
                      <a:pt x="111" y="127"/>
                    </a:cubicBezTo>
                    <a:lnTo>
                      <a:pt x="110" y="127"/>
                    </a:lnTo>
                    <a:cubicBezTo>
                      <a:pt x="103" y="109"/>
                      <a:pt x="93" y="89"/>
                      <a:pt x="84" y="71"/>
                    </a:cubicBezTo>
                    <a:lnTo>
                      <a:pt x="4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" name="Freeform 52">
                <a:extLst>
                  <a:ext uri="{FF2B5EF4-FFF2-40B4-BE49-F238E27FC236}">
                    <a16:creationId xmlns:a16="http://schemas.microsoft.com/office/drawing/2014/main" id="{D1FC3F30-BE36-F71E-F605-9DCF6AE9CA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5421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2 w 77"/>
                  <a:gd name="T23" fmla="*/ 55 h 96"/>
                  <a:gd name="T24" fmla="*/ 53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2" y="55"/>
                    </a:cubicBezTo>
                    <a:lnTo>
                      <a:pt x="53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" name="Freeform 53">
                <a:extLst>
                  <a:ext uri="{FF2B5EF4-FFF2-40B4-BE49-F238E27FC236}">
                    <a16:creationId xmlns:a16="http://schemas.microsoft.com/office/drawing/2014/main" id="{51842938-D227-FC41-ECCC-84902079045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59641" y="4004596"/>
                <a:ext cx="68774" cy="74204"/>
              </a:xfrm>
              <a:custGeom>
                <a:avLst/>
                <a:gdLst>
                  <a:gd name="T0" fmla="*/ 61 w 165"/>
                  <a:gd name="T1" fmla="*/ 107 h 181"/>
                  <a:gd name="T2" fmla="*/ 68 w 165"/>
                  <a:gd name="T3" fmla="*/ 81 h 181"/>
                  <a:gd name="T4" fmla="*/ 82 w 165"/>
                  <a:gd name="T5" fmla="*/ 27 h 181"/>
                  <a:gd name="T6" fmla="*/ 83 w 165"/>
                  <a:gd name="T7" fmla="*/ 27 h 181"/>
                  <a:gd name="T8" fmla="*/ 96 w 165"/>
                  <a:gd name="T9" fmla="*/ 82 h 181"/>
                  <a:gd name="T10" fmla="*/ 103 w 165"/>
                  <a:gd name="T11" fmla="*/ 107 h 181"/>
                  <a:gd name="T12" fmla="*/ 61 w 165"/>
                  <a:gd name="T13" fmla="*/ 107 h 181"/>
                  <a:gd name="T14" fmla="*/ 55 w 165"/>
                  <a:gd name="T15" fmla="*/ 0 h 181"/>
                  <a:gd name="T16" fmla="*/ 0 w 165"/>
                  <a:gd name="T17" fmla="*/ 181 h 181"/>
                  <a:gd name="T18" fmla="*/ 40 w 165"/>
                  <a:gd name="T19" fmla="*/ 181 h 181"/>
                  <a:gd name="T20" fmla="*/ 52 w 165"/>
                  <a:gd name="T21" fmla="*/ 140 h 181"/>
                  <a:gd name="T22" fmla="*/ 112 w 165"/>
                  <a:gd name="T23" fmla="*/ 140 h 181"/>
                  <a:gd name="T24" fmla="*/ 124 w 165"/>
                  <a:gd name="T25" fmla="*/ 181 h 181"/>
                  <a:gd name="T26" fmla="*/ 165 w 165"/>
                  <a:gd name="T27" fmla="*/ 181 h 181"/>
                  <a:gd name="T28" fmla="*/ 110 w 165"/>
                  <a:gd name="T29" fmla="*/ 0 h 181"/>
                  <a:gd name="T30" fmla="*/ 55 w 165"/>
                  <a:gd name="T31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1" y="107"/>
                    </a:moveTo>
                    <a:lnTo>
                      <a:pt x="68" y="81"/>
                    </a:lnTo>
                    <a:cubicBezTo>
                      <a:pt x="75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close/>
                    <a:moveTo>
                      <a:pt x="55" y="0"/>
                    </a:move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" name="Freeform 54">
                <a:extLst>
                  <a:ext uri="{FF2B5EF4-FFF2-40B4-BE49-F238E27FC236}">
                    <a16:creationId xmlns:a16="http://schemas.microsoft.com/office/drawing/2014/main" id="{5A979611-55E5-D61E-8768-C55E2E31DE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94028" y="4104138"/>
                <a:ext cx="34387" cy="39816"/>
              </a:xfrm>
              <a:custGeom>
                <a:avLst/>
                <a:gdLst>
                  <a:gd name="T0" fmla="*/ 63 w 85"/>
                  <a:gd name="T1" fmla="*/ 0 h 96"/>
                  <a:gd name="T2" fmla="*/ 43 w 85"/>
                  <a:gd name="T3" fmla="*/ 44 h 96"/>
                  <a:gd name="T4" fmla="*/ 43 w 85"/>
                  <a:gd name="T5" fmla="*/ 44 h 96"/>
                  <a:gd name="T6" fmla="*/ 23 w 85"/>
                  <a:gd name="T7" fmla="*/ 0 h 96"/>
                  <a:gd name="T8" fmla="*/ 0 w 85"/>
                  <a:gd name="T9" fmla="*/ 0 h 96"/>
                  <a:gd name="T10" fmla="*/ 32 w 85"/>
                  <a:gd name="T11" fmla="*/ 65 h 96"/>
                  <a:gd name="T12" fmla="*/ 32 w 85"/>
                  <a:gd name="T13" fmla="*/ 96 h 96"/>
                  <a:gd name="T14" fmla="*/ 53 w 85"/>
                  <a:gd name="T15" fmla="*/ 96 h 96"/>
                  <a:gd name="T16" fmla="*/ 53 w 85"/>
                  <a:gd name="T17" fmla="*/ 65 h 96"/>
                  <a:gd name="T18" fmla="*/ 85 w 85"/>
                  <a:gd name="T19" fmla="*/ 0 h 96"/>
                  <a:gd name="T20" fmla="*/ 63 w 85"/>
                  <a:gd name="T2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" h="96">
                    <a:moveTo>
                      <a:pt x="63" y="0"/>
                    </a:moveTo>
                    <a:lnTo>
                      <a:pt x="43" y="44"/>
                    </a:lnTo>
                    <a:lnTo>
                      <a:pt x="43" y="44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32" y="65"/>
                    </a:lnTo>
                    <a:lnTo>
                      <a:pt x="32" y="96"/>
                    </a:lnTo>
                    <a:lnTo>
                      <a:pt x="53" y="96"/>
                    </a:lnTo>
                    <a:lnTo>
                      <a:pt x="53" y="65"/>
                    </a:lnTo>
                    <a:lnTo>
                      <a:pt x="85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" name="Freeform 55">
                <a:extLst>
                  <a:ext uri="{FF2B5EF4-FFF2-40B4-BE49-F238E27FC236}">
                    <a16:creationId xmlns:a16="http://schemas.microsoft.com/office/drawing/2014/main" id="{5A06A503-0349-B80B-B350-B3CFC72AE02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94946" y="4004596"/>
                <a:ext cx="66964" cy="74204"/>
              </a:xfrm>
              <a:custGeom>
                <a:avLst/>
                <a:gdLst>
                  <a:gd name="T0" fmla="*/ 68 w 165"/>
                  <a:gd name="T1" fmla="*/ 81 h 181"/>
                  <a:gd name="T2" fmla="*/ 82 w 165"/>
                  <a:gd name="T3" fmla="*/ 27 h 181"/>
                  <a:gd name="T4" fmla="*/ 83 w 165"/>
                  <a:gd name="T5" fmla="*/ 27 h 181"/>
                  <a:gd name="T6" fmla="*/ 96 w 165"/>
                  <a:gd name="T7" fmla="*/ 82 h 181"/>
                  <a:gd name="T8" fmla="*/ 103 w 165"/>
                  <a:gd name="T9" fmla="*/ 107 h 181"/>
                  <a:gd name="T10" fmla="*/ 61 w 165"/>
                  <a:gd name="T11" fmla="*/ 107 h 181"/>
                  <a:gd name="T12" fmla="*/ 68 w 165"/>
                  <a:gd name="T13" fmla="*/ 81 h 181"/>
                  <a:gd name="T14" fmla="*/ 52 w 165"/>
                  <a:gd name="T15" fmla="*/ 140 h 181"/>
                  <a:gd name="T16" fmla="*/ 112 w 165"/>
                  <a:gd name="T17" fmla="*/ 140 h 181"/>
                  <a:gd name="T18" fmla="*/ 124 w 165"/>
                  <a:gd name="T19" fmla="*/ 181 h 181"/>
                  <a:gd name="T20" fmla="*/ 165 w 165"/>
                  <a:gd name="T21" fmla="*/ 181 h 181"/>
                  <a:gd name="T22" fmla="*/ 110 w 165"/>
                  <a:gd name="T23" fmla="*/ 0 h 181"/>
                  <a:gd name="T24" fmla="*/ 55 w 165"/>
                  <a:gd name="T25" fmla="*/ 0 h 181"/>
                  <a:gd name="T26" fmla="*/ 0 w 165"/>
                  <a:gd name="T27" fmla="*/ 181 h 181"/>
                  <a:gd name="T28" fmla="*/ 40 w 165"/>
                  <a:gd name="T29" fmla="*/ 181 h 181"/>
                  <a:gd name="T30" fmla="*/ 52 w 165"/>
                  <a:gd name="T31" fmla="*/ 14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8" y="81"/>
                    </a:moveTo>
                    <a:cubicBezTo>
                      <a:pt x="74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lnTo>
                      <a:pt x="68" y="81"/>
                    </a:lnTo>
                    <a:close/>
                    <a:moveTo>
                      <a:pt x="52" y="140"/>
                    </a:move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" name="Freeform 56">
                <a:extLst>
                  <a:ext uri="{FF2B5EF4-FFF2-40B4-BE49-F238E27FC236}">
                    <a16:creationId xmlns:a16="http://schemas.microsoft.com/office/drawing/2014/main" id="{2598F916-0952-48DD-F888-3DA1144BB8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2482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19 w 77"/>
                  <a:gd name="T15" fmla="*/ 96 h 96"/>
                  <a:gd name="T16" fmla="*/ 19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60"/>
                    </a:lnTo>
                    <a:cubicBezTo>
                      <a:pt x="19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" name="Freeform 57">
                <a:extLst>
                  <a:ext uri="{FF2B5EF4-FFF2-40B4-BE49-F238E27FC236}">
                    <a16:creationId xmlns:a16="http://schemas.microsoft.com/office/drawing/2014/main" id="{519F0C0C-26A4-AEA7-775A-A691BBCB6B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448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" name="Freeform 58">
                <a:extLst>
                  <a:ext uri="{FF2B5EF4-FFF2-40B4-BE49-F238E27FC236}">
                    <a16:creationId xmlns:a16="http://schemas.microsoft.com/office/drawing/2014/main" id="{5D180926-7ADF-D7EE-EA9C-00A6C1BF85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19392" y="4002787"/>
                <a:ext cx="54295" cy="77823"/>
              </a:xfrm>
              <a:custGeom>
                <a:avLst/>
                <a:gdLst>
                  <a:gd name="T0" fmla="*/ 68 w 131"/>
                  <a:gd name="T1" fmla="*/ 154 h 187"/>
                  <a:gd name="T2" fmla="*/ 22 w 131"/>
                  <a:gd name="T3" fmla="*/ 132 h 187"/>
                  <a:gd name="T4" fmla="*/ 0 w 131"/>
                  <a:gd name="T5" fmla="*/ 164 h 187"/>
                  <a:gd name="T6" fmla="*/ 63 w 131"/>
                  <a:gd name="T7" fmla="*/ 187 h 187"/>
                  <a:gd name="T8" fmla="*/ 131 w 131"/>
                  <a:gd name="T9" fmla="*/ 133 h 187"/>
                  <a:gd name="T10" fmla="*/ 48 w 131"/>
                  <a:gd name="T11" fmla="*/ 51 h 187"/>
                  <a:gd name="T12" fmla="*/ 68 w 131"/>
                  <a:gd name="T13" fmla="*/ 35 h 187"/>
                  <a:gd name="T14" fmla="*/ 102 w 131"/>
                  <a:gd name="T15" fmla="*/ 51 h 187"/>
                  <a:gd name="T16" fmla="*/ 127 w 131"/>
                  <a:gd name="T17" fmla="*/ 22 h 187"/>
                  <a:gd name="T18" fmla="*/ 72 w 131"/>
                  <a:gd name="T19" fmla="*/ 0 h 187"/>
                  <a:gd name="T20" fmla="*/ 8 w 131"/>
                  <a:gd name="T21" fmla="*/ 54 h 187"/>
                  <a:gd name="T22" fmla="*/ 91 w 131"/>
                  <a:gd name="T23" fmla="*/ 136 h 187"/>
                  <a:gd name="T24" fmla="*/ 68 w 131"/>
                  <a:gd name="T25" fmla="*/ 154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1" h="187">
                    <a:moveTo>
                      <a:pt x="68" y="154"/>
                    </a:moveTo>
                    <a:cubicBezTo>
                      <a:pt x="46" y="154"/>
                      <a:pt x="30" y="140"/>
                      <a:pt x="22" y="132"/>
                    </a:cubicBezTo>
                    <a:lnTo>
                      <a:pt x="0" y="164"/>
                    </a:lnTo>
                    <a:cubicBezTo>
                      <a:pt x="6" y="171"/>
                      <a:pt x="28" y="187"/>
                      <a:pt x="63" y="187"/>
                    </a:cubicBezTo>
                    <a:cubicBezTo>
                      <a:pt x="109" y="187"/>
                      <a:pt x="131" y="160"/>
                      <a:pt x="131" y="133"/>
                    </a:cubicBezTo>
                    <a:cubicBezTo>
                      <a:pt x="131" y="76"/>
                      <a:pt x="48" y="80"/>
                      <a:pt x="48" y="51"/>
                    </a:cubicBezTo>
                    <a:cubicBezTo>
                      <a:pt x="48" y="42"/>
                      <a:pt x="55" y="35"/>
                      <a:pt x="68" y="35"/>
                    </a:cubicBezTo>
                    <a:cubicBezTo>
                      <a:pt x="87" y="35"/>
                      <a:pt x="98" y="46"/>
                      <a:pt x="102" y="51"/>
                    </a:cubicBezTo>
                    <a:lnTo>
                      <a:pt x="127" y="22"/>
                    </a:lnTo>
                    <a:cubicBezTo>
                      <a:pt x="121" y="14"/>
                      <a:pt x="102" y="0"/>
                      <a:pt x="72" y="0"/>
                    </a:cubicBezTo>
                    <a:cubicBezTo>
                      <a:pt x="34" y="0"/>
                      <a:pt x="8" y="24"/>
                      <a:pt x="8" y="54"/>
                    </a:cubicBezTo>
                    <a:cubicBezTo>
                      <a:pt x="8" y="111"/>
                      <a:pt x="91" y="107"/>
                      <a:pt x="91" y="136"/>
                    </a:cubicBezTo>
                    <a:cubicBezTo>
                      <a:pt x="91" y="145"/>
                      <a:pt x="84" y="154"/>
                      <a:pt x="68" y="1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" name="Freeform 59">
                <a:extLst>
                  <a:ext uri="{FF2B5EF4-FFF2-40B4-BE49-F238E27FC236}">
                    <a16:creationId xmlns:a16="http://schemas.microsoft.com/office/drawing/2014/main" id="{9B52BA26-0092-30FB-F960-84B5CB9199A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48809" y="4104138"/>
                <a:ext cx="28957" cy="39816"/>
              </a:xfrm>
              <a:custGeom>
                <a:avLst/>
                <a:gdLst>
                  <a:gd name="T0" fmla="*/ 29 w 71"/>
                  <a:gd name="T1" fmla="*/ 44 h 96"/>
                  <a:gd name="T2" fmla="*/ 21 w 71"/>
                  <a:gd name="T3" fmla="*/ 44 h 96"/>
                  <a:gd name="T4" fmla="*/ 21 w 71"/>
                  <a:gd name="T5" fmla="*/ 17 h 96"/>
                  <a:gd name="T6" fmla="*/ 29 w 71"/>
                  <a:gd name="T7" fmla="*/ 17 h 96"/>
                  <a:gd name="T8" fmla="*/ 43 w 71"/>
                  <a:gd name="T9" fmla="*/ 30 h 96"/>
                  <a:gd name="T10" fmla="*/ 29 w 71"/>
                  <a:gd name="T11" fmla="*/ 44 h 96"/>
                  <a:gd name="T12" fmla="*/ 44 w 71"/>
                  <a:gd name="T13" fmla="*/ 55 h 96"/>
                  <a:gd name="T14" fmla="*/ 44 w 71"/>
                  <a:gd name="T15" fmla="*/ 55 h 96"/>
                  <a:gd name="T16" fmla="*/ 64 w 71"/>
                  <a:gd name="T17" fmla="*/ 28 h 96"/>
                  <a:gd name="T18" fmla="*/ 31 w 71"/>
                  <a:gd name="T19" fmla="*/ 0 h 96"/>
                  <a:gd name="T20" fmla="*/ 0 w 71"/>
                  <a:gd name="T21" fmla="*/ 0 h 96"/>
                  <a:gd name="T22" fmla="*/ 0 w 71"/>
                  <a:gd name="T23" fmla="*/ 96 h 96"/>
                  <a:gd name="T24" fmla="*/ 21 w 71"/>
                  <a:gd name="T25" fmla="*/ 96 h 96"/>
                  <a:gd name="T26" fmla="*/ 21 w 71"/>
                  <a:gd name="T27" fmla="*/ 60 h 96"/>
                  <a:gd name="T28" fmla="*/ 22 w 71"/>
                  <a:gd name="T29" fmla="*/ 60 h 96"/>
                  <a:gd name="T30" fmla="*/ 31 w 71"/>
                  <a:gd name="T31" fmla="*/ 65 h 96"/>
                  <a:gd name="T32" fmla="*/ 47 w 71"/>
                  <a:gd name="T33" fmla="*/ 96 h 96"/>
                  <a:gd name="T34" fmla="*/ 71 w 71"/>
                  <a:gd name="T35" fmla="*/ 96 h 96"/>
                  <a:gd name="T36" fmla="*/ 57 w 71"/>
                  <a:gd name="T37" fmla="*/ 69 h 96"/>
                  <a:gd name="T38" fmla="*/ 44 w 71"/>
                  <a:gd name="T39" fmla="*/ 55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96">
                    <a:moveTo>
                      <a:pt x="29" y="44"/>
                    </a:moveTo>
                    <a:lnTo>
                      <a:pt x="21" y="44"/>
                    </a:lnTo>
                    <a:lnTo>
                      <a:pt x="21" y="17"/>
                    </a:lnTo>
                    <a:lnTo>
                      <a:pt x="29" y="17"/>
                    </a:lnTo>
                    <a:cubicBezTo>
                      <a:pt x="38" y="17"/>
                      <a:pt x="43" y="21"/>
                      <a:pt x="43" y="30"/>
                    </a:cubicBezTo>
                    <a:cubicBezTo>
                      <a:pt x="43" y="39"/>
                      <a:pt x="40" y="44"/>
                      <a:pt x="29" y="44"/>
                    </a:cubicBezTo>
                    <a:close/>
                    <a:moveTo>
                      <a:pt x="44" y="55"/>
                    </a:moveTo>
                    <a:lnTo>
                      <a:pt x="44" y="55"/>
                    </a:lnTo>
                    <a:cubicBezTo>
                      <a:pt x="55" y="53"/>
                      <a:pt x="64" y="45"/>
                      <a:pt x="64" y="28"/>
                    </a:cubicBezTo>
                    <a:cubicBezTo>
                      <a:pt x="64" y="8"/>
                      <a:pt x="52" y="0"/>
                      <a:pt x="31" y="0"/>
                    </a:cubicBez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0"/>
                    </a:lnTo>
                    <a:lnTo>
                      <a:pt x="22" y="60"/>
                    </a:lnTo>
                    <a:cubicBezTo>
                      <a:pt x="26" y="60"/>
                      <a:pt x="29" y="61"/>
                      <a:pt x="31" y="65"/>
                    </a:cubicBezTo>
                    <a:lnTo>
                      <a:pt x="47" y="96"/>
                    </a:lnTo>
                    <a:lnTo>
                      <a:pt x="71" y="96"/>
                    </a:lnTo>
                    <a:lnTo>
                      <a:pt x="57" y="69"/>
                    </a:lnTo>
                    <a:cubicBezTo>
                      <a:pt x="52" y="61"/>
                      <a:pt x="49" y="58"/>
                      <a:pt x="44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3" name="Freeform 60">
                <a:extLst>
                  <a:ext uri="{FF2B5EF4-FFF2-40B4-BE49-F238E27FC236}">
                    <a16:creationId xmlns:a16="http://schemas.microsoft.com/office/drawing/2014/main" id="{6C9D3E94-8240-5E7C-3FF7-0E3B273149A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8138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3 w 87"/>
                  <a:gd name="T7" fmla="*/ 15 h 96"/>
                  <a:gd name="T8" fmla="*/ 51 w 87"/>
                  <a:gd name="T9" fmla="*/ 43 h 96"/>
                  <a:gd name="T10" fmla="*/ 54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1" y="23"/>
                      <a:pt x="43" y="15"/>
                    </a:cubicBezTo>
                    <a:lnTo>
                      <a:pt x="43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4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4" name="Freeform 61">
                <a:extLst>
                  <a:ext uri="{FF2B5EF4-FFF2-40B4-BE49-F238E27FC236}">
                    <a16:creationId xmlns:a16="http://schemas.microsoft.com/office/drawing/2014/main" id="{0F17F7EB-46EF-1DC9-6A59-544A82E9A8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89516" y="4104138"/>
                <a:ext cx="32577" cy="39816"/>
              </a:xfrm>
              <a:custGeom>
                <a:avLst/>
                <a:gdLst>
                  <a:gd name="T0" fmla="*/ 40 w 79"/>
                  <a:gd name="T1" fmla="*/ 81 h 98"/>
                  <a:gd name="T2" fmla="*/ 21 w 79"/>
                  <a:gd name="T3" fmla="*/ 48 h 98"/>
                  <a:gd name="T4" fmla="*/ 39 w 79"/>
                  <a:gd name="T5" fmla="*/ 17 h 98"/>
                  <a:gd name="T6" fmla="*/ 57 w 79"/>
                  <a:gd name="T7" fmla="*/ 49 h 98"/>
                  <a:gd name="T8" fmla="*/ 40 w 79"/>
                  <a:gd name="T9" fmla="*/ 81 h 98"/>
                  <a:gd name="T10" fmla="*/ 40 w 79"/>
                  <a:gd name="T11" fmla="*/ 0 h 98"/>
                  <a:gd name="T12" fmla="*/ 0 w 79"/>
                  <a:gd name="T13" fmla="*/ 50 h 98"/>
                  <a:gd name="T14" fmla="*/ 39 w 79"/>
                  <a:gd name="T15" fmla="*/ 98 h 98"/>
                  <a:gd name="T16" fmla="*/ 79 w 79"/>
                  <a:gd name="T17" fmla="*/ 48 h 98"/>
                  <a:gd name="T18" fmla="*/ 40 w 79"/>
                  <a:gd name="T19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98">
                    <a:moveTo>
                      <a:pt x="40" y="81"/>
                    </a:moveTo>
                    <a:cubicBezTo>
                      <a:pt x="28" y="81"/>
                      <a:pt x="21" y="72"/>
                      <a:pt x="21" y="48"/>
                    </a:cubicBezTo>
                    <a:cubicBezTo>
                      <a:pt x="21" y="25"/>
                      <a:pt x="28" y="17"/>
                      <a:pt x="39" y="17"/>
                    </a:cubicBezTo>
                    <a:cubicBezTo>
                      <a:pt x="50" y="17"/>
                      <a:pt x="57" y="26"/>
                      <a:pt x="57" y="49"/>
                    </a:cubicBezTo>
                    <a:cubicBezTo>
                      <a:pt x="57" y="73"/>
                      <a:pt x="51" y="81"/>
                      <a:pt x="40" y="81"/>
                    </a:cubicBezTo>
                    <a:close/>
                    <a:moveTo>
                      <a:pt x="40" y="0"/>
                    </a:moveTo>
                    <a:cubicBezTo>
                      <a:pt x="17" y="0"/>
                      <a:pt x="0" y="15"/>
                      <a:pt x="0" y="50"/>
                    </a:cubicBezTo>
                    <a:cubicBezTo>
                      <a:pt x="0" y="85"/>
                      <a:pt x="15" y="98"/>
                      <a:pt x="39" y="98"/>
                    </a:cubicBezTo>
                    <a:cubicBezTo>
                      <a:pt x="62" y="98"/>
                      <a:pt x="79" y="83"/>
                      <a:pt x="79" y="48"/>
                    </a:cubicBezTo>
                    <a:cubicBezTo>
                      <a:pt x="79" y="13"/>
                      <a:pt x="64" y="0"/>
                      <a:pt x="4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5" name="Freeform 62">
                <a:extLst>
                  <a:ext uri="{FF2B5EF4-FFF2-40B4-BE49-F238E27FC236}">
                    <a16:creationId xmlns:a16="http://schemas.microsoft.com/office/drawing/2014/main" id="{DDF503F3-293B-CECE-929F-ACC97FDD43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04455" y="4104138"/>
                <a:ext cx="23528" cy="39816"/>
              </a:xfrm>
              <a:custGeom>
                <a:avLst/>
                <a:gdLst>
                  <a:gd name="T0" fmla="*/ 0 w 58"/>
                  <a:gd name="T1" fmla="*/ 0 h 96"/>
                  <a:gd name="T2" fmla="*/ 0 w 58"/>
                  <a:gd name="T3" fmla="*/ 96 h 96"/>
                  <a:gd name="T4" fmla="*/ 58 w 58"/>
                  <a:gd name="T5" fmla="*/ 96 h 96"/>
                  <a:gd name="T6" fmla="*/ 58 w 58"/>
                  <a:gd name="T7" fmla="*/ 79 h 96"/>
                  <a:gd name="T8" fmla="*/ 20 w 58"/>
                  <a:gd name="T9" fmla="*/ 79 h 96"/>
                  <a:gd name="T10" fmla="*/ 20 w 58"/>
                  <a:gd name="T11" fmla="*/ 56 h 96"/>
                  <a:gd name="T12" fmla="*/ 51 w 58"/>
                  <a:gd name="T13" fmla="*/ 56 h 96"/>
                  <a:gd name="T14" fmla="*/ 51 w 58"/>
                  <a:gd name="T15" fmla="*/ 39 h 96"/>
                  <a:gd name="T16" fmla="*/ 20 w 58"/>
                  <a:gd name="T17" fmla="*/ 39 h 96"/>
                  <a:gd name="T18" fmla="*/ 20 w 58"/>
                  <a:gd name="T19" fmla="*/ 17 h 96"/>
                  <a:gd name="T20" fmla="*/ 56 w 58"/>
                  <a:gd name="T21" fmla="*/ 17 h 96"/>
                  <a:gd name="T22" fmla="*/ 56 w 58"/>
                  <a:gd name="T23" fmla="*/ 0 h 96"/>
                  <a:gd name="T24" fmla="*/ 0 w 58"/>
                  <a:gd name="T25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" h="96">
                    <a:moveTo>
                      <a:pt x="0" y="0"/>
                    </a:moveTo>
                    <a:lnTo>
                      <a:pt x="0" y="96"/>
                    </a:lnTo>
                    <a:lnTo>
                      <a:pt x="58" y="96"/>
                    </a:lnTo>
                    <a:lnTo>
                      <a:pt x="58" y="79"/>
                    </a:lnTo>
                    <a:lnTo>
                      <a:pt x="20" y="79"/>
                    </a:lnTo>
                    <a:lnTo>
                      <a:pt x="20" y="56"/>
                    </a:lnTo>
                    <a:lnTo>
                      <a:pt x="51" y="56"/>
                    </a:lnTo>
                    <a:lnTo>
                      <a:pt x="51" y="39"/>
                    </a:lnTo>
                    <a:lnTo>
                      <a:pt x="20" y="39"/>
                    </a:lnTo>
                    <a:lnTo>
                      <a:pt x="20" y="17"/>
                    </a:lnTo>
                    <a:lnTo>
                      <a:pt x="56" y="17"/>
                    </a:lnTo>
                    <a:lnTo>
                      <a:pt x="5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6" name="Freeform 63">
                <a:extLst>
                  <a:ext uri="{FF2B5EF4-FFF2-40B4-BE49-F238E27FC236}">
                    <a16:creationId xmlns:a16="http://schemas.microsoft.com/office/drawing/2014/main" id="{96336945-B614-23A3-4628-9049D7D00E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3320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7" name="Freeform 64">
                <a:extLst>
                  <a:ext uri="{FF2B5EF4-FFF2-40B4-BE49-F238E27FC236}">
                    <a16:creationId xmlns:a16="http://schemas.microsoft.com/office/drawing/2014/main" id="{68C171AE-89C5-26AC-0B39-4EC1B1CA59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6356" y="4004596"/>
                <a:ext cx="101351" cy="74204"/>
              </a:xfrm>
              <a:custGeom>
                <a:avLst/>
                <a:gdLst>
                  <a:gd name="T0" fmla="*/ 188 w 246"/>
                  <a:gd name="T1" fmla="*/ 77 h 181"/>
                  <a:gd name="T2" fmla="*/ 178 w 246"/>
                  <a:gd name="T3" fmla="*/ 137 h 181"/>
                  <a:gd name="T4" fmla="*/ 177 w 246"/>
                  <a:gd name="T5" fmla="*/ 137 h 181"/>
                  <a:gd name="T6" fmla="*/ 168 w 246"/>
                  <a:gd name="T7" fmla="*/ 88 h 181"/>
                  <a:gd name="T8" fmla="*/ 148 w 246"/>
                  <a:gd name="T9" fmla="*/ 0 h 181"/>
                  <a:gd name="T10" fmla="*/ 101 w 246"/>
                  <a:gd name="T11" fmla="*/ 0 h 181"/>
                  <a:gd name="T12" fmla="*/ 81 w 246"/>
                  <a:gd name="T13" fmla="*/ 89 h 181"/>
                  <a:gd name="T14" fmla="*/ 73 w 246"/>
                  <a:gd name="T15" fmla="*/ 137 h 181"/>
                  <a:gd name="T16" fmla="*/ 72 w 246"/>
                  <a:gd name="T17" fmla="*/ 137 h 181"/>
                  <a:gd name="T18" fmla="*/ 61 w 246"/>
                  <a:gd name="T19" fmla="*/ 73 h 181"/>
                  <a:gd name="T20" fmla="*/ 43 w 246"/>
                  <a:gd name="T21" fmla="*/ 0 h 181"/>
                  <a:gd name="T22" fmla="*/ 0 w 246"/>
                  <a:gd name="T23" fmla="*/ 0 h 181"/>
                  <a:gd name="T24" fmla="*/ 46 w 246"/>
                  <a:gd name="T25" fmla="*/ 181 h 181"/>
                  <a:gd name="T26" fmla="*/ 93 w 246"/>
                  <a:gd name="T27" fmla="*/ 181 h 181"/>
                  <a:gd name="T28" fmla="*/ 114 w 246"/>
                  <a:gd name="T29" fmla="*/ 93 h 181"/>
                  <a:gd name="T30" fmla="*/ 123 w 246"/>
                  <a:gd name="T31" fmla="*/ 44 h 181"/>
                  <a:gd name="T32" fmla="*/ 124 w 246"/>
                  <a:gd name="T33" fmla="*/ 44 h 181"/>
                  <a:gd name="T34" fmla="*/ 134 w 246"/>
                  <a:gd name="T35" fmla="*/ 101 h 181"/>
                  <a:gd name="T36" fmla="*/ 153 w 246"/>
                  <a:gd name="T37" fmla="*/ 181 h 181"/>
                  <a:gd name="T38" fmla="*/ 199 w 246"/>
                  <a:gd name="T39" fmla="*/ 181 h 181"/>
                  <a:gd name="T40" fmla="*/ 246 w 246"/>
                  <a:gd name="T41" fmla="*/ 0 h 181"/>
                  <a:gd name="T42" fmla="*/ 206 w 246"/>
                  <a:gd name="T43" fmla="*/ 0 h 181"/>
                  <a:gd name="T44" fmla="*/ 188 w 246"/>
                  <a:gd name="T45" fmla="*/ 77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6" h="181">
                    <a:moveTo>
                      <a:pt x="188" y="77"/>
                    </a:moveTo>
                    <a:cubicBezTo>
                      <a:pt x="183" y="100"/>
                      <a:pt x="179" y="121"/>
                      <a:pt x="178" y="137"/>
                    </a:cubicBezTo>
                    <a:lnTo>
                      <a:pt x="177" y="137"/>
                    </a:lnTo>
                    <a:cubicBezTo>
                      <a:pt x="175" y="120"/>
                      <a:pt x="173" y="108"/>
                      <a:pt x="168" y="88"/>
                    </a:cubicBezTo>
                    <a:lnTo>
                      <a:pt x="148" y="0"/>
                    </a:lnTo>
                    <a:lnTo>
                      <a:pt x="101" y="0"/>
                    </a:lnTo>
                    <a:lnTo>
                      <a:pt x="81" y="89"/>
                    </a:lnTo>
                    <a:cubicBezTo>
                      <a:pt x="78" y="106"/>
                      <a:pt x="75" y="116"/>
                      <a:pt x="73" y="137"/>
                    </a:cubicBezTo>
                    <a:lnTo>
                      <a:pt x="72" y="137"/>
                    </a:lnTo>
                    <a:cubicBezTo>
                      <a:pt x="71" y="118"/>
                      <a:pt x="66" y="93"/>
                      <a:pt x="61" y="73"/>
                    </a:cubicBezTo>
                    <a:lnTo>
                      <a:pt x="43" y="0"/>
                    </a:lnTo>
                    <a:lnTo>
                      <a:pt x="0" y="0"/>
                    </a:lnTo>
                    <a:lnTo>
                      <a:pt x="46" y="181"/>
                    </a:lnTo>
                    <a:lnTo>
                      <a:pt x="93" y="181"/>
                    </a:lnTo>
                    <a:lnTo>
                      <a:pt x="114" y="93"/>
                    </a:lnTo>
                    <a:cubicBezTo>
                      <a:pt x="118" y="77"/>
                      <a:pt x="120" y="63"/>
                      <a:pt x="123" y="44"/>
                    </a:cubicBezTo>
                    <a:lnTo>
                      <a:pt x="124" y="44"/>
                    </a:lnTo>
                    <a:cubicBezTo>
                      <a:pt x="126" y="62"/>
                      <a:pt x="129" y="76"/>
                      <a:pt x="134" y="101"/>
                    </a:cubicBezTo>
                    <a:lnTo>
                      <a:pt x="153" y="181"/>
                    </a:lnTo>
                    <a:lnTo>
                      <a:pt x="199" y="181"/>
                    </a:lnTo>
                    <a:lnTo>
                      <a:pt x="246" y="0"/>
                    </a:lnTo>
                    <a:lnTo>
                      <a:pt x="206" y="0"/>
                    </a:lnTo>
                    <a:lnTo>
                      <a:pt x="188" y="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8" name="Freeform 65">
                <a:extLst>
                  <a:ext uri="{FF2B5EF4-FFF2-40B4-BE49-F238E27FC236}">
                    <a16:creationId xmlns:a16="http://schemas.microsoft.com/office/drawing/2014/main" id="{716BF435-0864-3C11-4C7C-49E2E5F0D4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6815" y="3935822"/>
                <a:ext cx="3620" cy="5430"/>
              </a:xfrm>
              <a:custGeom>
                <a:avLst/>
                <a:gdLst>
                  <a:gd name="T0" fmla="*/ 2 w 7"/>
                  <a:gd name="T1" fmla="*/ 11 h 12"/>
                  <a:gd name="T2" fmla="*/ 3 w 7"/>
                  <a:gd name="T3" fmla="*/ 12 h 12"/>
                  <a:gd name="T4" fmla="*/ 7 w 7"/>
                  <a:gd name="T5" fmla="*/ 0 h 12"/>
                  <a:gd name="T6" fmla="*/ 0 w 7"/>
                  <a:gd name="T7" fmla="*/ 4 h 12"/>
                  <a:gd name="T8" fmla="*/ 2 w 7"/>
                  <a:gd name="T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2" y="11"/>
                    </a:moveTo>
                    <a:cubicBezTo>
                      <a:pt x="2" y="11"/>
                      <a:pt x="2" y="12"/>
                      <a:pt x="3" y="12"/>
                    </a:cubicBezTo>
                    <a:cubicBezTo>
                      <a:pt x="3" y="9"/>
                      <a:pt x="5" y="5"/>
                      <a:pt x="7" y="0"/>
                    </a:cubicBezTo>
                    <a:cubicBezTo>
                      <a:pt x="5" y="2"/>
                      <a:pt x="3" y="3"/>
                      <a:pt x="0" y="4"/>
                    </a:cubicBezTo>
                    <a:cubicBezTo>
                      <a:pt x="1" y="6"/>
                      <a:pt x="2" y="6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9" name="Freeform 66">
                <a:extLst>
                  <a:ext uri="{FF2B5EF4-FFF2-40B4-BE49-F238E27FC236}">
                    <a16:creationId xmlns:a16="http://schemas.microsoft.com/office/drawing/2014/main" id="{BE07557B-A83C-771C-B0DE-43C0DDF100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1386" y="3941252"/>
                <a:ext cx="0" cy="0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0" name="Freeform 67">
                <a:extLst>
                  <a:ext uri="{FF2B5EF4-FFF2-40B4-BE49-F238E27FC236}">
                    <a16:creationId xmlns:a16="http://schemas.microsoft.com/office/drawing/2014/main" id="{D9D128CF-3700-9D38-AB3D-DF24E35C7C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8992" y="3937633"/>
                <a:ext cx="0" cy="5430"/>
              </a:xfrm>
              <a:custGeom>
                <a:avLst/>
                <a:gdLst>
                  <a:gd name="T0" fmla="*/ 1 w 2"/>
                  <a:gd name="T1" fmla="*/ 0 h 14"/>
                  <a:gd name="T2" fmla="*/ 1 w 2"/>
                  <a:gd name="T3" fmla="*/ 11 h 14"/>
                  <a:gd name="T4" fmla="*/ 2 w 2"/>
                  <a:gd name="T5" fmla="*/ 14 h 14"/>
                  <a:gd name="T6" fmla="*/ 1 w 2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4">
                    <a:moveTo>
                      <a:pt x="1" y="0"/>
                    </a:moveTo>
                    <a:cubicBezTo>
                      <a:pt x="0" y="4"/>
                      <a:pt x="1" y="8"/>
                      <a:pt x="1" y="11"/>
                    </a:cubicBezTo>
                    <a:cubicBezTo>
                      <a:pt x="1" y="12"/>
                      <a:pt x="2" y="13"/>
                      <a:pt x="2" y="14"/>
                    </a:cubicBezTo>
                    <a:cubicBezTo>
                      <a:pt x="2" y="9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1" name="Freeform 68">
                <a:extLst>
                  <a:ext uri="{FF2B5EF4-FFF2-40B4-BE49-F238E27FC236}">
                    <a16:creationId xmlns:a16="http://schemas.microsoft.com/office/drawing/2014/main" id="{04677334-B32C-D78F-CCF6-75E41199CC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6907" y="3926774"/>
                <a:ext cx="7239" cy="16289"/>
              </a:xfrm>
              <a:custGeom>
                <a:avLst/>
                <a:gdLst>
                  <a:gd name="T0" fmla="*/ 6 w 19"/>
                  <a:gd name="T1" fmla="*/ 26 h 42"/>
                  <a:gd name="T2" fmla="*/ 13 w 19"/>
                  <a:gd name="T3" fmla="*/ 34 h 42"/>
                  <a:gd name="T4" fmla="*/ 15 w 19"/>
                  <a:gd name="T5" fmla="*/ 23 h 42"/>
                  <a:gd name="T6" fmla="*/ 19 w 19"/>
                  <a:gd name="T7" fmla="*/ 27 h 42"/>
                  <a:gd name="T8" fmla="*/ 19 w 19"/>
                  <a:gd name="T9" fmla="*/ 25 h 42"/>
                  <a:gd name="T10" fmla="*/ 13 w 19"/>
                  <a:gd name="T11" fmla="*/ 0 h 42"/>
                  <a:gd name="T12" fmla="*/ 4 w 19"/>
                  <a:gd name="T13" fmla="*/ 8 h 42"/>
                  <a:gd name="T14" fmla="*/ 0 w 19"/>
                  <a:gd name="T15" fmla="*/ 25 h 42"/>
                  <a:gd name="T16" fmla="*/ 4 w 19"/>
                  <a:gd name="T17" fmla="*/ 42 h 42"/>
                  <a:gd name="T18" fmla="*/ 7 w 19"/>
                  <a:gd name="T19" fmla="*/ 40 h 42"/>
                  <a:gd name="T20" fmla="*/ 7 w 19"/>
                  <a:gd name="T21" fmla="*/ 39 h 42"/>
                  <a:gd name="T22" fmla="*/ 3 w 19"/>
                  <a:gd name="T23" fmla="*/ 26 h 42"/>
                  <a:gd name="T24" fmla="*/ 3 w 19"/>
                  <a:gd name="T25" fmla="*/ 20 h 42"/>
                  <a:gd name="T26" fmla="*/ 6 w 19"/>
                  <a:gd name="T27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42">
                    <a:moveTo>
                      <a:pt x="6" y="26"/>
                    </a:moveTo>
                    <a:cubicBezTo>
                      <a:pt x="8" y="28"/>
                      <a:pt x="10" y="30"/>
                      <a:pt x="13" y="34"/>
                    </a:cubicBezTo>
                    <a:cubicBezTo>
                      <a:pt x="14" y="31"/>
                      <a:pt x="15" y="26"/>
                      <a:pt x="15" y="23"/>
                    </a:cubicBezTo>
                    <a:cubicBezTo>
                      <a:pt x="16" y="24"/>
                      <a:pt x="18" y="25"/>
                      <a:pt x="19" y="27"/>
                    </a:cubicBezTo>
                    <a:lnTo>
                      <a:pt x="19" y="25"/>
                    </a:lnTo>
                    <a:cubicBezTo>
                      <a:pt x="19" y="17"/>
                      <a:pt x="15" y="8"/>
                      <a:pt x="13" y="0"/>
                    </a:cubicBezTo>
                    <a:cubicBezTo>
                      <a:pt x="10" y="3"/>
                      <a:pt x="5" y="5"/>
                      <a:pt x="4" y="8"/>
                    </a:cubicBezTo>
                    <a:cubicBezTo>
                      <a:pt x="2" y="13"/>
                      <a:pt x="1" y="19"/>
                      <a:pt x="0" y="25"/>
                    </a:cubicBezTo>
                    <a:cubicBezTo>
                      <a:pt x="0" y="31"/>
                      <a:pt x="1" y="37"/>
                      <a:pt x="4" y="42"/>
                    </a:cubicBezTo>
                    <a:cubicBezTo>
                      <a:pt x="5" y="42"/>
                      <a:pt x="6" y="41"/>
                      <a:pt x="7" y="40"/>
                    </a:cubicBezTo>
                    <a:cubicBezTo>
                      <a:pt x="7" y="40"/>
                      <a:pt x="7" y="40"/>
                      <a:pt x="7" y="39"/>
                    </a:cubicBezTo>
                    <a:cubicBezTo>
                      <a:pt x="6" y="35"/>
                      <a:pt x="4" y="30"/>
                      <a:pt x="3" y="26"/>
                    </a:cubicBezTo>
                    <a:cubicBezTo>
                      <a:pt x="3" y="23"/>
                      <a:pt x="2" y="25"/>
                      <a:pt x="3" y="20"/>
                    </a:cubicBezTo>
                    <a:cubicBezTo>
                      <a:pt x="2" y="22"/>
                      <a:pt x="4" y="25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2" name="Freeform 69">
                <a:extLst>
                  <a:ext uri="{FF2B5EF4-FFF2-40B4-BE49-F238E27FC236}">
                    <a16:creationId xmlns:a16="http://schemas.microsoft.com/office/drawing/2014/main" id="{BC8EE769-7F69-68E6-4E0F-74D048F0A2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98133" y="3785607"/>
                <a:ext cx="18098" cy="9050"/>
              </a:xfrm>
              <a:custGeom>
                <a:avLst/>
                <a:gdLst>
                  <a:gd name="T0" fmla="*/ 36 w 44"/>
                  <a:gd name="T1" fmla="*/ 20 h 25"/>
                  <a:gd name="T2" fmla="*/ 22 w 44"/>
                  <a:gd name="T3" fmla="*/ 3 h 25"/>
                  <a:gd name="T4" fmla="*/ 1 w 44"/>
                  <a:gd name="T5" fmla="*/ 10 h 25"/>
                  <a:gd name="T6" fmla="*/ 36 w 44"/>
                  <a:gd name="T7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25">
                    <a:moveTo>
                      <a:pt x="36" y="20"/>
                    </a:moveTo>
                    <a:cubicBezTo>
                      <a:pt x="27" y="12"/>
                      <a:pt x="32" y="6"/>
                      <a:pt x="22" y="3"/>
                    </a:cubicBezTo>
                    <a:cubicBezTo>
                      <a:pt x="12" y="0"/>
                      <a:pt x="0" y="4"/>
                      <a:pt x="1" y="10"/>
                    </a:cubicBezTo>
                    <a:cubicBezTo>
                      <a:pt x="3" y="19"/>
                      <a:pt x="44" y="25"/>
                      <a:pt x="3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3" name="Freeform 70">
                <a:extLst>
                  <a:ext uri="{FF2B5EF4-FFF2-40B4-BE49-F238E27FC236}">
                    <a16:creationId xmlns:a16="http://schemas.microsoft.com/office/drawing/2014/main" id="{E55442D0-DA80-D289-C156-8BDD56CCAE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9451" y="3628150"/>
                <a:ext cx="217180" cy="322151"/>
              </a:xfrm>
              <a:custGeom>
                <a:avLst/>
                <a:gdLst>
                  <a:gd name="T0" fmla="*/ 357 w 531"/>
                  <a:gd name="T1" fmla="*/ 727 h 784"/>
                  <a:gd name="T2" fmla="*/ 383 w 531"/>
                  <a:gd name="T3" fmla="*/ 715 h 784"/>
                  <a:gd name="T4" fmla="*/ 380 w 531"/>
                  <a:gd name="T5" fmla="*/ 734 h 784"/>
                  <a:gd name="T6" fmla="*/ 400 w 531"/>
                  <a:gd name="T7" fmla="*/ 720 h 784"/>
                  <a:gd name="T8" fmla="*/ 413 w 531"/>
                  <a:gd name="T9" fmla="*/ 743 h 784"/>
                  <a:gd name="T10" fmla="*/ 421 w 531"/>
                  <a:gd name="T11" fmla="*/ 759 h 784"/>
                  <a:gd name="T12" fmla="*/ 420 w 531"/>
                  <a:gd name="T13" fmla="*/ 690 h 784"/>
                  <a:gd name="T14" fmla="*/ 431 w 531"/>
                  <a:gd name="T15" fmla="*/ 748 h 784"/>
                  <a:gd name="T16" fmla="*/ 440 w 531"/>
                  <a:gd name="T17" fmla="*/ 746 h 784"/>
                  <a:gd name="T18" fmla="*/ 449 w 531"/>
                  <a:gd name="T19" fmla="*/ 731 h 784"/>
                  <a:gd name="T20" fmla="*/ 465 w 531"/>
                  <a:gd name="T21" fmla="*/ 727 h 784"/>
                  <a:gd name="T22" fmla="*/ 501 w 531"/>
                  <a:gd name="T23" fmla="*/ 448 h 784"/>
                  <a:gd name="T24" fmla="*/ 455 w 531"/>
                  <a:gd name="T25" fmla="*/ 349 h 784"/>
                  <a:gd name="T26" fmla="*/ 463 w 531"/>
                  <a:gd name="T27" fmla="*/ 58 h 784"/>
                  <a:gd name="T28" fmla="*/ 0 w 531"/>
                  <a:gd name="T29" fmla="*/ 0 h 784"/>
                  <a:gd name="T30" fmla="*/ 203 w 531"/>
                  <a:gd name="T31" fmla="*/ 234 h 784"/>
                  <a:gd name="T32" fmla="*/ 274 w 531"/>
                  <a:gd name="T33" fmla="*/ 227 h 784"/>
                  <a:gd name="T34" fmla="*/ 341 w 531"/>
                  <a:gd name="T35" fmla="*/ 226 h 784"/>
                  <a:gd name="T36" fmla="*/ 269 w 531"/>
                  <a:gd name="T37" fmla="*/ 284 h 784"/>
                  <a:gd name="T38" fmla="*/ 321 w 531"/>
                  <a:gd name="T39" fmla="*/ 312 h 784"/>
                  <a:gd name="T40" fmla="*/ 362 w 531"/>
                  <a:gd name="T41" fmla="*/ 425 h 784"/>
                  <a:gd name="T42" fmla="*/ 99 w 531"/>
                  <a:gd name="T43" fmla="*/ 574 h 784"/>
                  <a:gd name="T44" fmla="*/ 65 w 531"/>
                  <a:gd name="T45" fmla="*/ 605 h 784"/>
                  <a:gd name="T46" fmla="*/ 63 w 531"/>
                  <a:gd name="T47" fmla="*/ 728 h 784"/>
                  <a:gd name="T48" fmla="*/ 151 w 531"/>
                  <a:gd name="T49" fmla="*/ 776 h 784"/>
                  <a:gd name="T50" fmla="*/ 158 w 531"/>
                  <a:gd name="T51" fmla="*/ 772 h 784"/>
                  <a:gd name="T52" fmla="*/ 160 w 531"/>
                  <a:gd name="T53" fmla="*/ 753 h 784"/>
                  <a:gd name="T54" fmla="*/ 171 w 531"/>
                  <a:gd name="T55" fmla="*/ 751 h 784"/>
                  <a:gd name="T56" fmla="*/ 172 w 531"/>
                  <a:gd name="T57" fmla="*/ 754 h 784"/>
                  <a:gd name="T58" fmla="*/ 181 w 531"/>
                  <a:gd name="T59" fmla="*/ 763 h 784"/>
                  <a:gd name="T60" fmla="*/ 190 w 531"/>
                  <a:gd name="T61" fmla="*/ 747 h 784"/>
                  <a:gd name="T62" fmla="*/ 196 w 531"/>
                  <a:gd name="T63" fmla="*/ 750 h 784"/>
                  <a:gd name="T64" fmla="*/ 202 w 531"/>
                  <a:gd name="T65" fmla="*/ 756 h 784"/>
                  <a:gd name="T66" fmla="*/ 211 w 531"/>
                  <a:gd name="T67" fmla="*/ 760 h 784"/>
                  <a:gd name="T68" fmla="*/ 217 w 531"/>
                  <a:gd name="T69" fmla="*/ 746 h 784"/>
                  <a:gd name="T70" fmla="*/ 221 w 531"/>
                  <a:gd name="T71" fmla="*/ 735 h 784"/>
                  <a:gd name="T72" fmla="*/ 229 w 531"/>
                  <a:gd name="T73" fmla="*/ 733 h 784"/>
                  <a:gd name="T74" fmla="*/ 237 w 531"/>
                  <a:gd name="T75" fmla="*/ 770 h 784"/>
                  <a:gd name="T76" fmla="*/ 247 w 531"/>
                  <a:gd name="T77" fmla="*/ 754 h 784"/>
                  <a:gd name="T78" fmla="*/ 253 w 531"/>
                  <a:gd name="T79" fmla="*/ 769 h 784"/>
                  <a:gd name="T80" fmla="*/ 256 w 531"/>
                  <a:gd name="T81" fmla="*/ 753 h 784"/>
                  <a:gd name="T82" fmla="*/ 264 w 531"/>
                  <a:gd name="T83" fmla="*/ 753 h 784"/>
                  <a:gd name="T84" fmla="*/ 267 w 531"/>
                  <a:gd name="T85" fmla="*/ 774 h 784"/>
                  <a:gd name="T86" fmla="*/ 266 w 531"/>
                  <a:gd name="T87" fmla="*/ 726 h 784"/>
                  <a:gd name="T88" fmla="*/ 280 w 531"/>
                  <a:gd name="T89" fmla="*/ 761 h 784"/>
                  <a:gd name="T90" fmla="*/ 286 w 531"/>
                  <a:gd name="T91" fmla="*/ 763 h 784"/>
                  <a:gd name="T92" fmla="*/ 289 w 531"/>
                  <a:gd name="T93" fmla="*/ 753 h 784"/>
                  <a:gd name="T94" fmla="*/ 298 w 531"/>
                  <a:gd name="T95" fmla="*/ 760 h 784"/>
                  <a:gd name="T96" fmla="*/ 299 w 531"/>
                  <a:gd name="T97" fmla="*/ 724 h 784"/>
                  <a:gd name="T98" fmla="*/ 316 w 531"/>
                  <a:gd name="T99" fmla="*/ 730 h 784"/>
                  <a:gd name="T100" fmla="*/ 324 w 531"/>
                  <a:gd name="T101" fmla="*/ 745 h 784"/>
                  <a:gd name="T102" fmla="*/ 334 w 531"/>
                  <a:gd name="T103" fmla="*/ 725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31" h="784">
                    <a:moveTo>
                      <a:pt x="349" y="756"/>
                    </a:moveTo>
                    <a:cubicBezTo>
                      <a:pt x="349" y="754"/>
                      <a:pt x="350" y="748"/>
                      <a:pt x="351" y="746"/>
                    </a:cubicBezTo>
                    <a:cubicBezTo>
                      <a:pt x="354" y="741"/>
                      <a:pt x="355" y="732"/>
                      <a:pt x="356" y="726"/>
                    </a:cubicBezTo>
                    <a:cubicBezTo>
                      <a:pt x="356" y="726"/>
                      <a:pt x="356" y="727"/>
                      <a:pt x="357" y="727"/>
                    </a:cubicBezTo>
                    <a:cubicBezTo>
                      <a:pt x="359" y="736"/>
                      <a:pt x="360" y="742"/>
                      <a:pt x="363" y="753"/>
                    </a:cubicBezTo>
                    <a:cubicBezTo>
                      <a:pt x="364" y="742"/>
                      <a:pt x="368" y="732"/>
                      <a:pt x="373" y="723"/>
                    </a:cubicBezTo>
                    <a:cubicBezTo>
                      <a:pt x="378" y="714"/>
                      <a:pt x="384" y="705"/>
                      <a:pt x="388" y="694"/>
                    </a:cubicBezTo>
                    <a:cubicBezTo>
                      <a:pt x="387" y="702"/>
                      <a:pt x="388" y="708"/>
                      <a:pt x="383" y="715"/>
                    </a:cubicBezTo>
                    <a:cubicBezTo>
                      <a:pt x="379" y="722"/>
                      <a:pt x="377" y="725"/>
                      <a:pt x="376" y="730"/>
                    </a:cubicBezTo>
                    <a:cubicBezTo>
                      <a:pt x="375" y="734"/>
                      <a:pt x="374" y="740"/>
                      <a:pt x="371" y="751"/>
                    </a:cubicBezTo>
                    <a:cubicBezTo>
                      <a:pt x="371" y="750"/>
                      <a:pt x="374" y="747"/>
                      <a:pt x="374" y="745"/>
                    </a:cubicBezTo>
                    <a:cubicBezTo>
                      <a:pt x="375" y="741"/>
                      <a:pt x="378" y="737"/>
                      <a:pt x="380" y="734"/>
                    </a:cubicBezTo>
                    <a:cubicBezTo>
                      <a:pt x="384" y="727"/>
                      <a:pt x="390" y="723"/>
                      <a:pt x="396" y="721"/>
                    </a:cubicBezTo>
                    <a:cubicBezTo>
                      <a:pt x="396" y="721"/>
                      <a:pt x="396" y="720"/>
                      <a:pt x="395" y="720"/>
                    </a:cubicBezTo>
                    <a:cubicBezTo>
                      <a:pt x="396" y="720"/>
                      <a:pt x="396" y="720"/>
                      <a:pt x="397" y="721"/>
                    </a:cubicBezTo>
                    <a:cubicBezTo>
                      <a:pt x="398" y="720"/>
                      <a:pt x="399" y="720"/>
                      <a:pt x="400" y="720"/>
                    </a:cubicBezTo>
                    <a:cubicBezTo>
                      <a:pt x="399" y="721"/>
                      <a:pt x="399" y="722"/>
                      <a:pt x="398" y="722"/>
                    </a:cubicBezTo>
                    <a:cubicBezTo>
                      <a:pt x="400" y="725"/>
                      <a:pt x="403" y="730"/>
                      <a:pt x="405" y="735"/>
                    </a:cubicBezTo>
                    <a:cubicBezTo>
                      <a:pt x="407" y="741"/>
                      <a:pt x="410" y="747"/>
                      <a:pt x="412" y="753"/>
                    </a:cubicBezTo>
                    <a:cubicBezTo>
                      <a:pt x="412" y="750"/>
                      <a:pt x="413" y="746"/>
                      <a:pt x="413" y="743"/>
                    </a:cubicBezTo>
                    <a:cubicBezTo>
                      <a:pt x="413" y="736"/>
                      <a:pt x="411" y="731"/>
                      <a:pt x="407" y="727"/>
                    </a:cubicBezTo>
                    <a:cubicBezTo>
                      <a:pt x="408" y="727"/>
                      <a:pt x="413" y="734"/>
                      <a:pt x="413" y="735"/>
                    </a:cubicBezTo>
                    <a:cubicBezTo>
                      <a:pt x="418" y="741"/>
                      <a:pt x="419" y="751"/>
                      <a:pt x="421" y="759"/>
                    </a:cubicBezTo>
                    <a:cubicBezTo>
                      <a:pt x="421" y="759"/>
                      <a:pt x="421" y="759"/>
                      <a:pt x="421" y="759"/>
                    </a:cubicBezTo>
                    <a:cubicBezTo>
                      <a:pt x="421" y="755"/>
                      <a:pt x="421" y="751"/>
                      <a:pt x="421" y="747"/>
                    </a:cubicBezTo>
                    <a:cubicBezTo>
                      <a:pt x="420" y="742"/>
                      <a:pt x="419" y="737"/>
                      <a:pt x="419" y="731"/>
                    </a:cubicBezTo>
                    <a:cubicBezTo>
                      <a:pt x="418" y="725"/>
                      <a:pt x="418" y="718"/>
                      <a:pt x="418" y="711"/>
                    </a:cubicBezTo>
                    <a:cubicBezTo>
                      <a:pt x="418" y="704"/>
                      <a:pt x="419" y="697"/>
                      <a:pt x="420" y="690"/>
                    </a:cubicBezTo>
                    <a:cubicBezTo>
                      <a:pt x="419" y="699"/>
                      <a:pt x="420" y="709"/>
                      <a:pt x="422" y="718"/>
                    </a:cubicBezTo>
                    <a:cubicBezTo>
                      <a:pt x="424" y="727"/>
                      <a:pt x="427" y="736"/>
                      <a:pt x="429" y="744"/>
                    </a:cubicBezTo>
                    <a:cubicBezTo>
                      <a:pt x="430" y="743"/>
                      <a:pt x="431" y="740"/>
                      <a:pt x="432" y="739"/>
                    </a:cubicBezTo>
                    <a:cubicBezTo>
                      <a:pt x="431" y="742"/>
                      <a:pt x="431" y="745"/>
                      <a:pt x="431" y="748"/>
                    </a:cubicBezTo>
                    <a:cubicBezTo>
                      <a:pt x="431" y="748"/>
                      <a:pt x="431" y="748"/>
                      <a:pt x="431" y="749"/>
                    </a:cubicBezTo>
                    <a:cubicBezTo>
                      <a:pt x="432" y="751"/>
                      <a:pt x="432" y="752"/>
                      <a:pt x="433" y="752"/>
                    </a:cubicBezTo>
                    <a:cubicBezTo>
                      <a:pt x="435" y="751"/>
                      <a:pt x="437" y="750"/>
                      <a:pt x="439" y="748"/>
                    </a:cubicBezTo>
                    <a:cubicBezTo>
                      <a:pt x="439" y="747"/>
                      <a:pt x="440" y="747"/>
                      <a:pt x="440" y="746"/>
                    </a:cubicBezTo>
                    <a:cubicBezTo>
                      <a:pt x="440" y="743"/>
                      <a:pt x="439" y="739"/>
                      <a:pt x="439" y="736"/>
                    </a:cubicBezTo>
                    <a:cubicBezTo>
                      <a:pt x="439" y="736"/>
                      <a:pt x="440" y="738"/>
                      <a:pt x="441" y="738"/>
                    </a:cubicBezTo>
                    <a:cubicBezTo>
                      <a:pt x="441" y="739"/>
                      <a:pt x="442" y="740"/>
                      <a:pt x="442" y="742"/>
                    </a:cubicBezTo>
                    <a:cubicBezTo>
                      <a:pt x="445" y="738"/>
                      <a:pt x="447" y="734"/>
                      <a:pt x="449" y="731"/>
                    </a:cubicBezTo>
                    <a:cubicBezTo>
                      <a:pt x="454" y="724"/>
                      <a:pt x="465" y="714"/>
                      <a:pt x="466" y="703"/>
                    </a:cubicBezTo>
                    <a:cubicBezTo>
                      <a:pt x="465" y="712"/>
                      <a:pt x="461" y="720"/>
                      <a:pt x="457" y="728"/>
                    </a:cubicBezTo>
                    <a:cubicBezTo>
                      <a:pt x="455" y="731"/>
                      <a:pt x="452" y="736"/>
                      <a:pt x="451" y="739"/>
                    </a:cubicBezTo>
                    <a:cubicBezTo>
                      <a:pt x="455" y="736"/>
                      <a:pt x="460" y="731"/>
                      <a:pt x="465" y="727"/>
                    </a:cubicBezTo>
                    <a:cubicBezTo>
                      <a:pt x="465" y="726"/>
                      <a:pt x="466" y="726"/>
                      <a:pt x="466" y="725"/>
                    </a:cubicBezTo>
                    <a:cubicBezTo>
                      <a:pt x="468" y="724"/>
                      <a:pt x="469" y="723"/>
                      <a:pt x="470" y="722"/>
                    </a:cubicBezTo>
                    <a:cubicBezTo>
                      <a:pt x="510" y="683"/>
                      <a:pt x="530" y="629"/>
                      <a:pt x="531" y="561"/>
                    </a:cubicBezTo>
                    <a:cubicBezTo>
                      <a:pt x="531" y="520"/>
                      <a:pt x="521" y="482"/>
                      <a:pt x="501" y="448"/>
                    </a:cubicBezTo>
                    <a:cubicBezTo>
                      <a:pt x="489" y="429"/>
                      <a:pt x="473" y="413"/>
                      <a:pt x="455" y="401"/>
                    </a:cubicBezTo>
                    <a:lnTo>
                      <a:pt x="407" y="381"/>
                    </a:lnTo>
                    <a:lnTo>
                      <a:pt x="407" y="378"/>
                    </a:lnTo>
                    <a:cubicBezTo>
                      <a:pt x="426" y="369"/>
                      <a:pt x="441" y="360"/>
                      <a:pt x="455" y="349"/>
                    </a:cubicBezTo>
                    <a:cubicBezTo>
                      <a:pt x="457" y="347"/>
                      <a:pt x="460" y="345"/>
                      <a:pt x="463" y="343"/>
                    </a:cubicBezTo>
                    <a:cubicBezTo>
                      <a:pt x="477" y="330"/>
                      <a:pt x="489" y="317"/>
                      <a:pt x="497" y="303"/>
                    </a:cubicBezTo>
                    <a:cubicBezTo>
                      <a:pt x="512" y="273"/>
                      <a:pt x="520" y="242"/>
                      <a:pt x="519" y="210"/>
                    </a:cubicBezTo>
                    <a:cubicBezTo>
                      <a:pt x="519" y="147"/>
                      <a:pt x="500" y="96"/>
                      <a:pt x="463" y="58"/>
                    </a:cubicBezTo>
                    <a:cubicBezTo>
                      <a:pt x="460" y="56"/>
                      <a:pt x="457" y="53"/>
                      <a:pt x="455" y="51"/>
                    </a:cubicBezTo>
                    <a:cubicBezTo>
                      <a:pt x="448" y="45"/>
                      <a:pt x="442" y="40"/>
                      <a:pt x="434" y="36"/>
                    </a:cubicBezTo>
                    <a:cubicBezTo>
                      <a:pt x="399" y="13"/>
                      <a:pt x="352" y="0"/>
                      <a:pt x="294" y="0"/>
                    </a:cubicBezTo>
                    <a:lnTo>
                      <a:pt x="0" y="0"/>
                    </a:lnTo>
                    <a:lnTo>
                      <a:pt x="0" y="275"/>
                    </a:lnTo>
                    <a:cubicBezTo>
                      <a:pt x="70" y="281"/>
                      <a:pt x="147" y="280"/>
                      <a:pt x="168" y="249"/>
                    </a:cubicBezTo>
                    <a:cubicBezTo>
                      <a:pt x="172" y="244"/>
                      <a:pt x="173" y="231"/>
                      <a:pt x="193" y="233"/>
                    </a:cubicBezTo>
                    <a:cubicBezTo>
                      <a:pt x="195" y="233"/>
                      <a:pt x="199" y="233"/>
                      <a:pt x="203" y="234"/>
                    </a:cubicBezTo>
                    <a:cubicBezTo>
                      <a:pt x="205" y="234"/>
                      <a:pt x="207" y="234"/>
                      <a:pt x="209" y="234"/>
                    </a:cubicBezTo>
                    <a:cubicBezTo>
                      <a:pt x="225" y="234"/>
                      <a:pt x="246" y="233"/>
                      <a:pt x="269" y="229"/>
                    </a:cubicBezTo>
                    <a:cubicBezTo>
                      <a:pt x="270" y="228"/>
                      <a:pt x="272" y="228"/>
                      <a:pt x="273" y="228"/>
                    </a:cubicBezTo>
                    <a:cubicBezTo>
                      <a:pt x="273" y="227"/>
                      <a:pt x="273" y="227"/>
                      <a:pt x="274" y="227"/>
                    </a:cubicBezTo>
                    <a:cubicBezTo>
                      <a:pt x="282" y="225"/>
                      <a:pt x="290" y="223"/>
                      <a:pt x="298" y="220"/>
                    </a:cubicBezTo>
                    <a:cubicBezTo>
                      <a:pt x="303" y="218"/>
                      <a:pt x="309" y="215"/>
                      <a:pt x="314" y="212"/>
                    </a:cubicBezTo>
                    <a:cubicBezTo>
                      <a:pt x="357" y="188"/>
                      <a:pt x="379" y="160"/>
                      <a:pt x="379" y="160"/>
                    </a:cubicBezTo>
                    <a:cubicBezTo>
                      <a:pt x="379" y="160"/>
                      <a:pt x="366" y="196"/>
                      <a:pt x="341" y="226"/>
                    </a:cubicBezTo>
                    <a:cubicBezTo>
                      <a:pt x="326" y="245"/>
                      <a:pt x="311" y="259"/>
                      <a:pt x="295" y="270"/>
                    </a:cubicBezTo>
                    <a:cubicBezTo>
                      <a:pt x="288" y="275"/>
                      <a:pt x="280" y="279"/>
                      <a:pt x="273" y="282"/>
                    </a:cubicBezTo>
                    <a:cubicBezTo>
                      <a:pt x="272" y="283"/>
                      <a:pt x="271" y="283"/>
                      <a:pt x="270" y="284"/>
                    </a:cubicBezTo>
                    <a:cubicBezTo>
                      <a:pt x="270" y="284"/>
                      <a:pt x="270" y="284"/>
                      <a:pt x="269" y="284"/>
                    </a:cubicBezTo>
                    <a:cubicBezTo>
                      <a:pt x="232" y="301"/>
                      <a:pt x="203" y="299"/>
                      <a:pt x="203" y="299"/>
                    </a:cubicBezTo>
                    <a:cubicBezTo>
                      <a:pt x="244" y="303"/>
                      <a:pt x="282" y="299"/>
                      <a:pt x="319" y="280"/>
                    </a:cubicBezTo>
                    <a:cubicBezTo>
                      <a:pt x="352" y="264"/>
                      <a:pt x="361" y="248"/>
                      <a:pt x="363" y="244"/>
                    </a:cubicBezTo>
                    <a:cubicBezTo>
                      <a:pt x="360" y="251"/>
                      <a:pt x="339" y="297"/>
                      <a:pt x="321" y="312"/>
                    </a:cubicBezTo>
                    <a:lnTo>
                      <a:pt x="302" y="329"/>
                    </a:lnTo>
                    <a:lnTo>
                      <a:pt x="288" y="340"/>
                    </a:lnTo>
                    <a:cubicBezTo>
                      <a:pt x="288" y="340"/>
                      <a:pt x="284" y="352"/>
                      <a:pt x="314" y="383"/>
                    </a:cubicBezTo>
                    <a:cubicBezTo>
                      <a:pt x="326" y="394"/>
                      <a:pt x="345" y="411"/>
                      <a:pt x="362" y="425"/>
                    </a:cubicBezTo>
                    <a:cubicBezTo>
                      <a:pt x="371" y="433"/>
                      <a:pt x="379" y="440"/>
                      <a:pt x="385" y="446"/>
                    </a:cubicBezTo>
                    <a:cubicBezTo>
                      <a:pt x="418" y="478"/>
                      <a:pt x="348" y="531"/>
                      <a:pt x="304" y="504"/>
                    </a:cubicBezTo>
                    <a:cubicBezTo>
                      <a:pt x="282" y="491"/>
                      <a:pt x="211" y="521"/>
                      <a:pt x="167" y="515"/>
                    </a:cubicBezTo>
                    <a:cubicBezTo>
                      <a:pt x="111" y="508"/>
                      <a:pt x="121" y="546"/>
                      <a:pt x="99" y="574"/>
                    </a:cubicBezTo>
                    <a:cubicBezTo>
                      <a:pt x="68" y="614"/>
                      <a:pt x="45" y="559"/>
                      <a:pt x="42" y="540"/>
                    </a:cubicBezTo>
                    <a:cubicBezTo>
                      <a:pt x="38" y="513"/>
                      <a:pt x="28" y="484"/>
                      <a:pt x="0" y="472"/>
                    </a:cubicBezTo>
                    <a:lnTo>
                      <a:pt x="0" y="474"/>
                    </a:lnTo>
                    <a:cubicBezTo>
                      <a:pt x="50" y="501"/>
                      <a:pt x="11" y="562"/>
                      <a:pt x="65" y="605"/>
                    </a:cubicBezTo>
                    <a:cubicBezTo>
                      <a:pt x="58" y="622"/>
                      <a:pt x="49" y="636"/>
                      <a:pt x="45" y="650"/>
                    </a:cubicBezTo>
                    <a:cubicBezTo>
                      <a:pt x="46" y="653"/>
                      <a:pt x="48" y="655"/>
                      <a:pt x="49" y="657"/>
                    </a:cubicBezTo>
                    <a:cubicBezTo>
                      <a:pt x="54" y="665"/>
                      <a:pt x="69" y="666"/>
                      <a:pt x="69" y="675"/>
                    </a:cubicBezTo>
                    <a:cubicBezTo>
                      <a:pt x="70" y="683"/>
                      <a:pt x="68" y="722"/>
                      <a:pt x="63" y="728"/>
                    </a:cubicBezTo>
                    <a:cubicBezTo>
                      <a:pt x="59" y="733"/>
                      <a:pt x="60" y="761"/>
                      <a:pt x="41" y="784"/>
                    </a:cubicBezTo>
                    <a:lnTo>
                      <a:pt x="129" y="784"/>
                    </a:lnTo>
                    <a:cubicBezTo>
                      <a:pt x="136" y="782"/>
                      <a:pt x="143" y="779"/>
                      <a:pt x="151" y="777"/>
                    </a:cubicBezTo>
                    <a:cubicBezTo>
                      <a:pt x="151" y="777"/>
                      <a:pt x="151" y="776"/>
                      <a:pt x="151" y="776"/>
                    </a:cubicBezTo>
                    <a:cubicBezTo>
                      <a:pt x="153" y="768"/>
                      <a:pt x="150" y="762"/>
                      <a:pt x="146" y="756"/>
                    </a:cubicBezTo>
                    <a:cubicBezTo>
                      <a:pt x="143" y="749"/>
                      <a:pt x="139" y="743"/>
                      <a:pt x="138" y="736"/>
                    </a:cubicBezTo>
                    <a:cubicBezTo>
                      <a:pt x="139" y="743"/>
                      <a:pt x="146" y="749"/>
                      <a:pt x="149" y="754"/>
                    </a:cubicBezTo>
                    <a:cubicBezTo>
                      <a:pt x="152" y="758"/>
                      <a:pt x="158" y="767"/>
                      <a:pt x="158" y="772"/>
                    </a:cubicBezTo>
                    <a:cubicBezTo>
                      <a:pt x="159" y="770"/>
                      <a:pt x="161" y="767"/>
                      <a:pt x="161" y="765"/>
                    </a:cubicBezTo>
                    <a:lnTo>
                      <a:pt x="161" y="762"/>
                    </a:lnTo>
                    <a:cubicBezTo>
                      <a:pt x="161" y="761"/>
                      <a:pt x="161" y="760"/>
                      <a:pt x="161" y="759"/>
                    </a:cubicBezTo>
                    <a:cubicBezTo>
                      <a:pt x="161" y="757"/>
                      <a:pt x="160" y="755"/>
                      <a:pt x="160" y="753"/>
                    </a:cubicBezTo>
                    <a:cubicBezTo>
                      <a:pt x="161" y="756"/>
                      <a:pt x="162" y="758"/>
                      <a:pt x="163" y="761"/>
                    </a:cubicBezTo>
                    <a:cubicBezTo>
                      <a:pt x="164" y="763"/>
                      <a:pt x="166" y="766"/>
                      <a:pt x="166" y="769"/>
                    </a:cubicBezTo>
                    <a:cubicBezTo>
                      <a:pt x="167" y="764"/>
                      <a:pt x="168" y="759"/>
                      <a:pt x="170" y="755"/>
                    </a:cubicBezTo>
                    <a:cubicBezTo>
                      <a:pt x="170" y="753"/>
                      <a:pt x="171" y="752"/>
                      <a:pt x="171" y="751"/>
                    </a:cubicBezTo>
                    <a:cubicBezTo>
                      <a:pt x="171" y="751"/>
                      <a:pt x="171" y="752"/>
                      <a:pt x="171" y="752"/>
                    </a:cubicBezTo>
                    <a:cubicBezTo>
                      <a:pt x="171" y="752"/>
                      <a:pt x="171" y="751"/>
                      <a:pt x="172" y="751"/>
                    </a:cubicBezTo>
                    <a:cubicBezTo>
                      <a:pt x="172" y="750"/>
                      <a:pt x="175" y="747"/>
                      <a:pt x="176" y="747"/>
                    </a:cubicBezTo>
                    <a:cubicBezTo>
                      <a:pt x="173" y="749"/>
                      <a:pt x="172" y="751"/>
                      <a:pt x="172" y="754"/>
                    </a:cubicBezTo>
                    <a:cubicBezTo>
                      <a:pt x="173" y="756"/>
                      <a:pt x="174" y="757"/>
                      <a:pt x="175" y="758"/>
                    </a:cubicBezTo>
                    <a:cubicBezTo>
                      <a:pt x="175" y="759"/>
                      <a:pt x="177" y="760"/>
                      <a:pt x="179" y="761"/>
                    </a:cubicBezTo>
                    <a:cubicBezTo>
                      <a:pt x="179" y="760"/>
                      <a:pt x="180" y="760"/>
                      <a:pt x="181" y="759"/>
                    </a:cubicBezTo>
                    <a:cubicBezTo>
                      <a:pt x="181" y="760"/>
                      <a:pt x="181" y="761"/>
                      <a:pt x="181" y="763"/>
                    </a:cubicBezTo>
                    <a:cubicBezTo>
                      <a:pt x="184" y="764"/>
                      <a:pt x="187" y="765"/>
                      <a:pt x="190" y="765"/>
                    </a:cubicBezTo>
                    <a:cubicBezTo>
                      <a:pt x="191" y="760"/>
                      <a:pt x="189" y="754"/>
                      <a:pt x="188" y="750"/>
                    </a:cubicBezTo>
                    <a:cubicBezTo>
                      <a:pt x="187" y="747"/>
                      <a:pt x="181" y="745"/>
                      <a:pt x="180" y="742"/>
                    </a:cubicBezTo>
                    <a:cubicBezTo>
                      <a:pt x="184" y="743"/>
                      <a:pt x="187" y="745"/>
                      <a:pt x="190" y="747"/>
                    </a:cubicBezTo>
                    <a:cubicBezTo>
                      <a:pt x="189" y="747"/>
                      <a:pt x="189" y="746"/>
                      <a:pt x="189" y="746"/>
                    </a:cubicBezTo>
                    <a:cubicBezTo>
                      <a:pt x="189" y="744"/>
                      <a:pt x="189" y="745"/>
                      <a:pt x="189" y="741"/>
                    </a:cubicBezTo>
                    <a:cubicBezTo>
                      <a:pt x="189" y="742"/>
                      <a:pt x="191" y="746"/>
                      <a:pt x="192" y="746"/>
                    </a:cubicBezTo>
                    <a:cubicBezTo>
                      <a:pt x="193" y="747"/>
                      <a:pt x="194" y="748"/>
                      <a:pt x="196" y="750"/>
                    </a:cubicBezTo>
                    <a:cubicBezTo>
                      <a:pt x="195" y="746"/>
                      <a:pt x="193" y="744"/>
                      <a:pt x="191" y="739"/>
                    </a:cubicBezTo>
                    <a:cubicBezTo>
                      <a:pt x="188" y="735"/>
                      <a:pt x="188" y="731"/>
                      <a:pt x="188" y="726"/>
                    </a:cubicBezTo>
                    <a:cubicBezTo>
                      <a:pt x="190" y="732"/>
                      <a:pt x="193" y="737"/>
                      <a:pt x="195" y="741"/>
                    </a:cubicBezTo>
                    <a:cubicBezTo>
                      <a:pt x="198" y="746"/>
                      <a:pt x="200" y="751"/>
                      <a:pt x="202" y="756"/>
                    </a:cubicBezTo>
                    <a:cubicBezTo>
                      <a:pt x="203" y="757"/>
                      <a:pt x="204" y="758"/>
                      <a:pt x="205" y="759"/>
                    </a:cubicBezTo>
                    <a:cubicBezTo>
                      <a:pt x="206" y="755"/>
                      <a:pt x="207" y="752"/>
                      <a:pt x="208" y="748"/>
                    </a:cubicBezTo>
                    <a:cubicBezTo>
                      <a:pt x="208" y="748"/>
                      <a:pt x="208" y="747"/>
                      <a:pt x="208" y="747"/>
                    </a:cubicBezTo>
                    <a:cubicBezTo>
                      <a:pt x="209" y="751"/>
                      <a:pt x="209" y="756"/>
                      <a:pt x="211" y="760"/>
                    </a:cubicBezTo>
                    <a:lnTo>
                      <a:pt x="211" y="760"/>
                    </a:lnTo>
                    <a:cubicBezTo>
                      <a:pt x="212" y="757"/>
                      <a:pt x="212" y="754"/>
                      <a:pt x="212" y="751"/>
                    </a:cubicBezTo>
                    <a:cubicBezTo>
                      <a:pt x="214" y="740"/>
                      <a:pt x="206" y="737"/>
                      <a:pt x="199" y="729"/>
                    </a:cubicBezTo>
                    <a:cubicBezTo>
                      <a:pt x="204" y="728"/>
                      <a:pt x="213" y="736"/>
                      <a:pt x="217" y="746"/>
                    </a:cubicBezTo>
                    <a:cubicBezTo>
                      <a:pt x="219" y="749"/>
                      <a:pt x="220" y="753"/>
                      <a:pt x="221" y="757"/>
                    </a:cubicBezTo>
                    <a:cubicBezTo>
                      <a:pt x="222" y="753"/>
                      <a:pt x="222" y="750"/>
                      <a:pt x="222" y="747"/>
                    </a:cubicBezTo>
                    <a:cubicBezTo>
                      <a:pt x="223" y="749"/>
                      <a:pt x="223" y="751"/>
                      <a:pt x="224" y="753"/>
                    </a:cubicBezTo>
                    <a:cubicBezTo>
                      <a:pt x="223" y="748"/>
                      <a:pt x="222" y="742"/>
                      <a:pt x="221" y="735"/>
                    </a:cubicBezTo>
                    <a:cubicBezTo>
                      <a:pt x="219" y="727"/>
                      <a:pt x="220" y="721"/>
                      <a:pt x="223" y="716"/>
                    </a:cubicBezTo>
                    <a:cubicBezTo>
                      <a:pt x="225" y="711"/>
                      <a:pt x="229" y="708"/>
                      <a:pt x="231" y="704"/>
                    </a:cubicBezTo>
                    <a:cubicBezTo>
                      <a:pt x="229" y="711"/>
                      <a:pt x="228" y="715"/>
                      <a:pt x="228" y="720"/>
                    </a:cubicBezTo>
                    <a:cubicBezTo>
                      <a:pt x="227" y="724"/>
                      <a:pt x="228" y="728"/>
                      <a:pt x="229" y="733"/>
                    </a:cubicBezTo>
                    <a:cubicBezTo>
                      <a:pt x="230" y="732"/>
                      <a:pt x="231" y="731"/>
                      <a:pt x="232" y="731"/>
                    </a:cubicBezTo>
                    <a:cubicBezTo>
                      <a:pt x="231" y="733"/>
                      <a:pt x="231" y="734"/>
                      <a:pt x="230" y="736"/>
                    </a:cubicBezTo>
                    <a:cubicBezTo>
                      <a:pt x="231" y="739"/>
                      <a:pt x="232" y="742"/>
                      <a:pt x="233" y="746"/>
                    </a:cubicBezTo>
                    <a:cubicBezTo>
                      <a:pt x="236" y="752"/>
                      <a:pt x="236" y="761"/>
                      <a:pt x="237" y="770"/>
                    </a:cubicBezTo>
                    <a:cubicBezTo>
                      <a:pt x="237" y="763"/>
                      <a:pt x="237" y="755"/>
                      <a:pt x="242" y="749"/>
                    </a:cubicBezTo>
                    <a:cubicBezTo>
                      <a:pt x="242" y="747"/>
                      <a:pt x="242" y="744"/>
                      <a:pt x="241" y="742"/>
                    </a:cubicBezTo>
                    <a:cubicBezTo>
                      <a:pt x="241" y="743"/>
                      <a:pt x="243" y="744"/>
                      <a:pt x="243" y="745"/>
                    </a:cubicBezTo>
                    <a:cubicBezTo>
                      <a:pt x="245" y="747"/>
                      <a:pt x="247" y="752"/>
                      <a:pt x="247" y="754"/>
                    </a:cubicBezTo>
                    <a:cubicBezTo>
                      <a:pt x="248" y="758"/>
                      <a:pt x="250" y="762"/>
                      <a:pt x="251" y="765"/>
                    </a:cubicBezTo>
                    <a:cubicBezTo>
                      <a:pt x="252" y="764"/>
                      <a:pt x="253" y="762"/>
                      <a:pt x="253" y="760"/>
                    </a:cubicBezTo>
                    <a:cubicBezTo>
                      <a:pt x="253" y="763"/>
                      <a:pt x="253" y="766"/>
                      <a:pt x="253" y="769"/>
                    </a:cubicBezTo>
                    <a:lnTo>
                      <a:pt x="253" y="769"/>
                    </a:lnTo>
                    <a:cubicBezTo>
                      <a:pt x="253" y="770"/>
                      <a:pt x="254" y="771"/>
                      <a:pt x="254" y="772"/>
                    </a:cubicBezTo>
                    <a:cubicBezTo>
                      <a:pt x="254" y="772"/>
                      <a:pt x="255" y="772"/>
                      <a:pt x="255" y="771"/>
                    </a:cubicBezTo>
                    <a:cubicBezTo>
                      <a:pt x="256" y="768"/>
                      <a:pt x="256" y="765"/>
                      <a:pt x="256" y="762"/>
                    </a:cubicBezTo>
                    <a:cubicBezTo>
                      <a:pt x="256" y="759"/>
                      <a:pt x="256" y="756"/>
                      <a:pt x="256" y="753"/>
                    </a:cubicBezTo>
                    <a:cubicBezTo>
                      <a:pt x="256" y="751"/>
                      <a:pt x="258" y="747"/>
                      <a:pt x="259" y="744"/>
                    </a:cubicBezTo>
                    <a:cubicBezTo>
                      <a:pt x="258" y="749"/>
                      <a:pt x="259" y="755"/>
                      <a:pt x="261" y="760"/>
                    </a:cubicBezTo>
                    <a:cubicBezTo>
                      <a:pt x="261" y="760"/>
                      <a:pt x="261" y="760"/>
                      <a:pt x="261" y="759"/>
                    </a:cubicBezTo>
                    <a:cubicBezTo>
                      <a:pt x="261" y="758"/>
                      <a:pt x="263" y="754"/>
                      <a:pt x="264" y="753"/>
                    </a:cubicBezTo>
                    <a:cubicBezTo>
                      <a:pt x="264" y="752"/>
                      <a:pt x="266" y="750"/>
                      <a:pt x="266" y="749"/>
                    </a:cubicBezTo>
                    <a:cubicBezTo>
                      <a:pt x="264" y="754"/>
                      <a:pt x="263" y="760"/>
                      <a:pt x="263" y="765"/>
                    </a:cubicBezTo>
                    <a:cubicBezTo>
                      <a:pt x="264" y="768"/>
                      <a:pt x="265" y="770"/>
                      <a:pt x="266" y="772"/>
                    </a:cubicBezTo>
                    <a:cubicBezTo>
                      <a:pt x="267" y="773"/>
                      <a:pt x="267" y="774"/>
                      <a:pt x="267" y="774"/>
                    </a:cubicBezTo>
                    <a:cubicBezTo>
                      <a:pt x="269" y="770"/>
                      <a:pt x="270" y="765"/>
                      <a:pt x="270" y="761"/>
                    </a:cubicBezTo>
                    <a:cubicBezTo>
                      <a:pt x="270" y="762"/>
                      <a:pt x="271" y="763"/>
                      <a:pt x="271" y="764"/>
                    </a:cubicBezTo>
                    <a:cubicBezTo>
                      <a:pt x="271" y="758"/>
                      <a:pt x="270" y="751"/>
                      <a:pt x="269" y="745"/>
                    </a:cubicBezTo>
                    <a:cubicBezTo>
                      <a:pt x="269" y="739"/>
                      <a:pt x="267" y="733"/>
                      <a:pt x="266" y="726"/>
                    </a:cubicBezTo>
                    <a:cubicBezTo>
                      <a:pt x="266" y="728"/>
                      <a:pt x="268" y="731"/>
                      <a:pt x="269" y="731"/>
                    </a:cubicBezTo>
                    <a:cubicBezTo>
                      <a:pt x="270" y="734"/>
                      <a:pt x="272" y="739"/>
                      <a:pt x="273" y="743"/>
                    </a:cubicBezTo>
                    <a:cubicBezTo>
                      <a:pt x="274" y="747"/>
                      <a:pt x="277" y="754"/>
                      <a:pt x="279" y="759"/>
                    </a:cubicBezTo>
                    <a:cubicBezTo>
                      <a:pt x="279" y="760"/>
                      <a:pt x="280" y="760"/>
                      <a:pt x="280" y="761"/>
                    </a:cubicBezTo>
                    <a:cubicBezTo>
                      <a:pt x="281" y="761"/>
                      <a:pt x="281" y="760"/>
                      <a:pt x="281" y="760"/>
                    </a:cubicBezTo>
                    <a:lnTo>
                      <a:pt x="281" y="761"/>
                    </a:lnTo>
                    <a:cubicBezTo>
                      <a:pt x="282" y="762"/>
                      <a:pt x="284" y="763"/>
                      <a:pt x="286" y="763"/>
                    </a:cubicBezTo>
                    <a:cubicBezTo>
                      <a:pt x="286" y="763"/>
                      <a:pt x="286" y="763"/>
                      <a:pt x="286" y="763"/>
                    </a:cubicBezTo>
                    <a:cubicBezTo>
                      <a:pt x="286" y="762"/>
                      <a:pt x="286" y="762"/>
                      <a:pt x="286" y="762"/>
                    </a:cubicBezTo>
                    <a:cubicBezTo>
                      <a:pt x="286" y="760"/>
                      <a:pt x="286" y="758"/>
                      <a:pt x="286" y="758"/>
                    </a:cubicBezTo>
                    <a:cubicBezTo>
                      <a:pt x="286" y="753"/>
                      <a:pt x="285" y="748"/>
                      <a:pt x="285" y="743"/>
                    </a:cubicBezTo>
                    <a:cubicBezTo>
                      <a:pt x="285" y="747"/>
                      <a:pt x="287" y="750"/>
                      <a:pt x="289" y="753"/>
                    </a:cubicBezTo>
                    <a:cubicBezTo>
                      <a:pt x="290" y="748"/>
                      <a:pt x="290" y="744"/>
                      <a:pt x="287" y="736"/>
                    </a:cubicBezTo>
                    <a:cubicBezTo>
                      <a:pt x="290" y="740"/>
                      <a:pt x="297" y="746"/>
                      <a:pt x="294" y="756"/>
                    </a:cubicBezTo>
                    <a:cubicBezTo>
                      <a:pt x="294" y="757"/>
                      <a:pt x="294" y="757"/>
                      <a:pt x="294" y="758"/>
                    </a:cubicBezTo>
                    <a:cubicBezTo>
                      <a:pt x="295" y="759"/>
                      <a:pt x="297" y="760"/>
                      <a:pt x="298" y="760"/>
                    </a:cubicBezTo>
                    <a:cubicBezTo>
                      <a:pt x="299" y="759"/>
                      <a:pt x="300" y="758"/>
                      <a:pt x="300" y="757"/>
                    </a:cubicBezTo>
                    <a:cubicBezTo>
                      <a:pt x="300" y="757"/>
                      <a:pt x="300" y="756"/>
                      <a:pt x="300" y="756"/>
                    </a:cubicBezTo>
                    <a:cubicBezTo>
                      <a:pt x="301" y="754"/>
                      <a:pt x="302" y="750"/>
                      <a:pt x="303" y="748"/>
                    </a:cubicBezTo>
                    <a:cubicBezTo>
                      <a:pt x="303" y="740"/>
                      <a:pt x="304" y="730"/>
                      <a:pt x="299" y="724"/>
                    </a:cubicBezTo>
                    <a:cubicBezTo>
                      <a:pt x="305" y="729"/>
                      <a:pt x="307" y="735"/>
                      <a:pt x="309" y="741"/>
                    </a:cubicBezTo>
                    <a:cubicBezTo>
                      <a:pt x="310" y="748"/>
                      <a:pt x="310" y="754"/>
                      <a:pt x="311" y="761"/>
                    </a:cubicBezTo>
                    <a:cubicBezTo>
                      <a:pt x="311" y="755"/>
                      <a:pt x="312" y="750"/>
                      <a:pt x="313" y="745"/>
                    </a:cubicBezTo>
                    <a:cubicBezTo>
                      <a:pt x="313" y="741"/>
                      <a:pt x="315" y="736"/>
                      <a:pt x="316" y="730"/>
                    </a:cubicBezTo>
                    <a:cubicBezTo>
                      <a:pt x="319" y="724"/>
                      <a:pt x="320" y="718"/>
                      <a:pt x="321" y="713"/>
                    </a:cubicBezTo>
                    <a:cubicBezTo>
                      <a:pt x="322" y="708"/>
                      <a:pt x="321" y="704"/>
                      <a:pt x="318" y="700"/>
                    </a:cubicBezTo>
                    <a:cubicBezTo>
                      <a:pt x="330" y="700"/>
                      <a:pt x="327" y="720"/>
                      <a:pt x="326" y="728"/>
                    </a:cubicBezTo>
                    <a:cubicBezTo>
                      <a:pt x="325" y="735"/>
                      <a:pt x="324" y="741"/>
                      <a:pt x="324" y="745"/>
                    </a:cubicBezTo>
                    <a:cubicBezTo>
                      <a:pt x="324" y="750"/>
                      <a:pt x="325" y="754"/>
                      <a:pt x="330" y="759"/>
                    </a:cubicBezTo>
                    <a:cubicBezTo>
                      <a:pt x="330" y="758"/>
                      <a:pt x="330" y="756"/>
                      <a:pt x="330" y="754"/>
                    </a:cubicBezTo>
                    <a:cubicBezTo>
                      <a:pt x="329" y="749"/>
                      <a:pt x="330" y="744"/>
                      <a:pt x="330" y="740"/>
                    </a:cubicBezTo>
                    <a:cubicBezTo>
                      <a:pt x="331" y="736"/>
                      <a:pt x="333" y="731"/>
                      <a:pt x="334" y="725"/>
                    </a:cubicBezTo>
                    <a:cubicBezTo>
                      <a:pt x="334" y="730"/>
                      <a:pt x="335" y="738"/>
                      <a:pt x="338" y="744"/>
                    </a:cubicBezTo>
                    <a:cubicBezTo>
                      <a:pt x="340" y="750"/>
                      <a:pt x="344" y="755"/>
                      <a:pt x="349" y="7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4" name="Freeform 71">
                <a:extLst>
                  <a:ext uri="{FF2B5EF4-FFF2-40B4-BE49-F238E27FC236}">
                    <a16:creationId xmlns:a16="http://schemas.microsoft.com/office/drawing/2014/main" id="{4AC9149E-97D6-07CE-70D4-EC5FD689F1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9851" y="3743980"/>
                <a:ext cx="1810" cy="1810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1 w 4"/>
                  <a:gd name="T5" fmla="*/ 2 h 2"/>
                  <a:gd name="T6" fmla="*/ 4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cubicBezTo>
                      <a:pt x="3" y="1"/>
                      <a:pt x="2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3" y="1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15" name="Line 72">
              <a:extLst>
                <a:ext uri="{FF2B5EF4-FFF2-40B4-BE49-F238E27FC236}">
                  <a16:creationId xmlns:a16="http://schemas.microsoft.com/office/drawing/2014/main" id="{234250B4-4ECD-3DC7-2DB7-C0ACCE30B05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228600" y="3438118"/>
              <a:ext cx="2880000" cy="0"/>
            </a:xfrm>
            <a:prstGeom prst="line">
              <a:avLst/>
            </a:prstGeom>
            <a:grpFill/>
            <a:ln w="19050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868BD23-9AC6-2EA4-7E80-AE4071CB8F6A}"/>
                </a:ext>
              </a:extLst>
            </p:cNvPr>
            <p:cNvGrpSpPr/>
            <p:nvPr userDrawn="1"/>
          </p:nvGrpSpPr>
          <p:grpSpPr>
            <a:xfrm>
              <a:off x="230912" y="2150376"/>
              <a:ext cx="2904030" cy="1130935"/>
              <a:chOff x="230912" y="1828800"/>
              <a:chExt cx="2904030" cy="1130935"/>
            </a:xfrm>
            <a:grpFill/>
          </p:grpSpPr>
          <p:sp>
            <p:nvSpPr>
              <p:cNvPr id="117" name="Freeform 5">
                <a:extLst>
                  <a:ext uri="{FF2B5EF4-FFF2-40B4-BE49-F238E27FC236}">
                    <a16:creationId xmlns:a16="http://schemas.microsoft.com/office/drawing/2014/main" id="{710D7C26-FC26-F26E-2791-673B32C20D5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62437" y="2629387"/>
                <a:ext cx="333719" cy="330348"/>
              </a:xfrm>
              <a:custGeom>
                <a:avLst/>
                <a:gdLst>
                  <a:gd name="T0" fmla="*/ 864 w 870"/>
                  <a:gd name="T1" fmla="*/ 406 h 856"/>
                  <a:gd name="T2" fmla="*/ 435 w 870"/>
                  <a:gd name="T3" fmla="*/ 0 h 856"/>
                  <a:gd name="T4" fmla="*/ 0 w 870"/>
                  <a:gd name="T5" fmla="*/ 430 h 856"/>
                  <a:gd name="T6" fmla="*/ 432 w 870"/>
                  <a:gd name="T7" fmla="*/ 856 h 856"/>
                  <a:gd name="T8" fmla="*/ 735 w 870"/>
                  <a:gd name="T9" fmla="*/ 744 h 856"/>
                  <a:gd name="T10" fmla="*/ 864 w 870"/>
                  <a:gd name="T11" fmla="*/ 406 h 856"/>
                  <a:gd name="T12" fmla="*/ 665 w 870"/>
                  <a:gd name="T13" fmla="*/ 684 h 856"/>
                  <a:gd name="T14" fmla="*/ 434 w 870"/>
                  <a:gd name="T15" fmla="*/ 808 h 856"/>
                  <a:gd name="T16" fmla="*/ 148 w 870"/>
                  <a:gd name="T17" fmla="*/ 553 h 856"/>
                  <a:gd name="T18" fmla="*/ 136 w 870"/>
                  <a:gd name="T19" fmla="*/ 422 h 856"/>
                  <a:gd name="T20" fmla="*/ 304 w 870"/>
                  <a:gd name="T21" fmla="*/ 77 h 856"/>
                  <a:gd name="T22" fmla="*/ 431 w 870"/>
                  <a:gd name="T23" fmla="*/ 48 h 856"/>
                  <a:gd name="T24" fmla="*/ 655 w 870"/>
                  <a:gd name="T25" fmla="*/ 159 h 856"/>
                  <a:gd name="T26" fmla="*/ 727 w 870"/>
                  <a:gd name="T27" fmla="*/ 412 h 856"/>
                  <a:gd name="T28" fmla="*/ 665 w 870"/>
                  <a:gd name="T29" fmla="*/ 68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0" h="856">
                    <a:moveTo>
                      <a:pt x="864" y="406"/>
                    </a:moveTo>
                    <a:cubicBezTo>
                      <a:pt x="854" y="204"/>
                      <a:pt x="717" y="0"/>
                      <a:pt x="435" y="0"/>
                    </a:cubicBezTo>
                    <a:cubicBezTo>
                      <a:pt x="175" y="0"/>
                      <a:pt x="0" y="173"/>
                      <a:pt x="0" y="430"/>
                    </a:cubicBezTo>
                    <a:cubicBezTo>
                      <a:pt x="0" y="724"/>
                      <a:pt x="217" y="856"/>
                      <a:pt x="432" y="856"/>
                    </a:cubicBezTo>
                    <a:cubicBezTo>
                      <a:pt x="552" y="856"/>
                      <a:pt x="657" y="817"/>
                      <a:pt x="735" y="744"/>
                    </a:cubicBezTo>
                    <a:cubicBezTo>
                      <a:pt x="825" y="661"/>
                      <a:pt x="870" y="541"/>
                      <a:pt x="864" y="406"/>
                    </a:cubicBezTo>
                    <a:close/>
                    <a:moveTo>
                      <a:pt x="665" y="684"/>
                    </a:moveTo>
                    <a:cubicBezTo>
                      <a:pt x="590" y="796"/>
                      <a:pt x="478" y="808"/>
                      <a:pt x="434" y="808"/>
                    </a:cubicBezTo>
                    <a:cubicBezTo>
                      <a:pt x="395" y="808"/>
                      <a:pt x="199" y="796"/>
                      <a:pt x="148" y="553"/>
                    </a:cubicBezTo>
                    <a:cubicBezTo>
                      <a:pt x="140" y="514"/>
                      <a:pt x="136" y="471"/>
                      <a:pt x="136" y="422"/>
                    </a:cubicBezTo>
                    <a:cubicBezTo>
                      <a:pt x="136" y="249"/>
                      <a:pt x="193" y="133"/>
                      <a:pt x="304" y="77"/>
                    </a:cubicBezTo>
                    <a:cubicBezTo>
                      <a:pt x="341" y="58"/>
                      <a:pt x="386" y="48"/>
                      <a:pt x="431" y="48"/>
                    </a:cubicBezTo>
                    <a:cubicBezTo>
                      <a:pt x="546" y="48"/>
                      <a:pt x="617" y="109"/>
                      <a:pt x="655" y="159"/>
                    </a:cubicBezTo>
                    <a:cubicBezTo>
                      <a:pt x="717" y="243"/>
                      <a:pt x="726" y="344"/>
                      <a:pt x="727" y="412"/>
                    </a:cubicBezTo>
                    <a:cubicBezTo>
                      <a:pt x="729" y="526"/>
                      <a:pt x="708" y="617"/>
                      <a:pt x="665" y="6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6">
                <a:extLst>
                  <a:ext uri="{FF2B5EF4-FFF2-40B4-BE49-F238E27FC236}">
                    <a16:creationId xmlns:a16="http://schemas.microsoft.com/office/drawing/2014/main" id="{538F93D2-D74F-0A2D-003A-0A4A737A3E5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97293" y="2632758"/>
                <a:ext cx="237649" cy="321921"/>
              </a:xfrm>
              <a:custGeom>
                <a:avLst/>
                <a:gdLst>
                  <a:gd name="T0" fmla="*/ 0 w 619"/>
                  <a:gd name="T1" fmla="*/ 839 h 839"/>
                  <a:gd name="T2" fmla="*/ 0 w 619"/>
                  <a:gd name="T3" fmla="*/ 0 h 839"/>
                  <a:gd name="T4" fmla="*/ 239 w 619"/>
                  <a:gd name="T5" fmla="*/ 0 h 839"/>
                  <a:gd name="T6" fmla="*/ 619 w 619"/>
                  <a:gd name="T7" fmla="*/ 230 h 839"/>
                  <a:gd name="T8" fmla="*/ 243 w 619"/>
                  <a:gd name="T9" fmla="*/ 461 h 839"/>
                  <a:gd name="T10" fmla="*/ 122 w 619"/>
                  <a:gd name="T11" fmla="*/ 461 h 839"/>
                  <a:gd name="T12" fmla="*/ 122 w 619"/>
                  <a:gd name="T13" fmla="*/ 839 h 839"/>
                  <a:gd name="T14" fmla="*/ 0 w 619"/>
                  <a:gd name="T15" fmla="*/ 839 h 839"/>
                  <a:gd name="T16" fmla="*/ 227 w 619"/>
                  <a:gd name="T17" fmla="*/ 40 h 839"/>
                  <a:gd name="T18" fmla="*/ 122 w 619"/>
                  <a:gd name="T19" fmla="*/ 49 h 839"/>
                  <a:gd name="T20" fmla="*/ 122 w 619"/>
                  <a:gd name="T21" fmla="*/ 412 h 839"/>
                  <a:gd name="T22" fmla="*/ 218 w 619"/>
                  <a:gd name="T23" fmla="*/ 412 h 839"/>
                  <a:gd name="T24" fmla="*/ 487 w 619"/>
                  <a:gd name="T25" fmla="*/ 231 h 839"/>
                  <a:gd name="T26" fmla="*/ 227 w 619"/>
                  <a:gd name="T27" fmla="*/ 4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9" h="839">
                    <a:moveTo>
                      <a:pt x="0" y="839"/>
                    </a:moveTo>
                    <a:lnTo>
                      <a:pt x="0" y="0"/>
                    </a:lnTo>
                    <a:lnTo>
                      <a:pt x="239" y="0"/>
                    </a:lnTo>
                    <a:cubicBezTo>
                      <a:pt x="494" y="0"/>
                      <a:pt x="619" y="76"/>
                      <a:pt x="619" y="230"/>
                    </a:cubicBezTo>
                    <a:cubicBezTo>
                      <a:pt x="619" y="446"/>
                      <a:pt x="356" y="461"/>
                      <a:pt x="243" y="461"/>
                    </a:cubicBezTo>
                    <a:lnTo>
                      <a:pt x="122" y="461"/>
                    </a:lnTo>
                    <a:lnTo>
                      <a:pt x="122" y="839"/>
                    </a:lnTo>
                    <a:lnTo>
                      <a:pt x="0" y="839"/>
                    </a:lnTo>
                    <a:close/>
                    <a:moveTo>
                      <a:pt x="227" y="40"/>
                    </a:moveTo>
                    <a:cubicBezTo>
                      <a:pt x="165" y="40"/>
                      <a:pt x="122" y="49"/>
                      <a:pt x="122" y="49"/>
                    </a:cubicBezTo>
                    <a:lnTo>
                      <a:pt x="122" y="412"/>
                    </a:lnTo>
                    <a:lnTo>
                      <a:pt x="218" y="412"/>
                    </a:lnTo>
                    <a:cubicBezTo>
                      <a:pt x="397" y="412"/>
                      <a:pt x="487" y="368"/>
                      <a:pt x="487" y="231"/>
                    </a:cubicBezTo>
                    <a:cubicBezTo>
                      <a:pt x="487" y="140"/>
                      <a:pt x="442" y="40"/>
                      <a:pt x="227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7">
                <a:extLst>
                  <a:ext uri="{FF2B5EF4-FFF2-40B4-BE49-F238E27FC236}">
                    <a16:creationId xmlns:a16="http://schemas.microsoft.com/office/drawing/2014/main" id="{A01F8BB3-B00E-2B3B-89D7-262C85C8E1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70316" y="2632758"/>
                <a:ext cx="242705" cy="326977"/>
              </a:xfrm>
              <a:custGeom>
                <a:avLst/>
                <a:gdLst>
                  <a:gd name="T0" fmla="*/ 336 w 631"/>
                  <a:gd name="T1" fmla="*/ 848 h 848"/>
                  <a:gd name="T2" fmla="*/ 29 w 631"/>
                  <a:gd name="T3" fmla="*/ 729 h 848"/>
                  <a:gd name="T4" fmla="*/ 0 w 631"/>
                  <a:gd name="T5" fmla="*/ 593 h 848"/>
                  <a:gd name="T6" fmla="*/ 0 w 631"/>
                  <a:gd name="T7" fmla="*/ 0 h 848"/>
                  <a:gd name="T8" fmla="*/ 122 w 631"/>
                  <a:gd name="T9" fmla="*/ 0 h 848"/>
                  <a:gd name="T10" fmla="*/ 122 w 631"/>
                  <a:gd name="T11" fmla="*/ 588 h 848"/>
                  <a:gd name="T12" fmla="*/ 336 w 631"/>
                  <a:gd name="T13" fmla="*/ 800 h 848"/>
                  <a:gd name="T14" fmla="*/ 545 w 631"/>
                  <a:gd name="T15" fmla="*/ 601 h 848"/>
                  <a:gd name="T16" fmla="*/ 545 w 631"/>
                  <a:gd name="T17" fmla="*/ 0 h 848"/>
                  <a:gd name="T18" fmla="*/ 631 w 631"/>
                  <a:gd name="T19" fmla="*/ 0 h 848"/>
                  <a:gd name="T20" fmla="*/ 631 w 631"/>
                  <a:gd name="T21" fmla="*/ 609 h 848"/>
                  <a:gd name="T22" fmla="*/ 604 w 631"/>
                  <a:gd name="T23" fmla="*/ 726 h 848"/>
                  <a:gd name="T24" fmla="*/ 336 w 631"/>
                  <a:gd name="T25" fmla="*/ 848 h 8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1" h="848">
                    <a:moveTo>
                      <a:pt x="336" y="848"/>
                    </a:moveTo>
                    <a:cubicBezTo>
                      <a:pt x="236" y="848"/>
                      <a:pt x="88" y="835"/>
                      <a:pt x="29" y="729"/>
                    </a:cubicBezTo>
                    <a:cubicBezTo>
                      <a:pt x="11" y="697"/>
                      <a:pt x="0" y="651"/>
                      <a:pt x="0" y="593"/>
                    </a:cubicBezTo>
                    <a:lnTo>
                      <a:pt x="0" y="0"/>
                    </a:lnTo>
                    <a:lnTo>
                      <a:pt x="122" y="0"/>
                    </a:lnTo>
                    <a:lnTo>
                      <a:pt x="122" y="588"/>
                    </a:lnTo>
                    <a:cubicBezTo>
                      <a:pt x="123" y="641"/>
                      <a:pt x="128" y="800"/>
                      <a:pt x="336" y="800"/>
                    </a:cubicBezTo>
                    <a:cubicBezTo>
                      <a:pt x="399" y="800"/>
                      <a:pt x="545" y="780"/>
                      <a:pt x="545" y="601"/>
                    </a:cubicBezTo>
                    <a:lnTo>
                      <a:pt x="545" y="0"/>
                    </a:lnTo>
                    <a:lnTo>
                      <a:pt x="631" y="0"/>
                    </a:lnTo>
                    <a:lnTo>
                      <a:pt x="631" y="609"/>
                    </a:lnTo>
                    <a:cubicBezTo>
                      <a:pt x="629" y="645"/>
                      <a:pt x="628" y="686"/>
                      <a:pt x="604" y="726"/>
                    </a:cubicBezTo>
                    <a:cubicBezTo>
                      <a:pt x="579" y="771"/>
                      <a:pt x="529" y="848"/>
                      <a:pt x="336" y="8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8">
                <a:extLst>
                  <a:ext uri="{FF2B5EF4-FFF2-40B4-BE49-F238E27FC236}">
                    <a16:creationId xmlns:a16="http://schemas.microsoft.com/office/drawing/2014/main" id="{5F1544A6-66A1-10BB-0575-4A8183369B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83200" y="2629387"/>
                <a:ext cx="294954" cy="330348"/>
              </a:xfrm>
              <a:custGeom>
                <a:avLst/>
                <a:gdLst>
                  <a:gd name="T0" fmla="*/ 457 w 767"/>
                  <a:gd name="T1" fmla="*/ 856 h 856"/>
                  <a:gd name="T2" fmla="*/ 0 w 767"/>
                  <a:gd name="T3" fmla="*/ 428 h 856"/>
                  <a:gd name="T4" fmla="*/ 443 w 767"/>
                  <a:gd name="T5" fmla="*/ 0 h 856"/>
                  <a:gd name="T6" fmla="*/ 767 w 767"/>
                  <a:gd name="T7" fmla="*/ 156 h 856"/>
                  <a:gd name="T8" fmla="*/ 717 w 767"/>
                  <a:gd name="T9" fmla="*/ 208 h 856"/>
                  <a:gd name="T10" fmla="*/ 651 w 767"/>
                  <a:gd name="T11" fmla="*/ 163 h 856"/>
                  <a:gd name="T12" fmla="*/ 441 w 767"/>
                  <a:gd name="T13" fmla="*/ 48 h 856"/>
                  <a:gd name="T14" fmla="*/ 142 w 767"/>
                  <a:gd name="T15" fmla="*/ 407 h 856"/>
                  <a:gd name="T16" fmla="*/ 471 w 767"/>
                  <a:gd name="T17" fmla="*/ 808 h 856"/>
                  <a:gd name="T18" fmla="*/ 600 w 767"/>
                  <a:gd name="T19" fmla="*/ 779 h 856"/>
                  <a:gd name="T20" fmla="*/ 650 w 767"/>
                  <a:gd name="T21" fmla="*/ 668 h 856"/>
                  <a:gd name="T22" fmla="*/ 650 w 767"/>
                  <a:gd name="T23" fmla="*/ 469 h 856"/>
                  <a:gd name="T24" fmla="*/ 543 w 767"/>
                  <a:gd name="T25" fmla="*/ 469 h 856"/>
                  <a:gd name="T26" fmla="*/ 585 w 767"/>
                  <a:gd name="T27" fmla="*/ 420 h 856"/>
                  <a:gd name="T28" fmla="*/ 766 w 767"/>
                  <a:gd name="T29" fmla="*/ 420 h 856"/>
                  <a:gd name="T30" fmla="*/ 766 w 767"/>
                  <a:gd name="T31" fmla="*/ 746 h 856"/>
                  <a:gd name="T32" fmla="*/ 721 w 767"/>
                  <a:gd name="T33" fmla="*/ 788 h 856"/>
                  <a:gd name="T34" fmla="*/ 457 w 767"/>
                  <a:gd name="T35" fmla="*/ 856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67" h="856">
                    <a:moveTo>
                      <a:pt x="457" y="856"/>
                    </a:moveTo>
                    <a:cubicBezTo>
                      <a:pt x="33" y="856"/>
                      <a:pt x="0" y="529"/>
                      <a:pt x="0" y="428"/>
                    </a:cubicBezTo>
                    <a:cubicBezTo>
                      <a:pt x="0" y="172"/>
                      <a:pt x="178" y="0"/>
                      <a:pt x="443" y="0"/>
                    </a:cubicBezTo>
                    <a:cubicBezTo>
                      <a:pt x="671" y="0"/>
                      <a:pt x="767" y="112"/>
                      <a:pt x="767" y="156"/>
                    </a:cubicBezTo>
                    <a:cubicBezTo>
                      <a:pt x="767" y="182"/>
                      <a:pt x="741" y="208"/>
                      <a:pt x="717" y="208"/>
                    </a:cubicBezTo>
                    <a:cubicBezTo>
                      <a:pt x="686" y="208"/>
                      <a:pt x="673" y="193"/>
                      <a:pt x="651" y="163"/>
                    </a:cubicBezTo>
                    <a:cubicBezTo>
                      <a:pt x="619" y="120"/>
                      <a:pt x="565" y="48"/>
                      <a:pt x="441" y="48"/>
                    </a:cubicBezTo>
                    <a:cubicBezTo>
                      <a:pt x="259" y="48"/>
                      <a:pt x="142" y="182"/>
                      <a:pt x="142" y="407"/>
                    </a:cubicBezTo>
                    <a:cubicBezTo>
                      <a:pt x="142" y="654"/>
                      <a:pt x="268" y="808"/>
                      <a:pt x="471" y="808"/>
                    </a:cubicBezTo>
                    <a:cubicBezTo>
                      <a:pt x="521" y="808"/>
                      <a:pt x="569" y="797"/>
                      <a:pt x="600" y="779"/>
                    </a:cubicBezTo>
                    <a:cubicBezTo>
                      <a:pt x="650" y="748"/>
                      <a:pt x="650" y="706"/>
                      <a:pt x="650" y="668"/>
                    </a:cubicBezTo>
                    <a:lnTo>
                      <a:pt x="650" y="469"/>
                    </a:lnTo>
                    <a:lnTo>
                      <a:pt x="543" y="469"/>
                    </a:lnTo>
                    <a:lnTo>
                      <a:pt x="585" y="420"/>
                    </a:lnTo>
                    <a:lnTo>
                      <a:pt x="766" y="420"/>
                    </a:lnTo>
                    <a:lnTo>
                      <a:pt x="766" y="746"/>
                    </a:lnTo>
                    <a:cubicBezTo>
                      <a:pt x="756" y="759"/>
                      <a:pt x="741" y="773"/>
                      <a:pt x="721" y="788"/>
                    </a:cubicBezTo>
                    <a:cubicBezTo>
                      <a:pt x="682" y="817"/>
                      <a:pt x="613" y="856"/>
                      <a:pt x="457" y="8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9">
                <a:extLst>
                  <a:ext uri="{FF2B5EF4-FFF2-40B4-BE49-F238E27FC236}">
                    <a16:creationId xmlns:a16="http://schemas.microsoft.com/office/drawing/2014/main" id="{535441DB-04F2-E539-E4A6-E441D254686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70854" y="2632758"/>
                <a:ext cx="247762" cy="321921"/>
              </a:xfrm>
              <a:custGeom>
                <a:avLst/>
                <a:gdLst>
                  <a:gd name="T0" fmla="*/ 646 w 646"/>
                  <a:gd name="T1" fmla="*/ 839 h 839"/>
                  <a:gd name="T2" fmla="*/ 358 w 646"/>
                  <a:gd name="T3" fmla="*/ 451 h 839"/>
                  <a:gd name="T4" fmla="*/ 410 w 646"/>
                  <a:gd name="T5" fmla="*/ 440 h 839"/>
                  <a:gd name="T6" fmla="*/ 601 w 646"/>
                  <a:gd name="T7" fmla="*/ 230 h 839"/>
                  <a:gd name="T8" fmla="*/ 514 w 646"/>
                  <a:gd name="T9" fmla="*/ 58 h 839"/>
                  <a:gd name="T10" fmla="*/ 231 w 646"/>
                  <a:gd name="T11" fmla="*/ 0 h 839"/>
                  <a:gd name="T12" fmla="*/ 0 w 646"/>
                  <a:gd name="T13" fmla="*/ 0 h 839"/>
                  <a:gd name="T14" fmla="*/ 0 w 646"/>
                  <a:gd name="T15" fmla="*/ 839 h 839"/>
                  <a:gd name="T16" fmla="*/ 121 w 646"/>
                  <a:gd name="T17" fmla="*/ 839 h 839"/>
                  <a:gd name="T18" fmla="*/ 121 w 646"/>
                  <a:gd name="T19" fmla="*/ 527 h 839"/>
                  <a:gd name="T20" fmla="*/ 196 w 646"/>
                  <a:gd name="T21" fmla="*/ 461 h 839"/>
                  <a:gd name="T22" fmla="*/ 279 w 646"/>
                  <a:gd name="T23" fmla="*/ 508 h 839"/>
                  <a:gd name="T24" fmla="*/ 513 w 646"/>
                  <a:gd name="T25" fmla="*/ 839 h 839"/>
                  <a:gd name="T26" fmla="*/ 646 w 646"/>
                  <a:gd name="T27" fmla="*/ 839 h 839"/>
                  <a:gd name="T28" fmla="*/ 258 w 646"/>
                  <a:gd name="T29" fmla="*/ 410 h 839"/>
                  <a:gd name="T30" fmla="*/ 210 w 646"/>
                  <a:gd name="T31" fmla="*/ 412 h 839"/>
                  <a:gd name="T32" fmla="*/ 121 w 646"/>
                  <a:gd name="T33" fmla="*/ 412 h 839"/>
                  <a:gd name="T34" fmla="*/ 121 w 646"/>
                  <a:gd name="T35" fmla="*/ 49 h 839"/>
                  <a:gd name="T36" fmla="*/ 224 w 646"/>
                  <a:gd name="T37" fmla="*/ 40 h 839"/>
                  <a:gd name="T38" fmla="*/ 469 w 646"/>
                  <a:gd name="T39" fmla="*/ 234 h 839"/>
                  <a:gd name="T40" fmla="*/ 258 w 646"/>
                  <a:gd name="T41" fmla="*/ 41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6" h="839">
                    <a:moveTo>
                      <a:pt x="646" y="839"/>
                    </a:moveTo>
                    <a:lnTo>
                      <a:pt x="358" y="451"/>
                    </a:lnTo>
                    <a:cubicBezTo>
                      <a:pt x="358" y="451"/>
                      <a:pt x="398" y="443"/>
                      <a:pt x="410" y="440"/>
                    </a:cubicBezTo>
                    <a:cubicBezTo>
                      <a:pt x="458" y="427"/>
                      <a:pt x="601" y="390"/>
                      <a:pt x="601" y="230"/>
                    </a:cubicBezTo>
                    <a:cubicBezTo>
                      <a:pt x="601" y="153"/>
                      <a:pt x="566" y="94"/>
                      <a:pt x="514" y="58"/>
                    </a:cubicBezTo>
                    <a:cubicBezTo>
                      <a:pt x="440" y="8"/>
                      <a:pt x="330" y="0"/>
                      <a:pt x="231" y="0"/>
                    </a:cubicBezTo>
                    <a:lnTo>
                      <a:pt x="0" y="0"/>
                    </a:lnTo>
                    <a:lnTo>
                      <a:pt x="0" y="839"/>
                    </a:lnTo>
                    <a:lnTo>
                      <a:pt x="121" y="839"/>
                    </a:lnTo>
                    <a:lnTo>
                      <a:pt x="121" y="527"/>
                    </a:lnTo>
                    <a:cubicBezTo>
                      <a:pt x="121" y="474"/>
                      <a:pt x="153" y="461"/>
                      <a:pt x="196" y="461"/>
                    </a:cubicBezTo>
                    <a:cubicBezTo>
                      <a:pt x="220" y="461"/>
                      <a:pt x="254" y="469"/>
                      <a:pt x="279" y="508"/>
                    </a:cubicBezTo>
                    <a:lnTo>
                      <a:pt x="513" y="839"/>
                    </a:lnTo>
                    <a:lnTo>
                      <a:pt x="646" y="839"/>
                    </a:lnTo>
                    <a:close/>
                    <a:moveTo>
                      <a:pt x="258" y="410"/>
                    </a:moveTo>
                    <a:cubicBezTo>
                      <a:pt x="242" y="412"/>
                      <a:pt x="229" y="412"/>
                      <a:pt x="210" y="412"/>
                    </a:cubicBezTo>
                    <a:lnTo>
                      <a:pt x="121" y="412"/>
                    </a:lnTo>
                    <a:lnTo>
                      <a:pt x="121" y="49"/>
                    </a:lnTo>
                    <a:cubicBezTo>
                      <a:pt x="121" y="49"/>
                      <a:pt x="163" y="40"/>
                      <a:pt x="224" y="40"/>
                    </a:cubicBezTo>
                    <a:cubicBezTo>
                      <a:pt x="387" y="40"/>
                      <a:pt x="469" y="110"/>
                      <a:pt x="469" y="234"/>
                    </a:cubicBezTo>
                    <a:cubicBezTo>
                      <a:pt x="469" y="359"/>
                      <a:pt x="390" y="397"/>
                      <a:pt x="258" y="4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0">
                <a:extLst>
                  <a:ext uri="{FF2B5EF4-FFF2-40B4-BE49-F238E27FC236}">
                    <a16:creationId xmlns:a16="http://schemas.microsoft.com/office/drawing/2014/main" id="{2E365AA1-706B-61C6-8C29-4C980A28A1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8330" y="1828800"/>
                <a:ext cx="1324763" cy="571367"/>
              </a:xfrm>
              <a:custGeom>
                <a:avLst/>
                <a:gdLst>
                  <a:gd name="T0" fmla="*/ 3369 w 3451"/>
                  <a:gd name="T1" fmla="*/ 1140 h 1483"/>
                  <a:gd name="T2" fmla="*/ 3309 w 3451"/>
                  <a:gd name="T3" fmla="*/ 1133 h 1483"/>
                  <a:gd name="T4" fmla="*/ 3226 w 3451"/>
                  <a:gd name="T5" fmla="*/ 1142 h 1483"/>
                  <a:gd name="T6" fmla="*/ 3249 w 3451"/>
                  <a:gd name="T7" fmla="*/ 1310 h 1483"/>
                  <a:gd name="T8" fmla="*/ 2720 w 3451"/>
                  <a:gd name="T9" fmla="*/ 1296 h 1483"/>
                  <a:gd name="T10" fmla="*/ 1915 w 3451"/>
                  <a:gd name="T11" fmla="*/ 339 h 1483"/>
                  <a:gd name="T12" fmla="*/ 920 w 3451"/>
                  <a:gd name="T13" fmla="*/ 132 h 1483"/>
                  <a:gd name="T14" fmla="*/ 629 w 3451"/>
                  <a:gd name="T15" fmla="*/ 1140 h 1483"/>
                  <a:gd name="T16" fmla="*/ 477 w 3451"/>
                  <a:gd name="T17" fmla="*/ 602 h 1483"/>
                  <a:gd name="T18" fmla="*/ 432 w 3451"/>
                  <a:gd name="T19" fmla="*/ 614 h 1483"/>
                  <a:gd name="T20" fmla="*/ 1 w 3451"/>
                  <a:gd name="T21" fmla="*/ 502 h 1483"/>
                  <a:gd name="T22" fmla="*/ 1 w 3451"/>
                  <a:gd name="T23" fmla="*/ 508 h 1483"/>
                  <a:gd name="T24" fmla="*/ 318 w 3451"/>
                  <a:gd name="T25" fmla="*/ 709 h 1483"/>
                  <a:gd name="T26" fmla="*/ 783 w 3451"/>
                  <a:gd name="T27" fmla="*/ 1225 h 1483"/>
                  <a:gd name="T28" fmla="*/ 721 w 3451"/>
                  <a:gd name="T29" fmla="*/ 716 h 1483"/>
                  <a:gd name="T30" fmla="*/ 1302 w 3451"/>
                  <a:gd name="T31" fmla="*/ 155 h 1483"/>
                  <a:gd name="T32" fmla="*/ 2060 w 3451"/>
                  <a:gd name="T33" fmla="*/ 739 h 1483"/>
                  <a:gd name="T34" fmla="*/ 2831 w 3451"/>
                  <a:gd name="T35" fmla="*/ 1417 h 1483"/>
                  <a:gd name="T36" fmla="*/ 3332 w 3451"/>
                  <a:gd name="T37" fmla="*/ 1403 h 1483"/>
                  <a:gd name="T38" fmla="*/ 3369 w 3451"/>
                  <a:gd name="T39" fmla="*/ 1140 h 1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451" h="1483">
                    <a:moveTo>
                      <a:pt x="3369" y="1140"/>
                    </a:moveTo>
                    <a:cubicBezTo>
                      <a:pt x="3355" y="1137"/>
                      <a:pt x="3325" y="1134"/>
                      <a:pt x="3309" y="1133"/>
                    </a:cubicBezTo>
                    <a:cubicBezTo>
                      <a:pt x="3280" y="1132"/>
                      <a:pt x="3252" y="1136"/>
                      <a:pt x="3226" y="1142"/>
                    </a:cubicBezTo>
                    <a:cubicBezTo>
                      <a:pt x="3279" y="1188"/>
                      <a:pt x="3277" y="1256"/>
                      <a:pt x="3249" y="1310"/>
                    </a:cubicBezTo>
                    <a:cubicBezTo>
                      <a:pt x="3166" y="1476"/>
                      <a:pt x="2841" y="1377"/>
                      <a:pt x="2720" y="1296"/>
                    </a:cubicBezTo>
                    <a:cubicBezTo>
                      <a:pt x="2348" y="1048"/>
                      <a:pt x="2126" y="577"/>
                      <a:pt x="1915" y="339"/>
                    </a:cubicBezTo>
                    <a:cubicBezTo>
                      <a:pt x="1619" y="7"/>
                      <a:pt x="1185" y="0"/>
                      <a:pt x="920" y="132"/>
                    </a:cubicBezTo>
                    <a:cubicBezTo>
                      <a:pt x="590" y="296"/>
                      <a:pt x="509" y="754"/>
                      <a:pt x="629" y="1140"/>
                    </a:cubicBezTo>
                    <a:cubicBezTo>
                      <a:pt x="469" y="1092"/>
                      <a:pt x="401" y="783"/>
                      <a:pt x="477" y="602"/>
                    </a:cubicBezTo>
                    <a:cubicBezTo>
                      <a:pt x="463" y="606"/>
                      <a:pt x="448" y="610"/>
                      <a:pt x="432" y="614"/>
                    </a:cubicBezTo>
                    <a:cubicBezTo>
                      <a:pt x="262" y="653"/>
                      <a:pt x="95" y="605"/>
                      <a:pt x="1" y="502"/>
                    </a:cubicBezTo>
                    <a:cubicBezTo>
                      <a:pt x="0" y="504"/>
                      <a:pt x="0" y="506"/>
                      <a:pt x="1" y="508"/>
                    </a:cubicBezTo>
                    <a:cubicBezTo>
                      <a:pt x="54" y="629"/>
                      <a:pt x="163" y="706"/>
                      <a:pt x="318" y="709"/>
                    </a:cubicBezTo>
                    <a:cubicBezTo>
                      <a:pt x="308" y="1119"/>
                      <a:pt x="539" y="1245"/>
                      <a:pt x="783" y="1225"/>
                    </a:cubicBezTo>
                    <a:cubicBezTo>
                      <a:pt x="716" y="1100"/>
                      <a:pt x="698" y="880"/>
                      <a:pt x="721" y="716"/>
                    </a:cubicBezTo>
                    <a:cubicBezTo>
                      <a:pt x="743" y="563"/>
                      <a:pt x="878" y="167"/>
                      <a:pt x="1302" y="155"/>
                    </a:cubicBezTo>
                    <a:cubicBezTo>
                      <a:pt x="1710" y="143"/>
                      <a:pt x="1863" y="492"/>
                      <a:pt x="2060" y="739"/>
                    </a:cubicBezTo>
                    <a:cubicBezTo>
                      <a:pt x="2230" y="952"/>
                      <a:pt x="2501" y="1307"/>
                      <a:pt x="2831" y="1417"/>
                    </a:cubicBezTo>
                    <a:cubicBezTo>
                      <a:pt x="2984" y="1468"/>
                      <a:pt x="3195" y="1483"/>
                      <a:pt x="3332" y="1403"/>
                    </a:cubicBezTo>
                    <a:cubicBezTo>
                      <a:pt x="3417" y="1354"/>
                      <a:pt x="3451" y="1217"/>
                      <a:pt x="3369" y="11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1">
                <a:extLst>
                  <a:ext uri="{FF2B5EF4-FFF2-40B4-BE49-F238E27FC236}">
                    <a16:creationId xmlns:a16="http://schemas.microsoft.com/office/drawing/2014/main" id="{7AF94B6A-CDD1-EC11-3693-357572F6C6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8688" y="2273758"/>
                <a:ext cx="524175" cy="291583"/>
              </a:xfrm>
              <a:custGeom>
                <a:avLst/>
                <a:gdLst>
                  <a:gd name="T0" fmla="*/ 1257 w 1369"/>
                  <a:gd name="T1" fmla="*/ 706 h 756"/>
                  <a:gd name="T2" fmla="*/ 1001 w 1369"/>
                  <a:gd name="T3" fmla="*/ 535 h 756"/>
                  <a:gd name="T4" fmla="*/ 912 w 1369"/>
                  <a:gd name="T5" fmla="*/ 292 h 756"/>
                  <a:gd name="T6" fmla="*/ 915 w 1369"/>
                  <a:gd name="T7" fmla="*/ 255 h 756"/>
                  <a:gd name="T8" fmla="*/ 848 w 1369"/>
                  <a:gd name="T9" fmla="*/ 248 h 756"/>
                  <a:gd name="T10" fmla="*/ 764 w 1369"/>
                  <a:gd name="T11" fmla="*/ 257 h 756"/>
                  <a:gd name="T12" fmla="*/ 420 w 1369"/>
                  <a:gd name="T13" fmla="*/ 354 h 756"/>
                  <a:gd name="T14" fmla="*/ 134 w 1369"/>
                  <a:gd name="T15" fmla="*/ 21 h 756"/>
                  <a:gd name="T16" fmla="*/ 115 w 1369"/>
                  <a:gd name="T17" fmla="*/ 0 h 756"/>
                  <a:gd name="T18" fmla="*/ 0 w 1369"/>
                  <a:gd name="T19" fmla="*/ 38 h 756"/>
                  <a:gd name="T20" fmla="*/ 84 w 1369"/>
                  <a:gd name="T21" fmla="*/ 169 h 756"/>
                  <a:gd name="T22" fmla="*/ 380 w 1369"/>
                  <a:gd name="T23" fmla="*/ 391 h 756"/>
                  <a:gd name="T24" fmla="*/ 768 w 1369"/>
                  <a:gd name="T25" fmla="*/ 359 h 756"/>
                  <a:gd name="T26" fmla="*/ 876 w 1369"/>
                  <a:gd name="T27" fmla="*/ 567 h 756"/>
                  <a:gd name="T28" fmla="*/ 1158 w 1369"/>
                  <a:gd name="T29" fmla="*/ 732 h 756"/>
                  <a:gd name="T30" fmla="*/ 1369 w 1369"/>
                  <a:gd name="T31" fmla="*/ 735 h 756"/>
                  <a:gd name="T32" fmla="*/ 1257 w 1369"/>
                  <a:gd name="T33" fmla="*/ 706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69" h="756">
                    <a:moveTo>
                      <a:pt x="1257" y="706"/>
                    </a:moveTo>
                    <a:cubicBezTo>
                      <a:pt x="1149" y="670"/>
                      <a:pt x="1061" y="610"/>
                      <a:pt x="1001" y="535"/>
                    </a:cubicBezTo>
                    <a:cubicBezTo>
                      <a:pt x="944" y="465"/>
                      <a:pt x="911" y="375"/>
                      <a:pt x="912" y="292"/>
                    </a:cubicBezTo>
                    <a:cubicBezTo>
                      <a:pt x="912" y="279"/>
                      <a:pt x="915" y="255"/>
                      <a:pt x="915" y="255"/>
                    </a:cubicBezTo>
                    <a:cubicBezTo>
                      <a:pt x="915" y="255"/>
                      <a:pt x="883" y="248"/>
                      <a:pt x="848" y="248"/>
                    </a:cubicBezTo>
                    <a:cubicBezTo>
                      <a:pt x="791" y="248"/>
                      <a:pt x="764" y="257"/>
                      <a:pt x="764" y="257"/>
                    </a:cubicBezTo>
                    <a:cubicBezTo>
                      <a:pt x="764" y="257"/>
                      <a:pt x="631" y="406"/>
                      <a:pt x="420" y="354"/>
                    </a:cubicBezTo>
                    <a:cubicBezTo>
                      <a:pt x="219" y="304"/>
                      <a:pt x="225" y="126"/>
                      <a:pt x="134" y="21"/>
                    </a:cubicBezTo>
                    <a:cubicBezTo>
                      <a:pt x="128" y="13"/>
                      <a:pt x="122" y="7"/>
                      <a:pt x="115" y="0"/>
                    </a:cubicBezTo>
                    <a:lnTo>
                      <a:pt x="0" y="38"/>
                    </a:lnTo>
                    <a:cubicBezTo>
                      <a:pt x="28" y="69"/>
                      <a:pt x="57" y="111"/>
                      <a:pt x="84" y="169"/>
                    </a:cubicBezTo>
                    <a:cubicBezTo>
                      <a:pt x="123" y="256"/>
                      <a:pt x="214" y="355"/>
                      <a:pt x="380" y="391"/>
                    </a:cubicBezTo>
                    <a:cubicBezTo>
                      <a:pt x="503" y="418"/>
                      <a:pt x="639" y="411"/>
                      <a:pt x="768" y="359"/>
                    </a:cubicBezTo>
                    <a:cubicBezTo>
                      <a:pt x="782" y="433"/>
                      <a:pt x="820" y="506"/>
                      <a:pt x="876" y="567"/>
                    </a:cubicBezTo>
                    <a:cubicBezTo>
                      <a:pt x="942" y="639"/>
                      <a:pt x="1048" y="699"/>
                      <a:pt x="1158" y="732"/>
                    </a:cubicBezTo>
                    <a:cubicBezTo>
                      <a:pt x="1239" y="756"/>
                      <a:pt x="1330" y="754"/>
                      <a:pt x="1369" y="735"/>
                    </a:cubicBezTo>
                    <a:cubicBezTo>
                      <a:pt x="1331" y="728"/>
                      <a:pt x="1293" y="718"/>
                      <a:pt x="1257" y="7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2">
                <a:extLst>
                  <a:ext uri="{FF2B5EF4-FFF2-40B4-BE49-F238E27FC236}">
                    <a16:creationId xmlns:a16="http://schemas.microsoft.com/office/drawing/2014/main" id="{D1504049-4F71-2FB5-F9A5-E7CB3BB2AF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678" y="2074875"/>
                <a:ext cx="372485" cy="353944"/>
              </a:xfrm>
              <a:custGeom>
                <a:avLst/>
                <a:gdLst>
                  <a:gd name="T0" fmla="*/ 714 w 973"/>
                  <a:gd name="T1" fmla="*/ 43 h 919"/>
                  <a:gd name="T2" fmla="*/ 246 w 973"/>
                  <a:gd name="T3" fmla="*/ 151 h 919"/>
                  <a:gd name="T4" fmla="*/ 208 w 973"/>
                  <a:gd name="T5" fmla="*/ 877 h 919"/>
                  <a:gd name="T6" fmla="*/ 240 w 973"/>
                  <a:gd name="T7" fmla="*/ 912 h 919"/>
                  <a:gd name="T8" fmla="*/ 314 w 973"/>
                  <a:gd name="T9" fmla="*/ 912 h 919"/>
                  <a:gd name="T10" fmla="*/ 396 w 973"/>
                  <a:gd name="T11" fmla="*/ 879 h 919"/>
                  <a:gd name="T12" fmla="*/ 209 w 973"/>
                  <a:gd name="T13" fmla="*/ 575 h 919"/>
                  <a:gd name="T14" fmla="*/ 688 w 973"/>
                  <a:gd name="T15" fmla="*/ 98 h 919"/>
                  <a:gd name="T16" fmla="*/ 772 w 973"/>
                  <a:gd name="T17" fmla="*/ 320 h 919"/>
                  <a:gd name="T18" fmla="*/ 578 w 973"/>
                  <a:gd name="T19" fmla="*/ 371 h 919"/>
                  <a:gd name="T20" fmla="*/ 683 w 973"/>
                  <a:gd name="T21" fmla="*/ 473 h 919"/>
                  <a:gd name="T22" fmla="*/ 898 w 973"/>
                  <a:gd name="T23" fmla="*/ 348 h 919"/>
                  <a:gd name="T24" fmla="*/ 714 w 973"/>
                  <a:gd name="T25" fmla="*/ 43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73" h="919">
                    <a:moveTo>
                      <a:pt x="714" y="43"/>
                    </a:moveTo>
                    <a:cubicBezTo>
                      <a:pt x="514" y="0"/>
                      <a:pt x="346" y="70"/>
                      <a:pt x="246" y="151"/>
                    </a:cubicBezTo>
                    <a:cubicBezTo>
                      <a:pt x="0" y="348"/>
                      <a:pt x="25" y="659"/>
                      <a:pt x="208" y="877"/>
                    </a:cubicBezTo>
                    <a:cubicBezTo>
                      <a:pt x="218" y="889"/>
                      <a:pt x="240" y="912"/>
                      <a:pt x="240" y="912"/>
                    </a:cubicBezTo>
                    <a:cubicBezTo>
                      <a:pt x="240" y="912"/>
                      <a:pt x="266" y="919"/>
                      <a:pt x="314" y="912"/>
                    </a:cubicBezTo>
                    <a:cubicBezTo>
                      <a:pt x="348" y="907"/>
                      <a:pt x="396" y="879"/>
                      <a:pt x="396" y="879"/>
                    </a:cubicBezTo>
                    <a:cubicBezTo>
                      <a:pt x="396" y="879"/>
                      <a:pt x="245" y="761"/>
                      <a:pt x="209" y="575"/>
                    </a:cubicBezTo>
                    <a:cubicBezTo>
                      <a:pt x="145" y="243"/>
                      <a:pt x="437" y="52"/>
                      <a:pt x="688" y="98"/>
                    </a:cubicBezTo>
                    <a:cubicBezTo>
                      <a:pt x="831" y="124"/>
                      <a:pt x="842" y="257"/>
                      <a:pt x="772" y="320"/>
                    </a:cubicBezTo>
                    <a:cubicBezTo>
                      <a:pt x="708" y="377"/>
                      <a:pt x="622" y="376"/>
                      <a:pt x="578" y="371"/>
                    </a:cubicBezTo>
                    <a:cubicBezTo>
                      <a:pt x="616" y="392"/>
                      <a:pt x="653" y="427"/>
                      <a:pt x="683" y="473"/>
                    </a:cubicBezTo>
                    <a:cubicBezTo>
                      <a:pt x="683" y="473"/>
                      <a:pt x="819" y="458"/>
                      <a:pt x="898" y="348"/>
                    </a:cubicBezTo>
                    <a:cubicBezTo>
                      <a:pt x="973" y="245"/>
                      <a:pt x="913" y="86"/>
                      <a:pt x="71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13">
                <a:extLst>
                  <a:ext uri="{FF2B5EF4-FFF2-40B4-BE49-F238E27FC236}">
                    <a16:creationId xmlns:a16="http://schemas.microsoft.com/office/drawing/2014/main" id="{B0CAF858-3CA7-9454-1A14-9DC8C3C554F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89912" y="2632758"/>
                <a:ext cx="64047" cy="3219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4">
                <a:extLst>
                  <a:ext uri="{FF2B5EF4-FFF2-40B4-BE49-F238E27FC236}">
                    <a16:creationId xmlns:a16="http://schemas.microsoft.com/office/drawing/2014/main" id="{9633F193-F5B4-706B-C659-386F513E4D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4313" y="2632758"/>
                <a:ext cx="215738" cy="321921"/>
              </a:xfrm>
              <a:custGeom>
                <a:avLst/>
                <a:gdLst>
                  <a:gd name="T0" fmla="*/ 0 w 562"/>
                  <a:gd name="T1" fmla="*/ 839 h 839"/>
                  <a:gd name="T2" fmla="*/ 0 w 562"/>
                  <a:gd name="T3" fmla="*/ 0 h 839"/>
                  <a:gd name="T4" fmla="*/ 164 w 562"/>
                  <a:gd name="T5" fmla="*/ 0 h 839"/>
                  <a:gd name="T6" fmla="*/ 164 w 562"/>
                  <a:gd name="T7" fmla="*/ 756 h 839"/>
                  <a:gd name="T8" fmla="*/ 485 w 562"/>
                  <a:gd name="T9" fmla="*/ 756 h 839"/>
                  <a:gd name="T10" fmla="*/ 562 w 562"/>
                  <a:gd name="T11" fmla="*/ 839 h 839"/>
                  <a:gd name="T12" fmla="*/ 0 w 562"/>
                  <a:gd name="T13" fmla="*/ 839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2" h="839">
                    <a:moveTo>
                      <a:pt x="0" y="839"/>
                    </a:moveTo>
                    <a:lnTo>
                      <a:pt x="0" y="0"/>
                    </a:lnTo>
                    <a:lnTo>
                      <a:pt x="164" y="0"/>
                    </a:lnTo>
                    <a:lnTo>
                      <a:pt x="164" y="756"/>
                    </a:lnTo>
                    <a:lnTo>
                      <a:pt x="485" y="756"/>
                    </a:lnTo>
                    <a:lnTo>
                      <a:pt x="562" y="839"/>
                    </a:lnTo>
                    <a:lnTo>
                      <a:pt x="0" y="8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5">
                <a:extLst>
                  <a:ext uri="{FF2B5EF4-FFF2-40B4-BE49-F238E27FC236}">
                    <a16:creationId xmlns:a16="http://schemas.microsoft.com/office/drawing/2014/main" id="{FE808231-49D5-D802-D675-C6746713E4F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30912" y="2629387"/>
                <a:ext cx="267987" cy="330348"/>
              </a:xfrm>
              <a:custGeom>
                <a:avLst/>
                <a:gdLst>
                  <a:gd name="T0" fmla="*/ 0 w 698"/>
                  <a:gd name="T1" fmla="*/ 856 h 856"/>
                  <a:gd name="T2" fmla="*/ 0 w 698"/>
                  <a:gd name="T3" fmla="*/ 0 h 856"/>
                  <a:gd name="T4" fmla="*/ 250 w 698"/>
                  <a:gd name="T5" fmla="*/ 0 h 856"/>
                  <a:gd name="T6" fmla="*/ 537 w 698"/>
                  <a:gd name="T7" fmla="*/ 45 h 856"/>
                  <a:gd name="T8" fmla="*/ 641 w 698"/>
                  <a:gd name="T9" fmla="*/ 197 h 856"/>
                  <a:gd name="T10" fmla="*/ 488 w 698"/>
                  <a:gd name="T11" fmla="*/ 379 h 856"/>
                  <a:gd name="T12" fmla="*/ 443 w 698"/>
                  <a:gd name="T13" fmla="*/ 394 h 856"/>
                  <a:gd name="T14" fmla="*/ 501 w 698"/>
                  <a:gd name="T15" fmla="*/ 414 h 856"/>
                  <a:gd name="T16" fmla="*/ 698 w 698"/>
                  <a:gd name="T17" fmla="*/ 630 h 856"/>
                  <a:gd name="T18" fmla="*/ 541 w 698"/>
                  <a:gd name="T19" fmla="*/ 822 h 856"/>
                  <a:gd name="T20" fmla="*/ 250 w 698"/>
                  <a:gd name="T21" fmla="*/ 856 h 856"/>
                  <a:gd name="T22" fmla="*/ 0 w 698"/>
                  <a:gd name="T23" fmla="*/ 856 h 856"/>
                  <a:gd name="T24" fmla="*/ 161 w 698"/>
                  <a:gd name="T25" fmla="*/ 712 h 856"/>
                  <a:gd name="T26" fmla="*/ 177 w 698"/>
                  <a:gd name="T27" fmla="*/ 763 h 856"/>
                  <a:gd name="T28" fmla="*/ 277 w 698"/>
                  <a:gd name="T29" fmla="*/ 785 h 856"/>
                  <a:gd name="T30" fmla="*/ 528 w 698"/>
                  <a:gd name="T31" fmla="*/ 619 h 856"/>
                  <a:gd name="T32" fmla="*/ 267 w 698"/>
                  <a:gd name="T33" fmla="*/ 435 h 856"/>
                  <a:gd name="T34" fmla="*/ 251 w 698"/>
                  <a:gd name="T35" fmla="*/ 435 h 856"/>
                  <a:gd name="T36" fmla="*/ 161 w 698"/>
                  <a:gd name="T37" fmla="*/ 435 h 856"/>
                  <a:gd name="T38" fmla="*/ 161 w 698"/>
                  <a:gd name="T39" fmla="*/ 712 h 856"/>
                  <a:gd name="T40" fmla="*/ 296 w 698"/>
                  <a:gd name="T41" fmla="*/ 374 h 856"/>
                  <a:gd name="T42" fmla="*/ 479 w 698"/>
                  <a:gd name="T43" fmla="*/ 222 h 856"/>
                  <a:gd name="T44" fmla="*/ 260 w 698"/>
                  <a:gd name="T45" fmla="*/ 65 h 856"/>
                  <a:gd name="T46" fmla="*/ 177 w 698"/>
                  <a:gd name="T47" fmla="*/ 70 h 856"/>
                  <a:gd name="T48" fmla="*/ 161 w 698"/>
                  <a:gd name="T49" fmla="*/ 72 h 856"/>
                  <a:gd name="T50" fmla="*/ 161 w 698"/>
                  <a:gd name="T51" fmla="*/ 374 h 856"/>
                  <a:gd name="T52" fmla="*/ 296 w 698"/>
                  <a:gd name="T53" fmla="*/ 37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8" h="856">
                    <a:moveTo>
                      <a:pt x="0" y="856"/>
                    </a:moveTo>
                    <a:lnTo>
                      <a:pt x="0" y="0"/>
                    </a:lnTo>
                    <a:lnTo>
                      <a:pt x="250" y="0"/>
                    </a:lnTo>
                    <a:cubicBezTo>
                      <a:pt x="342" y="0"/>
                      <a:pt x="457" y="5"/>
                      <a:pt x="537" y="45"/>
                    </a:cubicBezTo>
                    <a:cubicBezTo>
                      <a:pt x="605" y="80"/>
                      <a:pt x="641" y="132"/>
                      <a:pt x="641" y="197"/>
                    </a:cubicBezTo>
                    <a:cubicBezTo>
                      <a:pt x="641" y="289"/>
                      <a:pt x="562" y="352"/>
                      <a:pt x="488" y="379"/>
                    </a:cubicBezTo>
                    <a:cubicBezTo>
                      <a:pt x="468" y="386"/>
                      <a:pt x="454" y="391"/>
                      <a:pt x="443" y="394"/>
                    </a:cubicBezTo>
                    <a:cubicBezTo>
                      <a:pt x="459" y="399"/>
                      <a:pt x="481" y="406"/>
                      <a:pt x="501" y="414"/>
                    </a:cubicBezTo>
                    <a:cubicBezTo>
                      <a:pt x="673" y="480"/>
                      <a:pt x="698" y="578"/>
                      <a:pt x="698" y="630"/>
                    </a:cubicBezTo>
                    <a:cubicBezTo>
                      <a:pt x="698" y="740"/>
                      <a:pt x="612" y="795"/>
                      <a:pt x="541" y="822"/>
                    </a:cubicBezTo>
                    <a:cubicBezTo>
                      <a:pt x="471" y="845"/>
                      <a:pt x="381" y="856"/>
                      <a:pt x="250" y="856"/>
                    </a:cubicBezTo>
                    <a:lnTo>
                      <a:pt x="0" y="856"/>
                    </a:lnTo>
                    <a:close/>
                    <a:moveTo>
                      <a:pt x="161" y="712"/>
                    </a:moveTo>
                    <a:cubicBezTo>
                      <a:pt x="161" y="728"/>
                      <a:pt x="160" y="748"/>
                      <a:pt x="177" y="763"/>
                    </a:cubicBezTo>
                    <a:cubicBezTo>
                      <a:pt x="194" y="779"/>
                      <a:pt x="225" y="785"/>
                      <a:pt x="277" y="785"/>
                    </a:cubicBezTo>
                    <a:cubicBezTo>
                      <a:pt x="439" y="785"/>
                      <a:pt x="528" y="726"/>
                      <a:pt x="528" y="619"/>
                    </a:cubicBezTo>
                    <a:cubicBezTo>
                      <a:pt x="528" y="505"/>
                      <a:pt x="440" y="443"/>
                      <a:pt x="267" y="435"/>
                    </a:cubicBezTo>
                    <a:cubicBezTo>
                      <a:pt x="266" y="435"/>
                      <a:pt x="252" y="435"/>
                      <a:pt x="251" y="435"/>
                    </a:cubicBezTo>
                    <a:lnTo>
                      <a:pt x="161" y="435"/>
                    </a:lnTo>
                    <a:lnTo>
                      <a:pt x="161" y="712"/>
                    </a:lnTo>
                    <a:close/>
                    <a:moveTo>
                      <a:pt x="296" y="374"/>
                    </a:moveTo>
                    <a:cubicBezTo>
                      <a:pt x="425" y="374"/>
                      <a:pt x="479" y="265"/>
                      <a:pt x="479" y="222"/>
                    </a:cubicBezTo>
                    <a:cubicBezTo>
                      <a:pt x="479" y="122"/>
                      <a:pt x="399" y="65"/>
                      <a:pt x="260" y="65"/>
                    </a:cubicBezTo>
                    <a:cubicBezTo>
                      <a:pt x="228" y="65"/>
                      <a:pt x="209" y="67"/>
                      <a:pt x="177" y="70"/>
                    </a:cubicBezTo>
                    <a:lnTo>
                      <a:pt x="161" y="72"/>
                    </a:lnTo>
                    <a:lnTo>
                      <a:pt x="161" y="374"/>
                    </a:lnTo>
                    <a:lnTo>
                      <a:pt x="296" y="3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6">
                <a:extLst>
                  <a:ext uri="{FF2B5EF4-FFF2-40B4-BE49-F238E27FC236}">
                    <a16:creationId xmlns:a16="http://schemas.microsoft.com/office/drawing/2014/main" id="{122A07AC-2CFD-E538-2F27-207CBAAC35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5086" y="2632758"/>
                <a:ext cx="276414" cy="321921"/>
              </a:xfrm>
              <a:custGeom>
                <a:avLst/>
                <a:gdLst>
                  <a:gd name="T0" fmla="*/ 558 w 723"/>
                  <a:gd name="T1" fmla="*/ 0 h 839"/>
                  <a:gd name="T2" fmla="*/ 558 w 723"/>
                  <a:gd name="T3" fmla="*/ 364 h 839"/>
                  <a:gd name="T4" fmla="*/ 165 w 723"/>
                  <a:gd name="T5" fmla="*/ 364 h 839"/>
                  <a:gd name="T6" fmla="*/ 165 w 723"/>
                  <a:gd name="T7" fmla="*/ 0 h 839"/>
                  <a:gd name="T8" fmla="*/ 0 w 723"/>
                  <a:gd name="T9" fmla="*/ 0 h 839"/>
                  <a:gd name="T10" fmla="*/ 0 w 723"/>
                  <a:gd name="T11" fmla="*/ 839 h 839"/>
                  <a:gd name="T12" fmla="*/ 165 w 723"/>
                  <a:gd name="T13" fmla="*/ 839 h 839"/>
                  <a:gd name="T14" fmla="*/ 165 w 723"/>
                  <a:gd name="T15" fmla="*/ 480 h 839"/>
                  <a:gd name="T16" fmla="*/ 212 w 723"/>
                  <a:gd name="T17" fmla="*/ 442 h 839"/>
                  <a:gd name="T18" fmla="*/ 512 w 723"/>
                  <a:gd name="T19" fmla="*/ 442 h 839"/>
                  <a:gd name="T20" fmla="*/ 558 w 723"/>
                  <a:gd name="T21" fmla="*/ 480 h 839"/>
                  <a:gd name="T22" fmla="*/ 558 w 723"/>
                  <a:gd name="T23" fmla="*/ 839 h 839"/>
                  <a:gd name="T24" fmla="*/ 723 w 723"/>
                  <a:gd name="T25" fmla="*/ 839 h 839"/>
                  <a:gd name="T26" fmla="*/ 723 w 723"/>
                  <a:gd name="T27" fmla="*/ 0 h 839"/>
                  <a:gd name="T28" fmla="*/ 558 w 723"/>
                  <a:gd name="T29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23" h="839">
                    <a:moveTo>
                      <a:pt x="558" y="0"/>
                    </a:moveTo>
                    <a:lnTo>
                      <a:pt x="558" y="364"/>
                    </a:lnTo>
                    <a:lnTo>
                      <a:pt x="165" y="364"/>
                    </a:lnTo>
                    <a:lnTo>
                      <a:pt x="165" y="0"/>
                    </a:lnTo>
                    <a:lnTo>
                      <a:pt x="0" y="0"/>
                    </a:lnTo>
                    <a:lnTo>
                      <a:pt x="0" y="839"/>
                    </a:lnTo>
                    <a:lnTo>
                      <a:pt x="165" y="839"/>
                    </a:lnTo>
                    <a:lnTo>
                      <a:pt x="165" y="480"/>
                    </a:lnTo>
                    <a:cubicBezTo>
                      <a:pt x="165" y="454"/>
                      <a:pt x="189" y="442"/>
                      <a:pt x="212" y="442"/>
                    </a:cubicBezTo>
                    <a:lnTo>
                      <a:pt x="512" y="442"/>
                    </a:lnTo>
                    <a:cubicBezTo>
                      <a:pt x="535" y="442"/>
                      <a:pt x="558" y="454"/>
                      <a:pt x="558" y="480"/>
                    </a:cubicBezTo>
                    <a:lnTo>
                      <a:pt x="558" y="839"/>
                    </a:lnTo>
                    <a:lnTo>
                      <a:pt x="723" y="839"/>
                    </a:lnTo>
                    <a:lnTo>
                      <a:pt x="723" y="0"/>
                    </a:lnTo>
                    <a:lnTo>
                      <a:pt x="55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DAFA1828-B7E3-CB9F-D8ED-EFEB5C6F68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6743" y="0"/>
            <a:ext cx="5443979" cy="1371600"/>
          </a:xfrm>
        </p:spPr>
        <p:txBody>
          <a:bodyPr vert="horz" lIns="0" tIns="0" anchor="b"/>
          <a:lstStyle>
            <a:lvl1pPr algn="l">
              <a:defRPr sz="54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D2032BF-A047-5E61-4F79-E8B522F0B0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5901" y="1676400"/>
            <a:ext cx="6410733" cy="46482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496A9833-B625-D832-F523-0333220CEA5C}"/>
              </a:ext>
            </a:extLst>
          </p:cNvPr>
          <p:cNvSpPr>
            <a:spLocks/>
          </p:cNvSpPr>
          <p:nvPr userDrawn="1"/>
        </p:nvSpPr>
        <p:spPr bwMode="auto">
          <a:xfrm>
            <a:off x="8465424" y="3761118"/>
            <a:ext cx="3426887" cy="3118424"/>
          </a:xfrm>
          <a:custGeom>
            <a:avLst/>
            <a:gdLst>
              <a:gd name="T0" fmla="*/ 4908 w 6691"/>
              <a:gd name="T1" fmla="*/ 302 h 6084"/>
              <a:gd name="T2" fmla="*/ 1681 w 6691"/>
              <a:gd name="T3" fmla="*/ 1052 h 6084"/>
              <a:gd name="T4" fmla="*/ 1408 w 6691"/>
              <a:gd name="T5" fmla="*/ 6084 h 6084"/>
              <a:gd name="T6" fmla="*/ 2679 w 6691"/>
              <a:gd name="T7" fmla="*/ 6084 h 6084"/>
              <a:gd name="T8" fmla="*/ 1431 w 6691"/>
              <a:gd name="T9" fmla="*/ 3999 h 6084"/>
              <a:gd name="T10" fmla="*/ 4730 w 6691"/>
              <a:gd name="T11" fmla="*/ 681 h 6084"/>
              <a:gd name="T12" fmla="*/ 5305 w 6691"/>
              <a:gd name="T13" fmla="*/ 2229 h 6084"/>
              <a:gd name="T14" fmla="*/ 3973 w 6691"/>
              <a:gd name="T15" fmla="*/ 2582 h 6084"/>
              <a:gd name="T16" fmla="*/ 4696 w 6691"/>
              <a:gd name="T17" fmla="*/ 3292 h 6084"/>
              <a:gd name="T18" fmla="*/ 6178 w 6691"/>
              <a:gd name="T19" fmla="*/ 2423 h 6084"/>
              <a:gd name="T20" fmla="*/ 4908 w 6691"/>
              <a:gd name="T21" fmla="*/ 302 h 60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691" h="6084">
                <a:moveTo>
                  <a:pt x="4908" y="302"/>
                </a:moveTo>
                <a:cubicBezTo>
                  <a:pt x="3533" y="0"/>
                  <a:pt x="2373" y="491"/>
                  <a:pt x="1681" y="1052"/>
                </a:cubicBezTo>
                <a:cubicBezTo>
                  <a:pt x="0" y="2417"/>
                  <a:pt x="160" y="4568"/>
                  <a:pt x="1408" y="6084"/>
                </a:cubicBezTo>
                <a:lnTo>
                  <a:pt x="2679" y="6084"/>
                </a:lnTo>
                <a:cubicBezTo>
                  <a:pt x="2492" y="5924"/>
                  <a:pt x="1650" y="5149"/>
                  <a:pt x="1431" y="3999"/>
                </a:cubicBezTo>
                <a:cubicBezTo>
                  <a:pt x="992" y="1696"/>
                  <a:pt x="3000" y="364"/>
                  <a:pt x="4730" y="681"/>
                </a:cubicBezTo>
                <a:cubicBezTo>
                  <a:pt x="5717" y="863"/>
                  <a:pt x="5792" y="1792"/>
                  <a:pt x="5305" y="2229"/>
                </a:cubicBezTo>
                <a:cubicBezTo>
                  <a:pt x="4864" y="2622"/>
                  <a:pt x="4274" y="2617"/>
                  <a:pt x="3973" y="2582"/>
                </a:cubicBezTo>
                <a:cubicBezTo>
                  <a:pt x="4233" y="2731"/>
                  <a:pt x="4490" y="2975"/>
                  <a:pt x="4696" y="3292"/>
                </a:cubicBezTo>
                <a:cubicBezTo>
                  <a:pt x="4696" y="3292"/>
                  <a:pt x="5631" y="3187"/>
                  <a:pt x="6178" y="2423"/>
                </a:cubicBezTo>
                <a:cubicBezTo>
                  <a:pt x="6691" y="1709"/>
                  <a:pt x="6281" y="603"/>
                  <a:pt x="4908" y="302"/>
                </a:cubicBezTo>
                <a:close/>
              </a:path>
            </a:pathLst>
          </a:custGeom>
          <a:solidFill>
            <a:srgbClr val="FFFFFF">
              <a:alpha val="2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E229D30-C999-860C-EF9C-B36B61CA1018}"/>
              </a:ext>
            </a:extLst>
          </p:cNvPr>
          <p:cNvSpPr/>
          <p:nvPr userDrawn="1"/>
        </p:nvSpPr>
        <p:spPr>
          <a:xfrm>
            <a:off x="5438046" y="1667036"/>
            <a:ext cx="6758424" cy="4188081"/>
          </a:xfrm>
          <a:custGeom>
            <a:avLst/>
            <a:gdLst>
              <a:gd name="connsiteX0" fmla="*/ 4490995 w 6758424"/>
              <a:gd name="connsiteY0" fmla="*/ 28 h 4188081"/>
              <a:gd name="connsiteX1" fmla="*/ 6752477 w 6758424"/>
              <a:gd name="connsiteY1" fmla="*/ 1022678 h 4188081"/>
              <a:gd name="connsiteX2" fmla="*/ 6758424 w 6758424"/>
              <a:gd name="connsiteY2" fmla="*/ 1029798 h 4188081"/>
              <a:gd name="connsiteX3" fmla="*/ 6758424 w 6758424"/>
              <a:gd name="connsiteY3" fmla="*/ 1746844 h 4188081"/>
              <a:gd name="connsiteX4" fmla="*/ 6757245 w 6758424"/>
              <a:gd name="connsiteY4" fmla="*/ 1745177 h 4188081"/>
              <a:gd name="connsiteX5" fmla="*/ 4592127 w 6758424"/>
              <a:gd name="connsiteY5" fmla="*/ 367058 h 4188081"/>
              <a:gd name="connsiteX6" fmla="*/ 2543406 w 6758424"/>
              <a:gd name="connsiteY6" fmla="*/ 2367751 h 4188081"/>
              <a:gd name="connsiteX7" fmla="*/ 2761028 w 6758424"/>
              <a:gd name="connsiteY7" fmla="*/ 4180831 h 4188081"/>
              <a:gd name="connsiteX8" fmla="*/ 1119900 w 6758424"/>
              <a:gd name="connsiteY8" fmla="*/ 2341095 h 4188081"/>
              <a:gd name="connsiteX9" fmla="*/ 3114 w 6758424"/>
              <a:gd name="connsiteY9" fmla="*/ 1623963 h 4188081"/>
              <a:gd name="connsiteX10" fmla="*/ 1065 w 6758424"/>
              <a:gd name="connsiteY10" fmla="*/ 1603458 h 4188081"/>
              <a:gd name="connsiteX11" fmla="*/ 1523909 w 6758424"/>
              <a:gd name="connsiteY11" fmla="*/ 2003289 h 4188081"/>
              <a:gd name="connsiteX12" fmla="*/ 1682134 w 6758424"/>
              <a:gd name="connsiteY12" fmla="*/ 1959205 h 4188081"/>
              <a:gd name="connsiteX13" fmla="*/ 2217740 w 6758424"/>
              <a:gd name="connsiteY13" fmla="*/ 3877882 h 4188081"/>
              <a:gd name="connsiteX14" fmla="*/ 3245430 w 6758424"/>
              <a:gd name="connsiteY14" fmla="*/ 284016 h 4188081"/>
              <a:gd name="connsiteX15" fmla="*/ 4490995 w 6758424"/>
              <a:gd name="connsiteY15" fmla="*/ 28 h 4188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758424" h="4188081">
                <a:moveTo>
                  <a:pt x="4490995" y="28"/>
                </a:moveTo>
                <a:cubicBezTo>
                  <a:pt x="5259124" y="-3210"/>
                  <a:pt x="6101210" y="283567"/>
                  <a:pt x="6752477" y="1022678"/>
                </a:cubicBezTo>
                <a:lnTo>
                  <a:pt x="6758424" y="1029798"/>
                </a:lnTo>
                <a:lnTo>
                  <a:pt x="6758424" y="1746844"/>
                </a:lnTo>
                <a:lnTo>
                  <a:pt x="6757245" y="1745177"/>
                </a:lnTo>
                <a:cubicBezTo>
                  <a:pt x="6244361" y="1026587"/>
                  <a:pt x="5671278" y="335533"/>
                  <a:pt x="4592127" y="367058"/>
                </a:cubicBezTo>
                <a:cubicBezTo>
                  <a:pt x="3096935" y="410117"/>
                  <a:pt x="2618678" y="1820802"/>
                  <a:pt x="2543406" y="2367751"/>
                </a:cubicBezTo>
                <a:cubicBezTo>
                  <a:pt x="2462502" y="2953144"/>
                  <a:pt x="2524972" y="3734352"/>
                  <a:pt x="2761028" y="4180831"/>
                </a:cubicBezTo>
                <a:cubicBezTo>
                  <a:pt x="1899756" y="4252595"/>
                  <a:pt x="1085080" y="3802529"/>
                  <a:pt x="1119900" y="2341095"/>
                </a:cubicBezTo>
                <a:cubicBezTo>
                  <a:pt x="573540" y="2329818"/>
                  <a:pt x="190525" y="2056600"/>
                  <a:pt x="3114" y="1623963"/>
                </a:cubicBezTo>
                <a:cubicBezTo>
                  <a:pt x="41" y="1616786"/>
                  <a:pt x="-983" y="1610122"/>
                  <a:pt x="1065" y="1603458"/>
                </a:cubicBezTo>
                <a:cubicBezTo>
                  <a:pt x="335436" y="1969970"/>
                  <a:pt x="923784" y="2142718"/>
                  <a:pt x="1523909" y="2003289"/>
                </a:cubicBezTo>
                <a:cubicBezTo>
                  <a:pt x="1578187" y="1990474"/>
                  <a:pt x="1630928" y="1975609"/>
                  <a:pt x="1682134" y="1959205"/>
                </a:cubicBezTo>
                <a:cubicBezTo>
                  <a:pt x="1412282" y="2605599"/>
                  <a:pt x="1653971" y="3708722"/>
                  <a:pt x="2217740" y="3877882"/>
                </a:cubicBezTo>
                <a:cubicBezTo>
                  <a:pt x="1794273" y="2504103"/>
                  <a:pt x="2078974" y="869410"/>
                  <a:pt x="3245430" y="284016"/>
                </a:cubicBezTo>
                <a:cubicBezTo>
                  <a:pt x="3595866" y="108321"/>
                  <a:pt x="4030118" y="1972"/>
                  <a:pt x="4490995" y="28"/>
                </a:cubicBezTo>
                <a:close/>
              </a:path>
            </a:pathLst>
          </a:custGeom>
          <a:solidFill>
            <a:srgbClr val="FFFFFF">
              <a:alpha val="25098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818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icture Placeholder 65">
            <a:extLst>
              <a:ext uri="{FF2B5EF4-FFF2-40B4-BE49-F238E27FC236}">
                <a16:creationId xmlns:a16="http://schemas.microsoft.com/office/drawing/2014/main" id="{924D7397-058F-AB0D-1C2A-B034D67E6C3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371599"/>
            <a:ext cx="12192000" cy="4945063"/>
          </a:xfrm>
          <a:custGeom>
            <a:avLst/>
            <a:gdLst>
              <a:gd name="connsiteX0" fmla="*/ 0 w 12086485"/>
              <a:gd name="connsiteY0" fmla="*/ 0 h 4310080"/>
              <a:gd name="connsiteX1" fmla="*/ 12086485 w 12086485"/>
              <a:gd name="connsiteY1" fmla="*/ 0 h 4310080"/>
              <a:gd name="connsiteX2" fmla="*/ 12086485 w 12086485"/>
              <a:gd name="connsiteY2" fmla="*/ 4310080 h 4310080"/>
              <a:gd name="connsiteX3" fmla="*/ 0 w 12086485"/>
              <a:gd name="connsiteY3" fmla="*/ 4310080 h 4310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86485" h="4310080">
                <a:moveTo>
                  <a:pt x="0" y="0"/>
                </a:moveTo>
                <a:lnTo>
                  <a:pt x="12086485" y="0"/>
                </a:lnTo>
                <a:lnTo>
                  <a:pt x="12086485" y="4310080"/>
                </a:lnTo>
                <a:lnTo>
                  <a:pt x="0" y="43100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endParaRPr lang="en-GB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FABDCC9-858F-4F71-9FB6-61711B4CA2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3814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FABDCC9-858F-4F71-9FB6-61711B4CA2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0" name="Group 39">
            <a:extLst>
              <a:ext uri="{FF2B5EF4-FFF2-40B4-BE49-F238E27FC236}">
                <a16:creationId xmlns:a16="http://schemas.microsoft.com/office/drawing/2014/main" id="{28291207-4C86-D97C-74E8-0F30283B77AF}"/>
              </a:ext>
            </a:extLst>
          </p:cNvPr>
          <p:cNvGrpSpPr/>
          <p:nvPr userDrawn="1"/>
        </p:nvGrpSpPr>
        <p:grpSpPr>
          <a:xfrm>
            <a:off x="10531757" y="188256"/>
            <a:ext cx="1436183" cy="985137"/>
            <a:chOff x="228600" y="2150376"/>
            <a:chExt cx="2906342" cy="1993578"/>
          </a:xfrm>
          <a:solidFill>
            <a:schemeClr val="tx2"/>
          </a:solidFill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4C92BC64-845B-5FDC-8D26-0E9F4920B8B5}"/>
                </a:ext>
              </a:extLst>
            </p:cNvPr>
            <p:cNvGrpSpPr/>
            <p:nvPr userDrawn="1"/>
          </p:nvGrpSpPr>
          <p:grpSpPr>
            <a:xfrm>
              <a:off x="228600" y="3626341"/>
              <a:ext cx="2799815" cy="517613"/>
              <a:chOff x="228600" y="3626341"/>
              <a:chExt cx="2799815" cy="517613"/>
            </a:xfrm>
            <a:grpFill/>
          </p:grpSpPr>
          <p:sp>
            <p:nvSpPr>
              <p:cNvPr id="117" name="Freeform 6">
                <a:extLst>
                  <a:ext uri="{FF2B5EF4-FFF2-40B4-BE49-F238E27FC236}">
                    <a16:creationId xmlns:a16="http://schemas.microsoft.com/office/drawing/2014/main" id="{782B503E-2B5C-E6DF-83A2-EBFEFB82C8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534" y="3955731"/>
                <a:ext cx="95922" cy="164696"/>
              </a:xfrm>
              <a:custGeom>
                <a:avLst/>
                <a:gdLst>
                  <a:gd name="T0" fmla="*/ 235 w 235"/>
                  <a:gd name="T1" fmla="*/ 1 h 398"/>
                  <a:gd name="T2" fmla="*/ 218 w 235"/>
                  <a:gd name="T3" fmla="*/ 72 h 398"/>
                  <a:gd name="T4" fmla="*/ 152 w 235"/>
                  <a:gd name="T5" fmla="*/ 80 h 398"/>
                  <a:gd name="T6" fmla="*/ 131 w 235"/>
                  <a:gd name="T7" fmla="*/ 113 h 398"/>
                  <a:gd name="T8" fmla="*/ 176 w 235"/>
                  <a:gd name="T9" fmla="*/ 114 h 398"/>
                  <a:gd name="T10" fmla="*/ 164 w 235"/>
                  <a:gd name="T11" fmla="*/ 178 h 398"/>
                  <a:gd name="T12" fmla="*/ 116 w 235"/>
                  <a:gd name="T13" fmla="*/ 178 h 398"/>
                  <a:gd name="T14" fmla="*/ 70 w 235"/>
                  <a:gd name="T15" fmla="*/ 398 h 398"/>
                  <a:gd name="T16" fmla="*/ 0 w 235"/>
                  <a:gd name="T17" fmla="*/ 398 h 398"/>
                  <a:gd name="T18" fmla="*/ 43 w 235"/>
                  <a:gd name="T19" fmla="*/ 176 h 398"/>
                  <a:gd name="T20" fmla="*/ 6 w 235"/>
                  <a:gd name="T21" fmla="*/ 176 h 398"/>
                  <a:gd name="T22" fmla="*/ 17 w 235"/>
                  <a:gd name="T23" fmla="*/ 112 h 398"/>
                  <a:gd name="T24" fmla="*/ 56 w 235"/>
                  <a:gd name="T25" fmla="*/ 112 h 398"/>
                  <a:gd name="T26" fmla="*/ 95 w 235"/>
                  <a:gd name="T27" fmla="*/ 44 h 398"/>
                  <a:gd name="T28" fmla="*/ 235 w 235"/>
                  <a:gd name="T29" fmla="*/ 1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5" h="398">
                    <a:moveTo>
                      <a:pt x="235" y="1"/>
                    </a:moveTo>
                    <a:lnTo>
                      <a:pt x="218" y="72"/>
                    </a:lnTo>
                    <a:cubicBezTo>
                      <a:pt x="218" y="72"/>
                      <a:pt x="175" y="63"/>
                      <a:pt x="152" y="80"/>
                    </a:cubicBezTo>
                    <a:cubicBezTo>
                      <a:pt x="129" y="96"/>
                      <a:pt x="131" y="113"/>
                      <a:pt x="131" y="113"/>
                    </a:cubicBezTo>
                    <a:lnTo>
                      <a:pt x="176" y="114"/>
                    </a:lnTo>
                    <a:lnTo>
                      <a:pt x="164" y="178"/>
                    </a:lnTo>
                    <a:lnTo>
                      <a:pt x="116" y="178"/>
                    </a:lnTo>
                    <a:lnTo>
                      <a:pt x="70" y="398"/>
                    </a:lnTo>
                    <a:lnTo>
                      <a:pt x="0" y="398"/>
                    </a:lnTo>
                    <a:lnTo>
                      <a:pt x="43" y="176"/>
                    </a:lnTo>
                    <a:lnTo>
                      <a:pt x="6" y="176"/>
                    </a:lnTo>
                    <a:lnTo>
                      <a:pt x="17" y="112"/>
                    </a:lnTo>
                    <a:lnTo>
                      <a:pt x="56" y="112"/>
                    </a:lnTo>
                    <a:cubicBezTo>
                      <a:pt x="56" y="112"/>
                      <a:pt x="68" y="67"/>
                      <a:pt x="95" y="44"/>
                    </a:cubicBezTo>
                    <a:cubicBezTo>
                      <a:pt x="121" y="23"/>
                      <a:pt x="169" y="0"/>
                      <a:pt x="2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8" name="Freeform 7">
                <a:extLst>
                  <a:ext uri="{FF2B5EF4-FFF2-40B4-BE49-F238E27FC236}">
                    <a16:creationId xmlns:a16="http://schemas.microsoft.com/office/drawing/2014/main" id="{8656DAEB-1F26-DD33-CF0B-94B88E4D44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44429" y="4002787"/>
                <a:ext cx="54295" cy="115829"/>
              </a:xfrm>
              <a:custGeom>
                <a:avLst/>
                <a:gdLst>
                  <a:gd name="T0" fmla="*/ 56 w 133"/>
                  <a:gd name="T1" fmla="*/ 0 h 281"/>
                  <a:gd name="T2" fmla="*/ 133 w 133"/>
                  <a:gd name="T3" fmla="*/ 0 h 281"/>
                  <a:gd name="T4" fmla="*/ 75 w 133"/>
                  <a:gd name="T5" fmla="*/ 281 h 281"/>
                  <a:gd name="T6" fmla="*/ 0 w 133"/>
                  <a:gd name="T7" fmla="*/ 281 h 281"/>
                  <a:gd name="T8" fmla="*/ 56 w 133"/>
                  <a:gd name="T9" fmla="*/ 0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281">
                    <a:moveTo>
                      <a:pt x="56" y="0"/>
                    </a:moveTo>
                    <a:lnTo>
                      <a:pt x="133" y="0"/>
                    </a:lnTo>
                    <a:lnTo>
                      <a:pt x="75" y="281"/>
                    </a:lnTo>
                    <a:lnTo>
                      <a:pt x="0" y="281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9" name="Freeform 8">
                <a:extLst>
                  <a:ext uri="{FF2B5EF4-FFF2-40B4-BE49-F238E27FC236}">
                    <a16:creationId xmlns:a16="http://schemas.microsoft.com/office/drawing/2014/main" id="{624CD4A3-A97F-44BB-3A9B-2631D88834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9767" y="3955731"/>
                <a:ext cx="38007" cy="30768"/>
              </a:xfrm>
              <a:custGeom>
                <a:avLst/>
                <a:gdLst>
                  <a:gd name="T0" fmla="*/ 16 w 92"/>
                  <a:gd name="T1" fmla="*/ 0 h 76"/>
                  <a:gd name="T2" fmla="*/ 92 w 92"/>
                  <a:gd name="T3" fmla="*/ 0 h 76"/>
                  <a:gd name="T4" fmla="*/ 75 w 92"/>
                  <a:gd name="T5" fmla="*/ 76 h 76"/>
                  <a:gd name="T6" fmla="*/ 0 w 92"/>
                  <a:gd name="T7" fmla="*/ 76 h 76"/>
                  <a:gd name="T8" fmla="*/ 16 w 9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76">
                    <a:moveTo>
                      <a:pt x="16" y="0"/>
                    </a:moveTo>
                    <a:lnTo>
                      <a:pt x="92" y="0"/>
                    </a:lnTo>
                    <a:lnTo>
                      <a:pt x="75" y="76"/>
                    </a:lnTo>
                    <a:lnTo>
                      <a:pt x="0" y="7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0" name="Freeform 9">
                <a:extLst>
                  <a:ext uri="{FF2B5EF4-FFF2-40B4-BE49-F238E27FC236}">
                    <a16:creationId xmlns:a16="http://schemas.microsoft.com/office/drawing/2014/main" id="{35FB74E8-C2DD-F602-6BA4-EC126A17C5D7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8600" y="3966590"/>
                <a:ext cx="123069" cy="152026"/>
              </a:xfrm>
              <a:custGeom>
                <a:avLst/>
                <a:gdLst>
                  <a:gd name="T0" fmla="*/ 286 w 299"/>
                  <a:gd name="T1" fmla="*/ 89 h 371"/>
                  <a:gd name="T2" fmla="*/ 220 w 299"/>
                  <a:gd name="T3" fmla="*/ 3 h 371"/>
                  <a:gd name="T4" fmla="*/ 72 w 299"/>
                  <a:gd name="T5" fmla="*/ 1 h 371"/>
                  <a:gd name="T6" fmla="*/ 0 w 299"/>
                  <a:gd name="T7" fmla="*/ 368 h 371"/>
                  <a:gd name="T8" fmla="*/ 104 w 299"/>
                  <a:gd name="T9" fmla="*/ 371 h 371"/>
                  <a:gd name="T10" fmla="*/ 274 w 299"/>
                  <a:gd name="T11" fmla="*/ 271 h 371"/>
                  <a:gd name="T12" fmla="*/ 245 w 299"/>
                  <a:gd name="T13" fmla="*/ 169 h 371"/>
                  <a:gd name="T14" fmla="*/ 286 w 299"/>
                  <a:gd name="T15" fmla="*/ 89 h 371"/>
                  <a:gd name="T16" fmla="*/ 206 w 299"/>
                  <a:gd name="T17" fmla="*/ 114 h 371"/>
                  <a:gd name="T18" fmla="*/ 132 w 299"/>
                  <a:gd name="T19" fmla="*/ 157 h 371"/>
                  <a:gd name="T20" fmla="*/ 131 w 299"/>
                  <a:gd name="T21" fmla="*/ 171 h 371"/>
                  <a:gd name="T22" fmla="*/ 200 w 299"/>
                  <a:gd name="T23" fmla="*/ 252 h 371"/>
                  <a:gd name="T24" fmla="*/ 131 w 299"/>
                  <a:gd name="T25" fmla="*/ 298 h 371"/>
                  <a:gd name="T26" fmla="*/ 83 w 299"/>
                  <a:gd name="T27" fmla="*/ 301 h 371"/>
                  <a:gd name="T28" fmla="*/ 130 w 299"/>
                  <a:gd name="T29" fmla="*/ 70 h 371"/>
                  <a:gd name="T30" fmla="*/ 206 w 299"/>
                  <a:gd name="T31" fmla="*/ 114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9" h="371">
                    <a:moveTo>
                      <a:pt x="286" y="89"/>
                    </a:moveTo>
                    <a:cubicBezTo>
                      <a:pt x="292" y="36"/>
                      <a:pt x="243" y="7"/>
                      <a:pt x="220" y="3"/>
                    </a:cubicBezTo>
                    <a:cubicBezTo>
                      <a:pt x="197" y="0"/>
                      <a:pt x="72" y="1"/>
                      <a:pt x="72" y="1"/>
                    </a:cubicBezTo>
                    <a:lnTo>
                      <a:pt x="0" y="368"/>
                    </a:lnTo>
                    <a:lnTo>
                      <a:pt x="104" y="371"/>
                    </a:lnTo>
                    <a:cubicBezTo>
                      <a:pt x="104" y="371"/>
                      <a:pt x="237" y="367"/>
                      <a:pt x="274" y="271"/>
                    </a:cubicBezTo>
                    <a:cubicBezTo>
                      <a:pt x="299" y="208"/>
                      <a:pt x="245" y="169"/>
                      <a:pt x="245" y="169"/>
                    </a:cubicBezTo>
                    <a:cubicBezTo>
                      <a:pt x="245" y="169"/>
                      <a:pt x="280" y="142"/>
                      <a:pt x="286" y="89"/>
                    </a:cubicBezTo>
                    <a:close/>
                    <a:moveTo>
                      <a:pt x="206" y="114"/>
                    </a:moveTo>
                    <a:cubicBezTo>
                      <a:pt x="198" y="160"/>
                      <a:pt x="132" y="157"/>
                      <a:pt x="132" y="157"/>
                    </a:cubicBezTo>
                    <a:cubicBezTo>
                      <a:pt x="132" y="157"/>
                      <a:pt x="132" y="171"/>
                      <a:pt x="131" y="171"/>
                    </a:cubicBezTo>
                    <a:cubicBezTo>
                      <a:pt x="153" y="173"/>
                      <a:pt x="214" y="209"/>
                      <a:pt x="200" y="252"/>
                    </a:cubicBezTo>
                    <a:cubicBezTo>
                      <a:pt x="184" y="301"/>
                      <a:pt x="131" y="298"/>
                      <a:pt x="131" y="298"/>
                    </a:cubicBezTo>
                    <a:lnTo>
                      <a:pt x="83" y="301"/>
                    </a:lnTo>
                    <a:lnTo>
                      <a:pt x="130" y="70"/>
                    </a:lnTo>
                    <a:cubicBezTo>
                      <a:pt x="130" y="70"/>
                      <a:pt x="214" y="68"/>
                      <a:pt x="20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1" name="Freeform 10">
                <a:extLst>
                  <a:ext uri="{FF2B5EF4-FFF2-40B4-BE49-F238E27FC236}">
                    <a16:creationId xmlns:a16="http://schemas.microsoft.com/office/drawing/2014/main" id="{AFCC338E-A018-7FB1-A388-F788A6ACA2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06" y="3695115"/>
                <a:ext cx="369206" cy="238898"/>
              </a:xfrm>
              <a:custGeom>
                <a:avLst/>
                <a:gdLst>
                  <a:gd name="T0" fmla="*/ 826 w 897"/>
                  <a:gd name="T1" fmla="*/ 0 h 583"/>
                  <a:gd name="T2" fmla="*/ 896 w 897"/>
                  <a:gd name="T3" fmla="*/ 150 h 583"/>
                  <a:gd name="T4" fmla="*/ 480 w 897"/>
                  <a:gd name="T5" fmla="*/ 352 h 583"/>
                  <a:gd name="T6" fmla="*/ 256 w 897"/>
                  <a:gd name="T7" fmla="*/ 519 h 583"/>
                  <a:gd name="T8" fmla="*/ 0 w 897"/>
                  <a:gd name="T9" fmla="*/ 564 h 583"/>
                  <a:gd name="T10" fmla="*/ 113 w 897"/>
                  <a:gd name="T11" fmla="*/ 542 h 583"/>
                  <a:gd name="T12" fmla="*/ 490 w 897"/>
                  <a:gd name="T13" fmla="*/ 279 h 583"/>
                  <a:gd name="T14" fmla="*/ 819 w 897"/>
                  <a:gd name="T15" fmla="*/ 125 h 583"/>
                  <a:gd name="T16" fmla="*/ 826 w 897"/>
                  <a:gd name="T17" fmla="*/ 0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7" h="583">
                    <a:moveTo>
                      <a:pt x="826" y="0"/>
                    </a:moveTo>
                    <a:cubicBezTo>
                      <a:pt x="829" y="16"/>
                      <a:pt x="842" y="96"/>
                      <a:pt x="896" y="150"/>
                    </a:cubicBezTo>
                    <a:cubicBezTo>
                      <a:pt x="897" y="151"/>
                      <a:pt x="639" y="237"/>
                      <a:pt x="480" y="352"/>
                    </a:cubicBezTo>
                    <a:cubicBezTo>
                      <a:pt x="396" y="412"/>
                      <a:pt x="313" y="486"/>
                      <a:pt x="256" y="519"/>
                    </a:cubicBezTo>
                    <a:cubicBezTo>
                      <a:pt x="145" y="583"/>
                      <a:pt x="0" y="576"/>
                      <a:pt x="0" y="564"/>
                    </a:cubicBezTo>
                    <a:cubicBezTo>
                      <a:pt x="0" y="551"/>
                      <a:pt x="36" y="566"/>
                      <a:pt x="113" y="542"/>
                    </a:cubicBezTo>
                    <a:cubicBezTo>
                      <a:pt x="223" y="507"/>
                      <a:pt x="387" y="351"/>
                      <a:pt x="490" y="279"/>
                    </a:cubicBezTo>
                    <a:cubicBezTo>
                      <a:pt x="613" y="197"/>
                      <a:pt x="782" y="137"/>
                      <a:pt x="819" y="125"/>
                    </a:cubicBezTo>
                    <a:cubicBezTo>
                      <a:pt x="819" y="114"/>
                      <a:pt x="804" y="30"/>
                      <a:pt x="8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2" name="Freeform 11">
                <a:extLst>
                  <a:ext uri="{FF2B5EF4-FFF2-40B4-BE49-F238E27FC236}">
                    <a16:creationId xmlns:a16="http://schemas.microsoft.com/office/drawing/2014/main" id="{93F81162-31E0-75B5-FAE7-99AAAF670D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7773" y="3852570"/>
                <a:ext cx="342059" cy="191843"/>
              </a:xfrm>
              <a:custGeom>
                <a:avLst/>
                <a:gdLst>
                  <a:gd name="T0" fmla="*/ 0 w 834"/>
                  <a:gd name="T1" fmla="*/ 120 h 464"/>
                  <a:gd name="T2" fmla="*/ 156 w 834"/>
                  <a:gd name="T3" fmla="*/ 65 h 464"/>
                  <a:gd name="T4" fmla="*/ 508 w 834"/>
                  <a:gd name="T5" fmla="*/ 183 h 464"/>
                  <a:gd name="T6" fmla="*/ 448 w 834"/>
                  <a:gd name="T7" fmla="*/ 58 h 464"/>
                  <a:gd name="T8" fmla="*/ 452 w 834"/>
                  <a:gd name="T9" fmla="*/ 0 h 464"/>
                  <a:gd name="T10" fmla="*/ 600 w 834"/>
                  <a:gd name="T11" fmla="*/ 231 h 464"/>
                  <a:gd name="T12" fmla="*/ 834 w 834"/>
                  <a:gd name="T13" fmla="*/ 464 h 464"/>
                  <a:gd name="T14" fmla="*/ 649 w 834"/>
                  <a:gd name="T15" fmla="*/ 353 h 464"/>
                  <a:gd name="T16" fmla="*/ 543 w 834"/>
                  <a:gd name="T17" fmla="*/ 252 h 464"/>
                  <a:gd name="T18" fmla="*/ 462 w 834"/>
                  <a:gd name="T19" fmla="*/ 224 h 464"/>
                  <a:gd name="T20" fmla="*/ 193 w 834"/>
                  <a:gd name="T21" fmla="*/ 101 h 464"/>
                  <a:gd name="T22" fmla="*/ 0 w 834"/>
                  <a:gd name="T23" fmla="*/ 120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4" h="464">
                    <a:moveTo>
                      <a:pt x="0" y="120"/>
                    </a:moveTo>
                    <a:cubicBezTo>
                      <a:pt x="0" y="120"/>
                      <a:pt x="38" y="60"/>
                      <a:pt x="156" y="65"/>
                    </a:cubicBezTo>
                    <a:cubicBezTo>
                      <a:pt x="274" y="69"/>
                      <a:pt x="508" y="183"/>
                      <a:pt x="508" y="183"/>
                    </a:cubicBezTo>
                    <a:cubicBezTo>
                      <a:pt x="508" y="183"/>
                      <a:pt x="457" y="103"/>
                      <a:pt x="448" y="58"/>
                    </a:cubicBezTo>
                    <a:cubicBezTo>
                      <a:pt x="439" y="14"/>
                      <a:pt x="452" y="0"/>
                      <a:pt x="452" y="0"/>
                    </a:cubicBezTo>
                    <a:cubicBezTo>
                      <a:pt x="477" y="55"/>
                      <a:pt x="566" y="179"/>
                      <a:pt x="600" y="231"/>
                    </a:cubicBezTo>
                    <a:cubicBezTo>
                      <a:pt x="672" y="340"/>
                      <a:pt x="834" y="464"/>
                      <a:pt x="834" y="464"/>
                    </a:cubicBezTo>
                    <a:cubicBezTo>
                      <a:pt x="797" y="460"/>
                      <a:pt x="707" y="403"/>
                      <a:pt x="649" y="353"/>
                    </a:cubicBezTo>
                    <a:cubicBezTo>
                      <a:pt x="592" y="303"/>
                      <a:pt x="561" y="260"/>
                      <a:pt x="543" y="252"/>
                    </a:cubicBezTo>
                    <a:cubicBezTo>
                      <a:pt x="525" y="244"/>
                      <a:pt x="483" y="233"/>
                      <a:pt x="462" y="224"/>
                    </a:cubicBezTo>
                    <a:cubicBezTo>
                      <a:pt x="424" y="206"/>
                      <a:pt x="271" y="110"/>
                      <a:pt x="193" y="101"/>
                    </a:cubicBezTo>
                    <a:cubicBezTo>
                      <a:pt x="71" y="88"/>
                      <a:pt x="0" y="120"/>
                      <a:pt x="0" y="1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3" name="Freeform 12">
                <a:extLst>
                  <a:ext uri="{FF2B5EF4-FFF2-40B4-BE49-F238E27FC236}">
                    <a16:creationId xmlns:a16="http://schemas.microsoft.com/office/drawing/2014/main" id="{EBD8AFC3-179B-7E96-5A12-3F842CDE47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4003" y="3727692"/>
                <a:ext cx="229850" cy="106781"/>
              </a:xfrm>
              <a:custGeom>
                <a:avLst/>
                <a:gdLst>
                  <a:gd name="T0" fmla="*/ 0 w 559"/>
                  <a:gd name="T1" fmla="*/ 24 h 259"/>
                  <a:gd name="T2" fmla="*/ 68 w 559"/>
                  <a:gd name="T3" fmla="*/ 90 h 259"/>
                  <a:gd name="T4" fmla="*/ 185 w 559"/>
                  <a:gd name="T5" fmla="*/ 118 h 259"/>
                  <a:gd name="T6" fmla="*/ 87 w 559"/>
                  <a:gd name="T7" fmla="*/ 60 h 259"/>
                  <a:gd name="T8" fmla="*/ 212 w 559"/>
                  <a:gd name="T9" fmla="*/ 71 h 259"/>
                  <a:gd name="T10" fmla="*/ 320 w 559"/>
                  <a:gd name="T11" fmla="*/ 166 h 259"/>
                  <a:gd name="T12" fmla="*/ 289 w 559"/>
                  <a:gd name="T13" fmla="*/ 215 h 259"/>
                  <a:gd name="T14" fmla="*/ 434 w 559"/>
                  <a:gd name="T15" fmla="*/ 252 h 259"/>
                  <a:gd name="T16" fmla="*/ 559 w 559"/>
                  <a:gd name="T17" fmla="*/ 185 h 259"/>
                  <a:gd name="T18" fmla="*/ 433 w 559"/>
                  <a:gd name="T19" fmla="*/ 218 h 259"/>
                  <a:gd name="T20" fmla="*/ 353 w 559"/>
                  <a:gd name="T21" fmla="*/ 192 h 259"/>
                  <a:gd name="T22" fmla="*/ 361 w 559"/>
                  <a:gd name="T23" fmla="*/ 156 h 259"/>
                  <a:gd name="T24" fmla="*/ 219 w 559"/>
                  <a:gd name="T25" fmla="*/ 38 h 259"/>
                  <a:gd name="T26" fmla="*/ 0 w 559"/>
                  <a:gd name="T27" fmla="*/ 24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59" h="259">
                    <a:moveTo>
                      <a:pt x="0" y="24"/>
                    </a:moveTo>
                    <a:cubicBezTo>
                      <a:pt x="0" y="24"/>
                      <a:pt x="6" y="53"/>
                      <a:pt x="68" y="90"/>
                    </a:cubicBezTo>
                    <a:cubicBezTo>
                      <a:pt x="131" y="127"/>
                      <a:pt x="185" y="118"/>
                      <a:pt x="185" y="118"/>
                    </a:cubicBezTo>
                    <a:cubicBezTo>
                      <a:pt x="185" y="118"/>
                      <a:pt x="100" y="88"/>
                      <a:pt x="87" y="60"/>
                    </a:cubicBezTo>
                    <a:cubicBezTo>
                      <a:pt x="97" y="59"/>
                      <a:pt x="121" y="45"/>
                      <a:pt x="212" y="71"/>
                    </a:cubicBezTo>
                    <a:cubicBezTo>
                      <a:pt x="285" y="92"/>
                      <a:pt x="320" y="152"/>
                      <a:pt x="320" y="166"/>
                    </a:cubicBezTo>
                    <a:cubicBezTo>
                      <a:pt x="320" y="187"/>
                      <a:pt x="289" y="215"/>
                      <a:pt x="289" y="215"/>
                    </a:cubicBezTo>
                    <a:cubicBezTo>
                      <a:pt x="289" y="215"/>
                      <a:pt x="354" y="259"/>
                      <a:pt x="434" y="252"/>
                    </a:cubicBezTo>
                    <a:cubicBezTo>
                      <a:pt x="514" y="244"/>
                      <a:pt x="559" y="185"/>
                      <a:pt x="559" y="185"/>
                    </a:cubicBezTo>
                    <a:cubicBezTo>
                      <a:pt x="559" y="185"/>
                      <a:pt x="495" y="217"/>
                      <a:pt x="433" y="218"/>
                    </a:cubicBezTo>
                    <a:cubicBezTo>
                      <a:pt x="370" y="219"/>
                      <a:pt x="353" y="192"/>
                      <a:pt x="353" y="192"/>
                    </a:cubicBezTo>
                    <a:cubicBezTo>
                      <a:pt x="353" y="192"/>
                      <a:pt x="366" y="182"/>
                      <a:pt x="361" y="156"/>
                    </a:cubicBezTo>
                    <a:cubicBezTo>
                      <a:pt x="356" y="130"/>
                      <a:pt x="314" y="76"/>
                      <a:pt x="219" y="38"/>
                    </a:cubicBezTo>
                    <a:cubicBezTo>
                      <a:pt x="125" y="0"/>
                      <a:pt x="0" y="24"/>
                      <a:pt x="0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4" name="Freeform 13">
                <a:extLst>
                  <a:ext uri="{FF2B5EF4-FFF2-40B4-BE49-F238E27FC236}">
                    <a16:creationId xmlns:a16="http://schemas.microsoft.com/office/drawing/2014/main" id="{40AAF1B0-AB0C-2E50-75B3-76FDB9636230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17714" y="3791036"/>
                <a:ext cx="193653" cy="110401"/>
              </a:xfrm>
              <a:custGeom>
                <a:avLst/>
                <a:gdLst>
                  <a:gd name="T0" fmla="*/ 374 w 471"/>
                  <a:gd name="T1" fmla="*/ 105 h 265"/>
                  <a:gd name="T2" fmla="*/ 301 w 471"/>
                  <a:gd name="T3" fmla="*/ 72 h 265"/>
                  <a:gd name="T4" fmla="*/ 211 w 471"/>
                  <a:gd name="T5" fmla="*/ 114 h 265"/>
                  <a:gd name="T6" fmla="*/ 125 w 471"/>
                  <a:gd name="T7" fmla="*/ 165 h 265"/>
                  <a:gd name="T8" fmla="*/ 83 w 471"/>
                  <a:gd name="T9" fmla="*/ 137 h 265"/>
                  <a:gd name="T10" fmla="*/ 73 w 471"/>
                  <a:gd name="T11" fmla="*/ 166 h 265"/>
                  <a:gd name="T12" fmla="*/ 72 w 471"/>
                  <a:gd name="T13" fmla="*/ 189 h 265"/>
                  <a:gd name="T14" fmla="*/ 35 w 471"/>
                  <a:gd name="T15" fmla="*/ 148 h 265"/>
                  <a:gd name="T16" fmla="*/ 53 w 471"/>
                  <a:gd name="T17" fmla="*/ 100 h 265"/>
                  <a:gd name="T18" fmla="*/ 33 w 471"/>
                  <a:gd name="T19" fmla="*/ 61 h 265"/>
                  <a:gd name="T20" fmla="*/ 80 w 471"/>
                  <a:gd name="T21" fmla="*/ 0 h 265"/>
                  <a:gd name="T22" fmla="*/ 27 w 471"/>
                  <a:gd name="T23" fmla="*/ 24 h 265"/>
                  <a:gd name="T24" fmla="*/ 3 w 471"/>
                  <a:gd name="T25" fmla="*/ 69 h 265"/>
                  <a:gd name="T26" fmla="*/ 21 w 471"/>
                  <a:gd name="T27" fmla="*/ 111 h 265"/>
                  <a:gd name="T28" fmla="*/ 5 w 471"/>
                  <a:gd name="T29" fmla="*/ 144 h 265"/>
                  <a:gd name="T30" fmla="*/ 16 w 471"/>
                  <a:gd name="T31" fmla="*/ 183 h 265"/>
                  <a:gd name="T32" fmla="*/ 49 w 471"/>
                  <a:gd name="T33" fmla="*/ 217 h 265"/>
                  <a:gd name="T34" fmla="*/ 62 w 471"/>
                  <a:gd name="T35" fmla="*/ 225 h 265"/>
                  <a:gd name="T36" fmla="*/ 62 w 471"/>
                  <a:gd name="T37" fmla="*/ 242 h 265"/>
                  <a:gd name="T38" fmla="*/ 86 w 471"/>
                  <a:gd name="T39" fmla="*/ 264 h 265"/>
                  <a:gd name="T40" fmla="*/ 118 w 471"/>
                  <a:gd name="T41" fmla="*/ 244 h 265"/>
                  <a:gd name="T42" fmla="*/ 132 w 471"/>
                  <a:gd name="T43" fmla="*/ 196 h 265"/>
                  <a:gd name="T44" fmla="*/ 235 w 471"/>
                  <a:gd name="T45" fmla="*/ 144 h 265"/>
                  <a:gd name="T46" fmla="*/ 282 w 471"/>
                  <a:gd name="T47" fmla="*/ 116 h 265"/>
                  <a:gd name="T48" fmla="*/ 373 w 471"/>
                  <a:gd name="T49" fmla="*/ 136 h 265"/>
                  <a:gd name="T50" fmla="*/ 471 w 471"/>
                  <a:gd name="T51" fmla="*/ 112 h 265"/>
                  <a:gd name="T52" fmla="*/ 374 w 471"/>
                  <a:gd name="T53" fmla="*/ 105 h 265"/>
                  <a:gd name="T54" fmla="*/ 79 w 471"/>
                  <a:gd name="T55" fmla="*/ 240 h 265"/>
                  <a:gd name="T56" fmla="*/ 109 w 471"/>
                  <a:gd name="T57" fmla="*/ 213 h 265"/>
                  <a:gd name="T58" fmla="*/ 79 w 471"/>
                  <a:gd name="T59" fmla="*/ 24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71" h="265">
                    <a:moveTo>
                      <a:pt x="374" y="105"/>
                    </a:moveTo>
                    <a:cubicBezTo>
                      <a:pt x="351" y="100"/>
                      <a:pt x="301" y="72"/>
                      <a:pt x="301" y="72"/>
                    </a:cubicBezTo>
                    <a:cubicBezTo>
                      <a:pt x="301" y="72"/>
                      <a:pt x="227" y="105"/>
                      <a:pt x="211" y="114"/>
                    </a:cubicBezTo>
                    <a:cubicBezTo>
                      <a:pt x="195" y="123"/>
                      <a:pt x="136" y="164"/>
                      <a:pt x="125" y="165"/>
                    </a:cubicBezTo>
                    <a:cubicBezTo>
                      <a:pt x="114" y="166"/>
                      <a:pt x="83" y="137"/>
                      <a:pt x="83" y="137"/>
                    </a:cubicBezTo>
                    <a:cubicBezTo>
                      <a:pt x="83" y="137"/>
                      <a:pt x="71" y="160"/>
                      <a:pt x="73" y="166"/>
                    </a:cubicBezTo>
                    <a:cubicBezTo>
                      <a:pt x="74" y="172"/>
                      <a:pt x="85" y="182"/>
                      <a:pt x="72" y="189"/>
                    </a:cubicBezTo>
                    <a:cubicBezTo>
                      <a:pt x="57" y="198"/>
                      <a:pt x="35" y="163"/>
                      <a:pt x="35" y="148"/>
                    </a:cubicBezTo>
                    <a:cubicBezTo>
                      <a:pt x="35" y="133"/>
                      <a:pt x="55" y="115"/>
                      <a:pt x="53" y="100"/>
                    </a:cubicBezTo>
                    <a:cubicBezTo>
                      <a:pt x="51" y="85"/>
                      <a:pt x="35" y="80"/>
                      <a:pt x="33" y="61"/>
                    </a:cubicBezTo>
                    <a:cubicBezTo>
                      <a:pt x="31" y="43"/>
                      <a:pt x="80" y="0"/>
                      <a:pt x="80" y="0"/>
                    </a:cubicBezTo>
                    <a:cubicBezTo>
                      <a:pt x="80" y="0"/>
                      <a:pt x="45" y="7"/>
                      <a:pt x="27" y="24"/>
                    </a:cubicBezTo>
                    <a:cubicBezTo>
                      <a:pt x="10" y="40"/>
                      <a:pt x="4" y="55"/>
                      <a:pt x="3" y="69"/>
                    </a:cubicBezTo>
                    <a:cubicBezTo>
                      <a:pt x="2" y="84"/>
                      <a:pt x="21" y="98"/>
                      <a:pt x="21" y="111"/>
                    </a:cubicBezTo>
                    <a:cubicBezTo>
                      <a:pt x="21" y="121"/>
                      <a:pt x="10" y="127"/>
                      <a:pt x="5" y="144"/>
                    </a:cubicBezTo>
                    <a:cubicBezTo>
                      <a:pt x="0" y="160"/>
                      <a:pt x="11" y="176"/>
                      <a:pt x="16" y="183"/>
                    </a:cubicBezTo>
                    <a:cubicBezTo>
                      <a:pt x="22" y="191"/>
                      <a:pt x="40" y="209"/>
                      <a:pt x="49" y="217"/>
                    </a:cubicBezTo>
                    <a:cubicBezTo>
                      <a:pt x="58" y="224"/>
                      <a:pt x="62" y="225"/>
                      <a:pt x="62" y="225"/>
                    </a:cubicBezTo>
                    <a:cubicBezTo>
                      <a:pt x="62" y="225"/>
                      <a:pt x="61" y="234"/>
                      <a:pt x="62" y="242"/>
                    </a:cubicBezTo>
                    <a:cubicBezTo>
                      <a:pt x="63" y="251"/>
                      <a:pt x="70" y="265"/>
                      <a:pt x="86" y="264"/>
                    </a:cubicBezTo>
                    <a:cubicBezTo>
                      <a:pt x="100" y="263"/>
                      <a:pt x="109" y="256"/>
                      <a:pt x="118" y="244"/>
                    </a:cubicBezTo>
                    <a:cubicBezTo>
                      <a:pt x="129" y="231"/>
                      <a:pt x="132" y="196"/>
                      <a:pt x="132" y="196"/>
                    </a:cubicBezTo>
                    <a:cubicBezTo>
                      <a:pt x="132" y="196"/>
                      <a:pt x="205" y="158"/>
                      <a:pt x="235" y="144"/>
                    </a:cubicBezTo>
                    <a:cubicBezTo>
                      <a:pt x="264" y="129"/>
                      <a:pt x="282" y="116"/>
                      <a:pt x="282" y="116"/>
                    </a:cubicBezTo>
                    <a:cubicBezTo>
                      <a:pt x="282" y="116"/>
                      <a:pt x="321" y="134"/>
                      <a:pt x="373" y="136"/>
                    </a:cubicBezTo>
                    <a:cubicBezTo>
                      <a:pt x="425" y="138"/>
                      <a:pt x="471" y="112"/>
                      <a:pt x="471" y="112"/>
                    </a:cubicBezTo>
                    <a:cubicBezTo>
                      <a:pt x="471" y="112"/>
                      <a:pt x="398" y="110"/>
                      <a:pt x="374" y="105"/>
                    </a:cubicBezTo>
                    <a:close/>
                    <a:moveTo>
                      <a:pt x="79" y="240"/>
                    </a:moveTo>
                    <a:cubicBezTo>
                      <a:pt x="68" y="225"/>
                      <a:pt x="100" y="199"/>
                      <a:pt x="109" y="213"/>
                    </a:cubicBezTo>
                    <a:cubicBezTo>
                      <a:pt x="116" y="227"/>
                      <a:pt x="89" y="252"/>
                      <a:pt x="79" y="2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5" name="Freeform 14">
                <a:extLst>
                  <a:ext uri="{FF2B5EF4-FFF2-40B4-BE49-F238E27FC236}">
                    <a16:creationId xmlns:a16="http://schemas.microsoft.com/office/drawing/2014/main" id="{FF81EEB1-0273-79D5-B671-E913679FA3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918" y="3810944"/>
                <a:ext cx="10859" cy="19909"/>
              </a:xfrm>
              <a:custGeom>
                <a:avLst/>
                <a:gdLst>
                  <a:gd name="T0" fmla="*/ 0 w 29"/>
                  <a:gd name="T1" fmla="*/ 0 h 50"/>
                  <a:gd name="T2" fmla="*/ 29 w 29"/>
                  <a:gd name="T3" fmla="*/ 36 h 50"/>
                  <a:gd name="T4" fmla="*/ 9 w 29"/>
                  <a:gd name="T5" fmla="*/ 44 h 50"/>
                  <a:gd name="T6" fmla="*/ 9 w 29"/>
                  <a:gd name="T7" fmla="*/ 27 h 50"/>
                  <a:gd name="T8" fmla="*/ 6 w 29"/>
                  <a:gd name="T9" fmla="*/ 15 h 50"/>
                  <a:gd name="T10" fmla="*/ 0 w 29"/>
                  <a:gd name="T1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50">
                    <a:moveTo>
                      <a:pt x="0" y="0"/>
                    </a:moveTo>
                    <a:cubicBezTo>
                      <a:pt x="13" y="20"/>
                      <a:pt x="29" y="23"/>
                      <a:pt x="29" y="36"/>
                    </a:cubicBezTo>
                    <a:cubicBezTo>
                      <a:pt x="28" y="43"/>
                      <a:pt x="17" y="50"/>
                      <a:pt x="9" y="44"/>
                    </a:cubicBezTo>
                    <a:cubicBezTo>
                      <a:pt x="0" y="38"/>
                      <a:pt x="9" y="27"/>
                      <a:pt x="9" y="27"/>
                    </a:cubicBezTo>
                    <a:cubicBezTo>
                      <a:pt x="9" y="27"/>
                      <a:pt x="9" y="23"/>
                      <a:pt x="6" y="15"/>
                    </a:cubicBezTo>
                    <a:cubicBezTo>
                      <a:pt x="3" y="6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6" name="Freeform 15">
                <a:extLst>
                  <a:ext uri="{FF2B5EF4-FFF2-40B4-BE49-F238E27FC236}">
                    <a16:creationId xmlns:a16="http://schemas.microsoft.com/office/drawing/2014/main" id="{EC264324-4FA5-1777-821A-1B0DB835B3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8449" y="3991928"/>
                <a:ext cx="175555" cy="128499"/>
              </a:xfrm>
              <a:custGeom>
                <a:avLst/>
                <a:gdLst>
                  <a:gd name="T0" fmla="*/ 131 w 427"/>
                  <a:gd name="T1" fmla="*/ 32 h 315"/>
                  <a:gd name="T2" fmla="*/ 58 w 427"/>
                  <a:gd name="T3" fmla="*/ 32 h 315"/>
                  <a:gd name="T4" fmla="*/ 0 w 427"/>
                  <a:gd name="T5" fmla="*/ 315 h 315"/>
                  <a:gd name="T6" fmla="*/ 74 w 427"/>
                  <a:gd name="T7" fmla="*/ 315 h 315"/>
                  <a:gd name="T8" fmla="*/ 113 w 427"/>
                  <a:gd name="T9" fmla="*/ 122 h 315"/>
                  <a:gd name="T10" fmla="*/ 173 w 427"/>
                  <a:gd name="T11" fmla="*/ 101 h 315"/>
                  <a:gd name="T12" fmla="*/ 191 w 427"/>
                  <a:gd name="T13" fmla="*/ 121 h 315"/>
                  <a:gd name="T14" fmla="*/ 149 w 427"/>
                  <a:gd name="T15" fmla="*/ 313 h 315"/>
                  <a:gd name="T16" fmla="*/ 224 w 427"/>
                  <a:gd name="T17" fmla="*/ 313 h 315"/>
                  <a:gd name="T18" fmla="*/ 265 w 427"/>
                  <a:gd name="T19" fmla="*/ 127 h 315"/>
                  <a:gd name="T20" fmla="*/ 329 w 427"/>
                  <a:gd name="T21" fmla="*/ 103 h 315"/>
                  <a:gd name="T22" fmla="*/ 340 w 427"/>
                  <a:gd name="T23" fmla="*/ 127 h 315"/>
                  <a:gd name="T24" fmla="*/ 300 w 427"/>
                  <a:gd name="T25" fmla="*/ 313 h 315"/>
                  <a:gd name="T26" fmla="*/ 375 w 427"/>
                  <a:gd name="T27" fmla="*/ 313 h 315"/>
                  <a:gd name="T28" fmla="*/ 417 w 427"/>
                  <a:gd name="T29" fmla="*/ 106 h 315"/>
                  <a:gd name="T30" fmla="*/ 401 w 427"/>
                  <a:gd name="T31" fmla="*/ 45 h 315"/>
                  <a:gd name="T32" fmla="*/ 254 w 427"/>
                  <a:gd name="T33" fmla="*/ 58 h 315"/>
                  <a:gd name="T34" fmla="*/ 195 w 427"/>
                  <a:gd name="T35" fmla="*/ 28 h 315"/>
                  <a:gd name="T36" fmla="*/ 129 w 427"/>
                  <a:gd name="T37" fmla="*/ 49 h 315"/>
                  <a:gd name="T38" fmla="*/ 131 w 427"/>
                  <a:gd name="T39" fmla="*/ 3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7" h="315">
                    <a:moveTo>
                      <a:pt x="131" y="32"/>
                    </a:moveTo>
                    <a:lnTo>
                      <a:pt x="58" y="32"/>
                    </a:lnTo>
                    <a:lnTo>
                      <a:pt x="0" y="315"/>
                    </a:lnTo>
                    <a:lnTo>
                      <a:pt x="74" y="315"/>
                    </a:lnTo>
                    <a:lnTo>
                      <a:pt x="113" y="122"/>
                    </a:lnTo>
                    <a:cubicBezTo>
                      <a:pt x="139" y="110"/>
                      <a:pt x="142" y="101"/>
                      <a:pt x="173" y="101"/>
                    </a:cubicBezTo>
                    <a:cubicBezTo>
                      <a:pt x="197" y="101"/>
                      <a:pt x="191" y="121"/>
                      <a:pt x="191" y="121"/>
                    </a:cubicBezTo>
                    <a:lnTo>
                      <a:pt x="149" y="313"/>
                    </a:lnTo>
                    <a:lnTo>
                      <a:pt x="224" y="313"/>
                    </a:lnTo>
                    <a:lnTo>
                      <a:pt x="265" y="127"/>
                    </a:lnTo>
                    <a:cubicBezTo>
                      <a:pt x="270" y="121"/>
                      <a:pt x="310" y="101"/>
                      <a:pt x="329" y="103"/>
                    </a:cubicBezTo>
                    <a:cubicBezTo>
                      <a:pt x="347" y="105"/>
                      <a:pt x="340" y="127"/>
                      <a:pt x="340" y="127"/>
                    </a:cubicBezTo>
                    <a:lnTo>
                      <a:pt x="300" y="313"/>
                    </a:lnTo>
                    <a:lnTo>
                      <a:pt x="375" y="313"/>
                    </a:lnTo>
                    <a:lnTo>
                      <a:pt x="417" y="106"/>
                    </a:lnTo>
                    <a:cubicBezTo>
                      <a:pt x="417" y="106"/>
                      <a:pt x="427" y="65"/>
                      <a:pt x="401" y="45"/>
                    </a:cubicBezTo>
                    <a:cubicBezTo>
                      <a:pt x="344" y="0"/>
                      <a:pt x="265" y="57"/>
                      <a:pt x="254" y="58"/>
                    </a:cubicBezTo>
                    <a:cubicBezTo>
                      <a:pt x="252" y="55"/>
                      <a:pt x="237" y="31"/>
                      <a:pt x="195" y="28"/>
                    </a:cubicBezTo>
                    <a:cubicBezTo>
                      <a:pt x="165" y="25"/>
                      <a:pt x="129" y="49"/>
                      <a:pt x="129" y="49"/>
                    </a:cubicBezTo>
                    <a:lnTo>
                      <a:pt x="131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7" name="Freeform 16">
                <a:extLst>
                  <a:ext uri="{FF2B5EF4-FFF2-40B4-BE49-F238E27FC236}">
                    <a16:creationId xmlns:a16="http://schemas.microsoft.com/office/drawing/2014/main" id="{143D864A-29B1-E9C4-941A-BBEB9238D04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04993" y="4055271"/>
                <a:ext cx="57915" cy="76013"/>
              </a:xfrm>
              <a:custGeom>
                <a:avLst/>
                <a:gdLst>
                  <a:gd name="T0" fmla="*/ 32 w 142"/>
                  <a:gd name="T1" fmla="*/ 103 h 184"/>
                  <a:gd name="T2" fmla="*/ 32 w 142"/>
                  <a:gd name="T3" fmla="*/ 159 h 184"/>
                  <a:gd name="T4" fmla="*/ 82 w 142"/>
                  <a:gd name="T5" fmla="*/ 159 h 184"/>
                  <a:gd name="T6" fmla="*/ 110 w 142"/>
                  <a:gd name="T7" fmla="*/ 135 h 184"/>
                  <a:gd name="T8" fmla="*/ 101 w 142"/>
                  <a:gd name="T9" fmla="*/ 115 h 184"/>
                  <a:gd name="T10" fmla="*/ 90 w 142"/>
                  <a:gd name="T11" fmla="*/ 103 h 184"/>
                  <a:gd name="T12" fmla="*/ 32 w 142"/>
                  <a:gd name="T13" fmla="*/ 103 h 184"/>
                  <a:gd name="T14" fmla="*/ 79 w 142"/>
                  <a:gd name="T15" fmla="*/ 24 h 184"/>
                  <a:gd name="T16" fmla="*/ 32 w 142"/>
                  <a:gd name="T17" fmla="*/ 24 h 184"/>
                  <a:gd name="T18" fmla="*/ 32 w 142"/>
                  <a:gd name="T19" fmla="*/ 80 h 184"/>
                  <a:gd name="T20" fmla="*/ 89 w 142"/>
                  <a:gd name="T21" fmla="*/ 80 h 184"/>
                  <a:gd name="T22" fmla="*/ 97 w 142"/>
                  <a:gd name="T23" fmla="*/ 68 h 184"/>
                  <a:gd name="T24" fmla="*/ 104 w 142"/>
                  <a:gd name="T25" fmla="*/ 47 h 184"/>
                  <a:gd name="T26" fmla="*/ 79 w 142"/>
                  <a:gd name="T27" fmla="*/ 24 h 184"/>
                  <a:gd name="T28" fmla="*/ 21 w 142"/>
                  <a:gd name="T29" fmla="*/ 184 h 184"/>
                  <a:gd name="T30" fmla="*/ 0 w 142"/>
                  <a:gd name="T31" fmla="*/ 164 h 184"/>
                  <a:gd name="T32" fmla="*/ 0 w 142"/>
                  <a:gd name="T33" fmla="*/ 20 h 184"/>
                  <a:gd name="T34" fmla="*/ 21 w 142"/>
                  <a:gd name="T35" fmla="*/ 0 h 184"/>
                  <a:gd name="T36" fmla="*/ 83 w 142"/>
                  <a:gd name="T37" fmla="*/ 0 h 184"/>
                  <a:gd name="T38" fmla="*/ 135 w 142"/>
                  <a:gd name="T39" fmla="*/ 46 h 184"/>
                  <a:gd name="T40" fmla="*/ 124 w 142"/>
                  <a:gd name="T41" fmla="*/ 78 h 184"/>
                  <a:gd name="T42" fmla="*/ 115 w 142"/>
                  <a:gd name="T43" fmla="*/ 90 h 184"/>
                  <a:gd name="T44" fmla="*/ 127 w 142"/>
                  <a:gd name="T45" fmla="*/ 102 h 184"/>
                  <a:gd name="T46" fmla="*/ 142 w 142"/>
                  <a:gd name="T47" fmla="*/ 136 h 184"/>
                  <a:gd name="T48" fmla="*/ 84 w 142"/>
                  <a:gd name="T49" fmla="*/ 184 h 184"/>
                  <a:gd name="T50" fmla="*/ 21 w 142"/>
                  <a:gd name="T51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2" h="184">
                    <a:moveTo>
                      <a:pt x="32" y="103"/>
                    </a:moveTo>
                    <a:lnTo>
                      <a:pt x="32" y="159"/>
                    </a:lnTo>
                    <a:lnTo>
                      <a:pt x="82" y="159"/>
                    </a:lnTo>
                    <a:cubicBezTo>
                      <a:pt x="100" y="159"/>
                      <a:pt x="110" y="150"/>
                      <a:pt x="110" y="135"/>
                    </a:cubicBezTo>
                    <a:cubicBezTo>
                      <a:pt x="110" y="128"/>
                      <a:pt x="107" y="121"/>
                      <a:pt x="101" y="115"/>
                    </a:cubicBezTo>
                    <a:lnTo>
                      <a:pt x="90" y="103"/>
                    </a:lnTo>
                    <a:lnTo>
                      <a:pt x="32" y="103"/>
                    </a:lnTo>
                    <a:close/>
                    <a:moveTo>
                      <a:pt x="79" y="24"/>
                    </a:moveTo>
                    <a:lnTo>
                      <a:pt x="32" y="24"/>
                    </a:lnTo>
                    <a:lnTo>
                      <a:pt x="32" y="80"/>
                    </a:lnTo>
                    <a:lnTo>
                      <a:pt x="89" y="80"/>
                    </a:lnTo>
                    <a:lnTo>
                      <a:pt x="97" y="68"/>
                    </a:lnTo>
                    <a:cubicBezTo>
                      <a:pt x="102" y="62"/>
                      <a:pt x="104" y="55"/>
                      <a:pt x="104" y="47"/>
                    </a:cubicBezTo>
                    <a:cubicBezTo>
                      <a:pt x="104" y="34"/>
                      <a:pt x="97" y="24"/>
                      <a:pt x="79" y="24"/>
                    </a:cubicBezTo>
                    <a:close/>
                    <a:moveTo>
                      <a:pt x="21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20"/>
                    </a:lnTo>
                    <a:cubicBezTo>
                      <a:pt x="0" y="8"/>
                      <a:pt x="8" y="0"/>
                      <a:pt x="21" y="0"/>
                    </a:cubicBezTo>
                    <a:lnTo>
                      <a:pt x="83" y="0"/>
                    </a:lnTo>
                    <a:cubicBezTo>
                      <a:pt x="116" y="0"/>
                      <a:pt x="135" y="15"/>
                      <a:pt x="135" y="46"/>
                    </a:cubicBezTo>
                    <a:cubicBezTo>
                      <a:pt x="135" y="58"/>
                      <a:pt x="131" y="69"/>
                      <a:pt x="124" y="78"/>
                    </a:cubicBezTo>
                    <a:lnTo>
                      <a:pt x="115" y="90"/>
                    </a:lnTo>
                    <a:lnTo>
                      <a:pt x="127" y="102"/>
                    </a:lnTo>
                    <a:cubicBezTo>
                      <a:pt x="136" y="111"/>
                      <a:pt x="142" y="123"/>
                      <a:pt x="142" y="136"/>
                    </a:cubicBezTo>
                    <a:cubicBezTo>
                      <a:pt x="142" y="166"/>
                      <a:pt x="121" y="184"/>
                      <a:pt x="84" y="184"/>
                    </a:cubicBezTo>
                    <a:lnTo>
                      <a:pt x="21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8" name="Freeform 17">
                <a:extLst>
                  <a:ext uri="{FF2B5EF4-FFF2-40B4-BE49-F238E27FC236}">
                    <a16:creationId xmlns:a16="http://schemas.microsoft.com/office/drawing/2014/main" id="{BB9441F9-891B-08E2-52C9-0ECCD74A53E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71956" y="4075180"/>
                <a:ext cx="52486" cy="56105"/>
              </a:xfrm>
              <a:custGeom>
                <a:avLst/>
                <a:gdLst>
                  <a:gd name="T0" fmla="*/ 65 w 130"/>
                  <a:gd name="T1" fmla="*/ 22 h 138"/>
                  <a:gd name="T2" fmla="*/ 30 w 130"/>
                  <a:gd name="T3" fmla="*/ 69 h 138"/>
                  <a:gd name="T4" fmla="*/ 66 w 130"/>
                  <a:gd name="T5" fmla="*/ 116 h 138"/>
                  <a:gd name="T6" fmla="*/ 102 w 130"/>
                  <a:gd name="T7" fmla="*/ 69 h 138"/>
                  <a:gd name="T8" fmla="*/ 65 w 130"/>
                  <a:gd name="T9" fmla="*/ 22 h 138"/>
                  <a:gd name="T10" fmla="*/ 65 w 130"/>
                  <a:gd name="T11" fmla="*/ 138 h 138"/>
                  <a:gd name="T12" fmla="*/ 0 w 130"/>
                  <a:gd name="T13" fmla="*/ 69 h 138"/>
                  <a:gd name="T14" fmla="*/ 66 w 130"/>
                  <a:gd name="T15" fmla="*/ 0 h 138"/>
                  <a:gd name="T16" fmla="*/ 130 w 130"/>
                  <a:gd name="T17" fmla="*/ 69 h 138"/>
                  <a:gd name="T18" fmla="*/ 65 w 130"/>
                  <a:gd name="T1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8">
                    <a:moveTo>
                      <a:pt x="65" y="22"/>
                    </a:moveTo>
                    <a:cubicBezTo>
                      <a:pt x="41" y="22"/>
                      <a:pt x="30" y="39"/>
                      <a:pt x="30" y="69"/>
                    </a:cubicBezTo>
                    <a:cubicBezTo>
                      <a:pt x="30" y="100"/>
                      <a:pt x="42" y="116"/>
                      <a:pt x="66" y="116"/>
                    </a:cubicBezTo>
                    <a:cubicBezTo>
                      <a:pt x="89" y="116"/>
                      <a:pt x="102" y="100"/>
                      <a:pt x="102" y="69"/>
                    </a:cubicBezTo>
                    <a:cubicBezTo>
                      <a:pt x="102" y="39"/>
                      <a:pt x="88" y="22"/>
                      <a:pt x="65" y="22"/>
                    </a:cubicBezTo>
                    <a:close/>
                    <a:moveTo>
                      <a:pt x="65" y="138"/>
                    </a:moveTo>
                    <a:cubicBezTo>
                      <a:pt x="25" y="138"/>
                      <a:pt x="0" y="113"/>
                      <a:pt x="0" y="69"/>
                    </a:cubicBezTo>
                    <a:cubicBezTo>
                      <a:pt x="0" y="25"/>
                      <a:pt x="26" y="0"/>
                      <a:pt x="66" y="0"/>
                    </a:cubicBezTo>
                    <a:cubicBezTo>
                      <a:pt x="106" y="0"/>
                      <a:pt x="130" y="25"/>
                      <a:pt x="130" y="69"/>
                    </a:cubicBezTo>
                    <a:cubicBezTo>
                      <a:pt x="130" y="113"/>
                      <a:pt x="105" y="138"/>
                      <a:pt x="65" y="1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9" name="Freeform 18">
                <a:extLst>
                  <a:ext uri="{FF2B5EF4-FFF2-40B4-BE49-F238E27FC236}">
                    <a16:creationId xmlns:a16="http://schemas.microsoft.com/office/drawing/2014/main" id="{1CB05158-8E64-6481-3D81-CFC35CB68A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29871" y="4062511"/>
                <a:ext cx="39816" cy="68774"/>
              </a:xfrm>
              <a:custGeom>
                <a:avLst/>
                <a:gdLst>
                  <a:gd name="T0" fmla="*/ 95 w 95"/>
                  <a:gd name="T1" fmla="*/ 165 h 170"/>
                  <a:gd name="T2" fmla="*/ 63 w 95"/>
                  <a:gd name="T3" fmla="*/ 170 h 170"/>
                  <a:gd name="T4" fmla="*/ 20 w 95"/>
                  <a:gd name="T5" fmla="*/ 123 h 170"/>
                  <a:gd name="T6" fmla="*/ 20 w 95"/>
                  <a:gd name="T7" fmla="*/ 58 h 170"/>
                  <a:gd name="T8" fmla="*/ 0 w 95"/>
                  <a:gd name="T9" fmla="*/ 58 h 170"/>
                  <a:gd name="T10" fmla="*/ 0 w 95"/>
                  <a:gd name="T11" fmla="*/ 35 h 170"/>
                  <a:gd name="T12" fmla="*/ 20 w 95"/>
                  <a:gd name="T13" fmla="*/ 35 h 170"/>
                  <a:gd name="T14" fmla="*/ 20 w 95"/>
                  <a:gd name="T15" fmla="*/ 5 h 170"/>
                  <a:gd name="T16" fmla="*/ 48 w 95"/>
                  <a:gd name="T17" fmla="*/ 0 h 170"/>
                  <a:gd name="T18" fmla="*/ 48 w 95"/>
                  <a:gd name="T19" fmla="*/ 35 h 170"/>
                  <a:gd name="T20" fmla="*/ 91 w 95"/>
                  <a:gd name="T21" fmla="*/ 35 h 170"/>
                  <a:gd name="T22" fmla="*/ 91 w 95"/>
                  <a:gd name="T23" fmla="*/ 58 h 170"/>
                  <a:gd name="T24" fmla="*/ 48 w 95"/>
                  <a:gd name="T25" fmla="*/ 58 h 170"/>
                  <a:gd name="T26" fmla="*/ 48 w 95"/>
                  <a:gd name="T27" fmla="*/ 124 h 170"/>
                  <a:gd name="T28" fmla="*/ 67 w 95"/>
                  <a:gd name="T29" fmla="*/ 147 h 170"/>
                  <a:gd name="T30" fmla="*/ 91 w 95"/>
                  <a:gd name="T31" fmla="*/ 143 h 170"/>
                  <a:gd name="T32" fmla="*/ 95 w 95"/>
                  <a:gd name="T33" fmla="*/ 16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70">
                    <a:moveTo>
                      <a:pt x="95" y="165"/>
                    </a:moveTo>
                    <a:cubicBezTo>
                      <a:pt x="81" y="169"/>
                      <a:pt x="72" y="170"/>
                      <a:pt x="63" y="170"/>
                    </a:cubicBezTo>
                    <a:cubicBezTo>
                      <a:pt x="34" y="170"/>
                      <a:pt x="20" y="154"/>
                      <a:pt x="20" y="123"/>
                    </a:cubicBezTo>
                    <a:lnTo>
                      <a:pt x="20" y="58"/>
                    </a:lnTo>
                    <a:lnTo>
                      <a:pt x="0" y="58"/>
                    </a:lnTo>
                    <a:lnTo>
                      <a:pt x="0" y="35"/>
                    </a:lnTo>
                    <a:lnTo>
                      <a:pt x="20" y="35"/>
                    </a:lnTo>
                    <a:lnTo>
                      <a:pt x="20" y="5"/>
                    </a:lnTo>
                    <a:lnTo>
                      <a:pt x="48" y="0"/>
                    </a:lnTo>
                    <a:lnTo>
                      <a:pt x="48" y="35"/>
                    </a:lnTo>
                    <a:lnTo>
                      <a:pt x="91" y="35"/>
                    </a:lnTo>
                    <a:lnTo>
                      <a:pt x="91" y="58"/>
                    </a:lnTo>
                    <a:lnTo>
                      <a:pt x="48" y="58"/>
                    </a:lnTo>
                    <a:lnTo>
                      <a:pt x="48" y="124"/>
                    </a:lnTo>
                    <a:cubicBezTo>
                      <a:pt x="48" y="138"/>
                      <a:pt x="53" y="147"/>
                      <a:pt x="67" y="147"/>
                    </a:cubicBezTo>
                    <a:cubicBezTo>
                      <a:pt x="73" y="147"/>
                      <a:pt x="81" y="145"/>
                      <a:pt x="91" y="143"/>
                    </a:cubicBezTo>
                    <a:lnTo>
                      <a:pt x="95" y="1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0" name="Freeform 19">
                <a:extLst>
                  <a:ext uri="{FF2B5EF4-FFF2-40B4-BE49-F238E27FC236}">
                    <a16:creationId xmlns:a16="http://schemas.microsoft.com/office/drawing/2014/main" id="{22F54B32-291A-CBE6-3D4D-873D86E82D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76927" y="4075180"/>
                <a:ext cx="45246" cy="56105"/>
              </a:xfrm>
              <a:custGeom>
                <a:avLst/>
                <a:gdLst>
                  <a:gd name="T0" fmla="*/ 72 w 110"/>
                  <a:gd name="T1" fmla="*/ 60 h 138"/>
                  <a:gd name="T2" fmla="*/ 110 w 110"/>
                  <a:gd name="T3" fmla="*/ 97 h 138"/>
                  <a:gd name="T4" fmla="*/ 60 w 110"/>
                  <a:gd name="T5" fmla="*/ 138 h 138"/>
                  <a:gd name="T6" fmla="*/ 11 w 110"/>
                  <a:gd name="T7" fmla="*/ 130 h 138"/>
                  <a:gd name="T8" fmla="*/ 0 w 110"/>
                  <a:gd name="T9" fmla="*/ 127 h 138"/>
                  <a:gd name="T10" fmla="*/ 4 w 110"/>
                  <a:gd name="T11" fmla="*/ 104 h 138"/>
                  <a:gd name="T12" fmla="*/ 16 w 110"/>
                  <a:gd name="T13" fmla="*/ 107 h 138"/>
                  <a:gd name="T14" fmla="*/ 59 w 110"/>
                  <a:gd name="T15" fmla="*/ 115 h 138"/>
                  <a:gd name="T16" fmla="*/ 82 w 110"/>
                  <a:gd name="T17" fmla="*/ 98 h 138"/>
                  <a:gd name="T18" fmla="*/ 63 w 110"/>
                  <a:gd name="T19" fmla="*/ 83 h 138"/>
                  <a:gd name="T20" fmla="*/ 38 w 110"/>
                  <a:gd name="T21" fmla="*/ 78 h 138"/>
                  <a:gd name="T22" fmla="*/ 0 w 110"/>
                  <a:gd name="T23" fmla="*/ 41 h 138"/>
                  <a:gd name="T24" fmla="*/ 50 w 110"/>
                  <a:gd name="T25" fmla="*/ 0 h 138"/>
                  <a:gd name="T26" fmla="*/ 99 w 110"/>
                  <a:gd name="T27" fmla="*/ 8 h 138"/>
                  <a:gd name="T28" fmla="*/ 110 w 110"/>
                  <a:gd name="T29" fmla="*/ 12 h 138"/>
                  <a:gd name="T30" fmla="*/ 106 w 110"/>
                  <a:gd name="T31" fmla="*/ 35 h 138"/>
                  <a:gd name="T32" fmla="*/ 94 w 110"/>
                  <a:gd name="T33" fmla="*/ 31 h 138"/>
                  <a:gd name="T34" fmla="*/ 51 w 110"/>
                  <a:gd name="T35" fmla="*/ 23 h 138"/>
                  <a:gd name="T36" fmla="*/ 28 w 110"/>
                  <a:gd name="T37" fmla="*/ 40 h 138"/>
                  <a:gd name="T38" fmla="*/ 47 w 110"/>
                  <a:gd name="T39" fmla="*/ 56 h 138"/>
                  <a:gd name="T40" fmla="*/ 72 w 110"/>
                  <a:gd name="T41" fmla="*/ 6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0" h="138">
                    <a:moveTo>
                      <a:pt x="72" y="60"/>
                    </a:moveTo>
                    <a:cubicBezTo>
                      <a:pt x="96" y="64"/>
                      <a:pt x="110" y="76"/>
                      <a:pt x="110" y="97"/>
                    </a:cubicBezTo>
                    <a:cubicBezTo>
                      <a:pt x="110" y="125"/>
                      <a:pt x="87" y="138"/>
                      <a:pt x="60" y="138"/>
                    </a:cubicBezTo>
                    <a:cubicBezTo>
                      <a:pt x="42" y="138"/>
                      <a:pt x="28" y="136"/>
                      <a:pt x="11" y="130"/>
                    </a:cubicBezTo>
                    <a:lnTo>
                      <a:pt x="0" y="127"/>
                    </a:lnTo>
                    <a:lnTo>
                      <a:pt x="4" y="104"/>
                    </a:lnTo>
                    <a:lnTo>
                      <a:pt x="16" y="107"/>
                    </a:lnTo>
                    <a:cubicBezTo>
                      <a:pt x="30" y="112"/>
                      <a:pt x="45" y="115"/>
                      <a:pt x="59" y="115"/>
                    </a:cubicBezTo>
                    <a:cubicBezTo>
                      <a:pt x="72" y="115"/>
                      <a:pt x="82" y="111"/>
                      <a:pt x="82" y="98"/>
                    </a:cubicBezTo>
                    <a:cubicBezTo>
                      <a:pt x="82" y="90"/>
                      <a:pt x="77" y="85"/>
                      <a:pt x="63" y="83"/>
                    </a:cubicBezTo>
                    <a:lnTo>
                      <a:pt x="38" y="78"/>
                    </a:lnTo>
                    <a:cubicBezTo>
                      <a:pt x="13" y="74"/>
                      <a:pt x="0" y="62"/>
                      <a:pt x="0" y="41"/>
                    </a:cubicBezTo>
                    <a:cubicBezTo>
                      <a:pt x="0" y="14"/>
                      <a:pt x="23" y="0"/>
                      <a:pt x="50" y="0"/>
                    </a:cubicBezTo>
                    <a:cubicBezTo>
                      <a:pt x="68" y="0"/>
                      <a:pt x="82" y="3"/>
                      <a:pt x="99" y="8"/>
                    </a:cubicBezTo>
                    <a:lnTo>
                      <a:pt x="110" y="12"/>
                    </a:lnTo>
                    <a:lnTo>
                      <a:pt x="106" y="35"/>
                    </a:lnTo>
                    <a:lnTo>
                      <a:pt x="94" y="31"/>
                    </a:lnTo>
                    <a:cubicBezTo>
                      <a:pt x="79" y="27"/>
                      <a:pt x="65" y="23"/>
                      <a:pt x="51" y="23"/>
                    </a:cubicBezTo>
                    <a:cubicBezTo>
                      <a:pt x="38" y="23"/>
                      <a:pt x="28" y="28"/>
                      <a:pt x="28" y="40"/>
                    </a:cubicBezTo>
                    <a:cubicBezTo>
                      <a:pt x="28" y="49"/>
                      <a:pt x="33" y="54"/>
                      <a:pt x="47" y="56"/>
                    </a:cubicBezTo>
                    <a:lnTo>
                      <a:pt x="72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1" name="Freeform 20">
                <a:extLst>
                  <a:ext uri="{FF2B5EF4-FFF2-40B4-BE49-F238E27FC236}">
                    <a16:creationId xmlns:a16="http://schemas.microsoft.com/office/drawing/2014/main" id="{F2039ADC-3A01-3E99-6887-37F76955C2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29413" y="4075180"/>
                <a:ext cx="76013" cy="57915"/>
              </a:xfrm>
              <a:custGeom>
                <a:avLst/>
                <a:gdLst>
                  <a:gd name="T0" fmla="*/ 160 w 186"/>
                  <a:gd name="T1" fmla="*/ 123 h 138"/>
                  <a:gd name="T2" fmla="*/ 140 w 186"/>
                  <a:gd name="T3" fmla="*/ 138 h 138"/>
                  <a:gd name="T4" fmla="*/ 119 w 186"/>
                  <a:gd name="T5" fmla="*/ 124 h 138"/>
                  <a:gd name="T6" fmla="*/ 93 w 186"/>
                  <a:gd name="T7" fmla="*/ 42 h 138"/>
                  <a:gd name="T8" fmla="*/ 66 w 186"/>
                  <a:gd name="T9" fmla="*/ 124 h 138"/>
                  <a:gd name="T10" fmla="*/ 45 w 186"/>
                  <a:gd name="T11" fmla="*/ 138 h 138"/>
                  <a:gd name="T12" fmla="*/ 25 w 186"/>
                  <a:gd name="T13" fmla="*/ 123 h 138"/>
                  <a:gd name="T14" fmla="*/ 0 w 186"/>
                  <a:gd name="T15" fmla="*/ 1 h 138"/>
                  <a:gd name="T16" fmla="*/ 30 w 186"/>
                  <a:gd name="T17" fmla="*/ 1 h 138"/>
                  <a:gd name="T18" fmla="*/ 48 w 186"/>
                  <a:gd name="T19" fmla="*/ 105 h 138"/>
                  <a:gd name="T20" fmla="*/ 77 w 186"/>
                  <a:gd name="T21" fmla="*/ 11 h 138"/>
                  <a:gd name="T22" fmla="*/ 93 w 186"/>
                  <a:gd name="T23" fmla="*/ 0 h 138"/>
                  <a:gd name="T24" fmla="*/ 110 w 186"/>
                  <a:gd name="T25" fmla="*/ 11 h 138"/>
                  <a:gd name="T26" fmla="*/ 139 w 186"/>
                  <a:gd name="T27" fmla="*/ 105 h 138"/>
                  <a:gd name="T28" fmla="*/ 157 w 186"/>
                  <a:gd name="T29" fmla="*/ 1 h 138"/>
                  <a:gd name="T30" fmla="*/ 186 w 186"/>
                  <a:gd name="T31" fmla="*/ 1 h 138"/>
                  <a:gd name="T32" fmla="*/ 160 w 186"/>
                  <a:gd name="T33" fmla="*/ 123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6" h="138">
                    <a:moveTo>
                      <a:pt x="160" y="123"/>
                    </a:moveTo>
                    <a:cubicBezTo>
                      <a:pt x="158" y="132"/>
                      <a:pt x="150" y="138"/>
                      <a:pt x="140" y="138"/>
                    </a:cubicBezTo>
                    <a:cubicBezTo>
                      <a:pt x="127" y="138"/>
                      <a:pt x="122" y="133"/>
                      <a:pt x="119" y="124"/>
                    </a:cubicBezTo>
                    <a:lnTo>
                      <a:pt x="93" y="42"/>
                    </a:lnTo>
                    <a:lnTo>
                      <a:pt x="66" y="124"/>
                    </a:lnTo>
                    <a:cubicBezTo>
                      <a:pt x="63" y="134"/>
                      <a:pt x="56" y="138"/>
                      <a:pt x="45" y="138"/>
                    </a:cubicBezTo>
                    <a:cubicBezTo>
                      <a:pt x="34" y="138"/>
                      <a:pt x="27" y="133"/>
                      <a:pt x="25" y="123"/>
                    </a:cubicBezTo>
                    <a:lnTo>
                      <a:pt x="0" y="1"/>
                    </a:lnTo>
                    <a:lnTo>
                      <a:pt x="30" y="1"/>
                    </a:lnTo>
                    <a:lnTo>
                      <a:pt x="48" y="105"/>
                    </a:lnTo>
                    <a:lnTo>
                      <a:pt x="77" y="11"/>
                    </a:lnTo>
                    <a:cubicBezTo>
                      <a:pt x="79" y="4"/>
                      <a:pt x="85" y="0"/>
                      <a:pt x="93" y="0"/>
                    </a:cubicBezTo>
                    <a:cubicBezTo>
                      <a:pt x="102" y="0"/>
                      <a:pt x="107" y="4"/>
                      <a:pt x="110" y="11"/>
                    </a:cubicBezTo>
                    <a:lnTo>
                      <a:pt x="139" y="105"/>
                    </a:lnTo>
                    <a:lnTo>
                      <a:pt x="157" y="1"/>
                    </a:lnTo>
                    <a:lnTo>
                      <a:pt x="186" y="1"/>
                    </a:lnTo>
                    <a:lnTo>
                      <a:pt x="160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2" name="Freeform 21">
                <a:extLst>
                  <a:ext uri="{FF2B5EF4-FFF2-40B4-BE49-F238E27FC236}">
                    <a16:creationId xmlns:a16="http://schemas.microsoft.com/office/drawing/2014/main" id="{BF865997-66D1-DBB2-650E-20C3214865F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10855" y="4075180"/>
                <a:ext cx="54295" cy="57915"/>
              </a:xfrm>
              <a:custGeom>
                <a:avLst/>
                <a:gdLst>
                  <a:gd name="T0" fmla="*/ 90 w 132"/>
                  <a:gd name="T1" fmla="*/ 79 h 139"/>
                  <a:gd name="T2" fmla="*/ 57 w 132"/>
                  <a:gd name="T3" fmla="*/ 79 h 139"/>
                  <a:gd name="T4" fmla="*/ 29 w 132"/>
                  <a:gd name="T5" fmla="*/ 99 h 139"/>
                  <a:gd name="T6" fmla="*/ 52 w 132"/>
                  <a:gd name="T7" fmla="*/ 117 h 139"/>
                  <a:gd name="T8" fmla="*/ 78 w 132"/>
                  <a:gd name="T9" fmla="*/ 113 h 139"/>
                  <a:gd name="T10" fmla="*/ 90 w 132"/>
                  <a:gd name="T11" fmla="*/ 110 h 139"/>
                  <a:gd name="T12" fmla="*/ 90 w 132"/>
                  <a:gd name="T13" fmla="*/ 79 h 139"/>
                  <a:gd name="T14" fmla="*/ 122 w 132"/>
                  <a:gd name="T15" fmla="*/ 139 h 139"/>
                  <a:gd name="T16" fmla="*/ 110 w 132"/>
                  <a:gd name="T17" fmla="*/ 133 h 139"/>
                  <a:gd name="T18" fmla="*/ 91 w 132"/>
                  <a:gd name="T19" fmla="*/ 131 h 139"/>
                  <a:gd name="T20" fmla="*/ 82 w 132"/>
                  <a:gd name="T21" fmla="*/ 133 h 139"/>
                  <a:gd name="T22" fmla="*/ 47 w 132"/>
                  <a:gd name="T23" fmla="*/ 138 h 139"/>
                  <a:gd name="T24" fmla="*/ 0 w 132"/>
                  <a:gd name="T25" fmla="*/ 100 h 139"/>
                  <a:gd name="T26" fmla="*/ 61 w 132"/>
                  <a:gd name="T27" fmla="*/ 58 h 139"/>
                  <a:gd name="T28" fmla="*/ 90 w 132"/>
                  <a:gd name="T29" fmla="*/ 58 h 139"/>
                  <a:gd name="T30" fmla="*/ 90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7 w 132"/>
                  <a:gd name="T45" fmla="*/ 46 h 139"/>
                  <a:gd name="T46" fmla="*/ 117 w 132"/>
                  <a:gd name="T47" fmla="*/ 111 h 139"/>
                  <a:gd name="T48" fmla="*/ 132 w 132"/>
                  <a:gd name="T49" fmla="*/ 120 h 139"/>
                  <a:gd name="T50" fmla="*/ 122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90" y="79"/>
                    </a:moveTo>
                    <a:lnTo>
                      <a:pt x="57" y="79"/>
                    </a:lnTo>
                    <a:cubicBezTo>
                      <a:pt x="39" y="79"/>
                      <a:pt x="29" y="84"/>
                      <a:pt x="29" y="99"/>
                    </a:cubicBezTo>
                    <a:cubicBezTo>
                      <a:pt x="29" y="111"/>
                      <a:pt x="37" y="117"/>
                      <a:pt x="52" y="117"/>
                    </a:cubicBezTo>
                    <a:cubicBezTo>
                      <a:pt x="58" y="117"/>
                      <a:pt x="68" y="115"/>
                      <a:pt x="78" y="113"/>
                    </a:cubicBezTo>
                    <a:lnTo>
                      <a:pt x="90" y="110"/>
                    </a:lnTo>
                    <a:lnTo>
                      <a:pt x="90" y="79"/>
                    </a:lnTo>
                    <a:close/>
                    <a:moveTo>
                      <a:pt x="122" y="139"/>
                    </a:moveTo>
                    <a:lnTo>
                      <a:pt x="110" y="133"/>
                    </a:lnTo>
                    <a:cubicBezTo>
                      <a:pt x="104" y="130"/>
                      <a:pt x="98" y="129"/>
                      <a:pt x="91" y="131"/>
                    </a:cubicBezTo>
                    <a:lnTo>
                      <a:pt x="82" y="133"/>
                    </a:lnTo>
                    <a:cubicBezTo>
                      <a:pt x="71" y="136"/>
                      <a:pt x="57" y="138"/>
                      <a:pt x="47" y="138"/>
                    </a:cubicBezTo>
                    <a:cubicBezTo>
                      <a:pt x="18" y="138"/>
                      <a:pt x="0" y="124"/>
                      <a:pt x="0" y="100"/>
                    </a:cubicBezTo>
                    <a:cubicBezTo>
                      <a:pt x="0" y="66"/>
                      <a:pt x="29" y="58"/>
                      <a:pt x="61" y="58"/>
                    </a:cubicBezTo>
                    <a:lnTo>
                      <a:pt x="90" y="58"/>
                    </a:lnTo>
                    <a:lnTo>
                      <a:pt x="90" y="47"/>
                    </a:lnTo>
                    <a:cubicBezTo>
                      <a:pt x="90" y="30"/>
                      <a:pt x="79" y="24"/>
                      <a:pt x="63" y="24"/>
                    </a:cubicBezTo>
                    <a:cubicBezTo>
                      <a:pt x="52" y="24"/>
                      <a:pt x="37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5" y="3"/>
                      <a:pt x="50" y="0"/>
                      <a:pt x="65" y="0"/>
                    </a:cubicBezTo>
                    <a:cubicBezTo>
                      <a:pt x="95" y="0"/>
                      <a:pt x="117" y="13"/>
                      <a:pt x="117" y="46"/>
                    </a:cubicBezTo>
                    <a:lnTo>
                      <a:pt x="117" y="111"/>
                    </a:lnTo>
                    <a:lnTo>
                      <a:pt x="132" y="120"/>
                    </a:lnTo>
                    <a:lnTo>
                      <a:pt x="122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3" name="Freeform 22">
                <a:extLst>
                  <a:ext uri="{FF2B5EF4-FFF2-40B4-BE49-F238E27FC236}">
                    <a16:creationId xmlns:a16="http://schemas.microsoft.com/office/drawing/2014/main" id="{E48B4E98-726A-4516-49E7-5B3A618448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4199" y="4075180"/>
                <a:ext cx="45246" cy="56105"/>
              </a:xfrm>
              <a:custGeom>
                <a:avLst/>
                <a:gdLst>
                  <a:gd name="T0" fmla="*/ 28 w 113"/>
                  <a:gd name="T1" fmla="*/ 136 h 136"/>
                  <a:gd name="T2" fmla="*/ 0 w 113"/>
                  <a:gd name="T3" fmla="*/ 136 h 136"/>
                  <a:gd name="T4" fmla="*/ 0 w 113"/>
                  <a:gd name="T5" fmla="*/ 26 h 136"/>
                  <a:gd name="T6" fmla="*/ 16 w 113"/>
                  <a:gd name="T7" fmla="*/ 6 h 136"/>
                  <a:gd name="T8" fmla="*/ 59 w 113"/>
                  <a:gd name="T9" fmla="*/ 0 h 136"/>
                  <a:gd name="T10" fmla="*/ 113 w 113"/>
                  <a:gd name="T11" fmla="*/ 48 h 136"/>
                  <a:gd name="T12" fmla="*/ 113 w 113"/>
                  <a:gd name="T13" fmla="*/ 136 h 136"/>
                  <a:gd name="T14" fmla="*/ 84 w 113"/>
                  <a:gd name="T15" fmla="*/ 136 h 136"/>
                  <a:gd name="T16" fmla="*/ 84 w 113"/>
                  <a:gd name="T17" fmla="*/ 51 h 136"/>
                  <a:gd name="T18" fmla="*/ 58 w 113"/>
                  <a:gd name="T19" fmla="*/ 24 h 136"/>
                  <a:gd name="T20" fmla="*/ 28 w 113"/>
                  <a:gd name="T21" fmla="*/ 29 h 136"/>
                  <a:gd name="T22" fmla="*/ 28 w 113"/>
                  <a:gd name="T2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3" h="136">
                    <a:moveTo>
                      <a:pt x="28" y="136"/>
                    </a:moveTo>
                    <a:lnTo>
                      <a:pt x="0" y="136"/>
                    </a:lnTo>
                    <a:lnTo>
                      <a:pt x="0" y="26"/>
                    </a:lnTo>
                    <a:cubicBezTo>
                      <a:pt x="0" y="15"/>
                      <a:pt x="5" y="9"/>
                      <a:pt x="16" y="6"/>
                    </a:cubicBezTo>
                    <a:cubicBezTo>
                      <a:pt x="36" y="1"/>
                      <a:pt x="49" y="0"/>
                      <a:pt x="59" y="0"/>
                    </a:cubicBezTo>
                    <a:cubicBezTo>
                      <a:pt x="98" y="0"/>
                      <a:pt x="113" y="20"/>
                      <a:pt x="113" y="48"/>
                    </a:cubicBezTo>
                    <a:lnTo>
                      <a:pt x="113" y="136"/>
                    </a:lnTo>
                    <a:lnTo>
                      <a:pt x="84" y="136"/>
                    </a:lnTo>
                    <a:lnTo>
                      <a:pt x="84" y="51"/>
                    </a:lnTo>
                    <a:cubicBezTo>
                      <a:pt x="84" y="36"/>
                      <a:pt x="78" y="24"/>
                      <a:pt x="58" y="24"/>
                    </a:cubicBezTo>
                    <a:cubicBezTo>
                      <a:pt x="51" y="24"/>
                      <a:pt x="44" y="25"/>
                      <a:pt x="28" y="29"/>
                    </a:cubicBezTo>
                    <a:lnTo>
                      <a:pt x="2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4" name="Freeform 23">
                <a:extLst>
                  <a:ext uri="{FF2B5EF4-FFF2-40B4-BE49-F238E27FC236}">
                    <a16:creationId xmlns:a16="http://schemas.microsoft.com/office/drawing/2014/main" id="{5713E73E-FFDA-E0B2-258A-BD1FC95A109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30304" y="4075180"/>
                <a:ext cx="54295" cy="57915"/>
              </a:xfrm>
              <a:custGeom>
                <a:avLst/>
                <a:gdLst>
                  <a:gd name="T0" fmla="*/ 89 w 132"/>
                  <a:gd name="T1" fmla="*/ 79 h 139"/>
                  <a:gd name="T2" fmla="*/ 56 w 132"/>
                  <a:gd name="T3" fmla="*/ 79 h 139"/>
                  <a:gd name="T4" fmla="*/ 28 w 132"/>
                  <a:gd name="T5" fmla="*/ 99 h 139"/>
                  <a:gd name="T6" fmla="*/ 51 w 132"/>
                  <a:gd name="T7" fmla="*/ 117 h 139"/>
                  <a:gd name="T8" fmla="*/ 77 w 132"/>
                  <a:gd name="T9" fmla="*/ 113 h 139"/>
                  <a:gd name="T10" fmla="*/ 89 w 132"/>
                  <a:gd name="T11" fmla="*/ 110 h 139"/>
                  <a:gd name="T12" fmla="*/ 89 w 132"/>
                  <a:gd name="T13" fmla="*/ 79 h 139"/>
                  <a:gd name="T14" fmla="*/ 121 w 132"/>
                  <a:gd name="T15" fmla="*/ 139 h 139"/>
                  <a:gd name="T16" fmla="*/ 109 w 132"/>
                  <a:gd name="T17" fmla="*/ 133 h 139"/>
                  <a:gd name="T18" fmla="*/ 90 w 132"/>
                  <a:gd name="T19" fmla="*/ 131 h 139"/>
                  <a:gd name="T20" fmla="*/ 82 w 132"/>
                  <a:gd name="T21" fmla="*/ 133 h 139"/>
                  <a:gd name="T22" fmla="*/ 46 w 132"/>
                  <a:gd name="T23" fmla="*/ 138 h 139"/>
                  <a:gd name="T24" fmla="*/ 0 w 132"/>
                  <a:gd name="T25" fmla="*/ 100 h 139"/>
                  <a:gd name="T26" fmla="*/ 60 w 132"/>
                  <a:gd name="T27" fmla="*/ 58 h 139"/>
                  <a:gd name="T28" fmla="*/ 89 w 132"/>
                  <a:gd name="T29" fmla="*/ 58 h 139"/>
                  <a:gd name="T30" fmla="*/ 89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6 w 132"/>
                  <a:gd name="T45" fmla="*/ 46 h 139"/>
                  <a:gd name="T46" fmla="*/ 116 w 132"/>
                  <a:gd name="T47" fmla="*/ 111 h 139"/>
                  <a:gd name="T48" fmla="*/ 132 w 132"/>
                  <a:gd name="T49" fmla="*/ 120 h 139"/>
                  <a:gd name="T50" fmla="*/ 121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89" y="79"/>
                    </a:moveTo>
                    <a:lnTo>
                      <a:pt x="56" y="79"/>
                    </a:lnTo>
                    <a:cubicBezTo>
                      <a:pt x="39" y="79"/>
                      <a:pt x="28" y="84"/>
                      <a:pt x="28" y="99"/>
                    </a:cubicBezTo>
                    <a:cubicBezTo>
                      <a:pt x="28" y="111"/>
                      <a:pt x="37" y="117"/>
                      <a:pt x="51" y="117"/>
                    </a:cubicBezTo>
                    <a:cubicBezTo>
                      <a:pt x="58" y="117"/>
                      <a:pt x="67" y="115"/>
                      <a:pt x="77" y="113"/>
                    </a:cubicBezTo>
                    <a:lnTo>
                      <a:pt x="89" y="110"/>
                    </a:lnTo>
                    <a:lnTo>
                      <a:pt x="89" y="79"/>
                    </a:lnTo>
                    <a:close/>
                    <a:moveTo>
                      <a:pt x="121" y="139"/>
                    </a:moveTo>
                    <a:lnTo>
                      <a:pt x="109" y="133"/>
                    </a:lnTo>
                    <a:cubicBezTo>
                      <a:pt x="103" y="130"/>
                      <a:pt x="97" y="129"/>
                      <a:pt x="90" y="131"/>
                    </a:cubicBezTo>
                    <a:lnTo>
                      <a:pt x="82" y="133"/>
                    </a:lnTo>
                    <a:cubicBezTo>
                      <a:pt x="70" y="136"/>
                      <a:pt x="56" y="138"/>
                      <a:pt x="46" y="138"/>
                    </a:cubicBezTo>
                    <a:cubicBezTo>
                      <a:pt x="17" y="138"/>
                      <a:pt x="0" y="124"/>
                      <a:pt x="0" y="100"/>
                    </a:cubicBezTo>
                    <a:cubicBezTo>
                      <a:pt x="0" y="66"/>
                      <a:pt x="28" y="58"/>
                      <a:pt x="60" y="58"/>
                    </a:cubicBezTo>
                    <a:lnTo>
                      <a:pt x="89" y="58"/>
                    </a:lnTo>
                    <a:lnTo>
                      <a:pt x="89" y="47"/>
                    </a:lnTo>
                    <a:cubicBezTo>
                      <a:pt x="89" y="30"/>
                      <a:pt x="78" y="24"/>
                      <a:pt x="63" y="24"/>
                    </a:cubicBezTo>
                    <a:cubicBezTo>
                      <a:pt x="51" y="24"/>
                      <a:pt x="36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4" y="3"/>
                      <a:pt x="50" y="0"/>
                      <a:pt x="65" y="0"/>
                    </a:cubicBezTo>
                    <a:cubicBezTo>
                      <a:pt x="94" y="0"/>
                      <a:pt x="116" y="13"/>
                      <a:pt x="116" y="46"/>
                    </a:cubicBezTo>
                    <a:lnTo>
                      <a:pt x="116" y="111"/>
                    </a:lnTo>
                    <a:lnTo>
                      <a:pt x="132" y="120"/>
                    </a:lnTo>
                    <a:lnTo>
                      <a:pt x="121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5" name="Freeform 24">
                <a:extLst>
                  <a:ext uri="{FF2B5EF4-FFF2-40B4-BE49-F238E27FC236}">
                    <a16:creationId xmlns:a16="http://schemas.microsoft.com/office/drawing/2014/main" id="{39076742-A55D-65FF-C9A5-54B410E508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17176" y="4055271"/>
                <a:ext cx="43436" cy="76013"/>
              </a:xfrm>
              <a:custGeom>
                <a:avLst/>
                <a:gdLst>
                  <a:gd name="T0" fmla="*/ 22 w 105"/>
                  <a:gd name="T1" fmla="*/ 184 h 184"/>
                  <a:gd name="T2" fmla="*/ 0 w 105"/>
                  <a:gd name="T3" fmla="*/ 164 h 184"/>
                  <a:gd name="T4" fmla="*/ 0 w 105"/>
                  <a:gd name="T5" fmla="*/ 0 h 184"/>
                  <a:gd name="T6" fmla="*/ 33 w 105"/>
                  <a:gd name="T7" fmla="*/ 0 h 184"/>
                  <a:gd name="T8" fmla="*/ 33 w 105"/>
                  <a:gd name="T9" fmla="*/ 156 h 184"/>
                  <a:gd name="T10" fmla="*/ 105 w 105"/>
                  <a:gd name="T11" fmla="*/ 156 h 184"/>
                  <a:gd name="T12" fmla="*/ 105 w 105"/>
                  <a:gd name="T13" fmla="*/ 184 h 184"/>
                  <a:gd name="T14" fmla="*/ 22 w 105"/>
                  <a:gd name="T15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" h="184">
                    <a:moveTo>
                      <a:pt x="22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0"/>
                    </a:lnTo>
                    <a:lnTo>
                      <a:pt x="33" y="0"/>
                    </a:lnTo>
                    <a:lnTo>
                      <a:pt x="33" y="156"/>
                    </a:lnTo>
                    <a:lnTo>
                      <a:pt x="105" y="156"/>
                    </a:lnTo>
                    <a:lnTo>
                      <a:pt x="105" y="184"/>
                    </a:lnTo>
                    <a:lnTo>
                      <a:pt x="22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6" name="Freeform 25">
                <a:extLst>
                  <a:ext uri="{FF2B5EF4-FFF2-40B4-BE49-F238E27FC236}">
                    <a16:creationId xmlns:a16="http://schemas.microsoft.com/office/drawing/2014/main" id="{3E3D0099-7CC3-56A5-BA61-A5890BA6A67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7851" y="4053462"/>
                <a:ext cx="14479" cy="77823"/>
              </a:xfrm>
              <a:custGeom>
                <a:avLst/>
                <a:gdLst>
                  <a:gd name="T0" fmla="*/ 2 w 34"/>
                  <a:gd name="T1" fmla="*/ 55 h 190"/>
                  <a:gd name="T2" fmla="*/ 31 w 34"/>
                  <a:gd name="T3" fmla="*/ 55 h 190"/>
                  <a:gd name="T4" fmla="*/ 31 w 34"/>
                  <a:gd name="T5" fmla="*/ 190 h 190"/>
                  <a:gd name="T6" fmla="*/ 2 w 34"/>
                  <a:gd name="T7" fmla="*/ 190 h 190"/>
                  <a:gd name="T8" fmla="*/ 2 w 34"/>
                  <a:gd name="T9" fmla="*/ 55 h 190"/>
                  <a:gd name="T10" fmla="*/ 17 w 34"/>
                  <a:gd name="T11" fmla="*/ 34 h 190"/>
                  <a:gd name="T12" fmla="*/ 0 w 34"/>
                  <a:gd name="T13" fmla="*/ 17 h 190"/>
                  <a:gd name="T14" fmla="*/ 17 w 34"/>
                  <a:gd name="T15" fmla="*/ 0 h 190"/>
                  <a:gd name="T16" fmla="*/ 34 w 34"/>
                  <a:gd name="T17" fmla="*/ 17 h 190"/>
                  <a:gd name="T18" fmla="*/ 17 w 34"/>
                  <a:gd name="T19" fmla="*/ 3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90">
                    <a:moveTo>
                      <a:pt x="2" y="55"/>
                    </a:moveTo>
                    <a:lnTo>
                      <a:pt x="31" y="55"/>
                    </a:lnTo>
                    <a:lnTo>
                      <a:pt x="31" y="190"/>
                    </a:lnTo>
                    <a:lnTo>
                      <a:pt x="2" y="190"/>
                    </a:lnTo>
                    <a:lnTo>
                      <a:pt x="2" y="55"/>
                    </a:lnTo>
                    <a:close/>
                    <a:moveTo>
                      <a:pt x="17" y="34"/>
                    </a:moveTo>
                    <a:cubicBezTo>
                      <a:pt x="6" y="34"/>
                      <a:pt x="0" y="27"/>
                      <a:pt x="0" y="17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7" y="0"/>
                      <a:pt x="34" y="7"/>
                      <a:pt x="34" y="17"/>
                    </a:cubicBezTo>
                    <a:cubicBezTo>
                      <a:pt x="34" y="27"/>
                      <a:pt x="27" y="34"/>
                      <a:pt x="17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7" name="Freeform 26">
                <a:extLst>
                  <a:ext uri="{FF2B5EF4-FFF2-40B4-BE49-F238E27FC236}">
                    <a16:creationId xmlns:a16="http://schemas.microsoft.com/office/drawing/2014/main" id="{49D6A09D-A8A1-3153-0C62-5F5FFF9B72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7760" y="4053462"/>
                <a:ext cx="39816" cy="77823"/>
              </a:xfrm>
              <a:custGeom>
                <a:avLst/>
                <a:gdLst>
                  <a:gd name="T0" fmla="*/ 92 w 95"/>
                  <a:gd name="T1" fmla="*/ 28 h 189"/>
                  <a:gd name="T2" fmla="*/ 68 w 95"/>
                  <a:gd name="T3" fmla="*/ 24 h 189"/>
                  <a:gd name="T4" fmla="*/ 48 w 95"/>
                  <a:gd name="T5" fmla="*/ 46 h 189"/>
                  <a:gd name="T6" fmla="*/ 48 w 95"/>
                  <a:gd name="T7" fmla="*/ 55 h 189"/>
                  <a:gd name="T8" fmla="*/ 89 w 95"/>
                  <a:gd name="T9" fmla="*/ 55 h 189"/>
                  <a:gd name="T10" fmla="*/ 89 w 95"/>
                  <a:gd name="T11" fmla="*/ 78 h 189"/>
                  <a:gd name="T12" fmla="*/ 48 w 95"/>
                  <a:gd name="T13" fmla="*/ 78 h 189"/>
                  <a:gd name="T14" fmla="*/ 48 w 95"/>
                  <a:gd name="T15" fmla="*/ 189 h 189"/>
                  <a:gd name="T16" fmla="*/ 20 w 95"/>
                  <a:gd name="T17" fmla="*/ 189 h 189"/>
                  <a:gd name="T18" fmla="*/ 20 w 95"/>
                  <a:gd name="T19" fmla="*/ 78 h 189"/>
                  <a:gd name="T20" fmla="*/ 0 w 95"/>
                  <a:gd name="T21" fmla="*/ 78 h 189"/>
                  <a:gd name="T22" fmla="*/ 0 w 95"/>
                  <a:gd name="T23" fmla="*/ 55 h 189"/>
                  <a:gd name="T24" fmla="*/ 20 w 95"/>
                  <a:gd name="T25" fmla="*/ 55 h 189"/>
                  <a:gd name="T26" fmla="*/ 20 w 95"/>
                  <a:gd name="T27" fmla="*/ 44 h 189"/>
                  <a:gd name="T28" fmla="*/ 64 w 95"/>
                  <a:gd name="T29" fmla="*/ 0 h 189"/>
                  <a:gd name="T30" fmla="*/ 95 w 95"/>
                  <a:gd name="T31" fmla="*/ 5 h 189"/>
                  <a:gd name="T32" fmla="*/ 92 w 95"/>
                  <a:gd name="T33" fmla="*/ 28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89">
                    <a:moveTo>
                      <a:pt x="92" y="28"/>
                    </a:moveTo>
                    <a:cubicBezTo>
                      <a:pt x="81" y="25"/>
                      <a:pt x="74" y="24"/>
                      <a:pt x="68" y="24"/>
                    </a:cubicBezTo>
                    <a:cubicBezTo>
                      <a:pt x="54" y="24"/>
                      <a:pt x="48" y="30"/>
                      <a:pt x="48" y="46"/>
                    </a:cubicBezTo>
                    <a:lnTo>
                      <a:pt x="48" y="55"/>
                    </a:lnTo>
                    <a:lnTo>
                      <a:pt x="89" y="55"/>
                    </a:lnTo>
                    <a:lnTo>
                      <a:pt x="89" y="78"/>
                    </a:lnTo>
                    <a:lnTo>
                      <a:pt x="48" y="78"/>
                    </a:lnTo>
                    <a:lnTo>
                      <a:pt x="48" y="189"/>
                    </a:lnTo>
                    <a:lnTo>
                      <a:pt x="20" y="189"/>
                    </a:lnTo>
                    <a:lnTo>
                      <a:pt x="20" y="78"/>
                    </a:lnTo>
                    <a:lnTo>
                      <a:pt x="0" y="78"/>
                    </a:lnTo>
                    <a:lnTo>
                      <a:pt x="0" y="55"/>
                    </a:lnTo>
                    <a:lnTo>
                      <a:pt x="20" y="55"/>
                    </a:lnTo>
                    <a:lnTo>
                      <a:pt x="20" y="44"/>
                    </a:lnTo>
                    <a:cubicBezTo>
                      <a:pt x="20" y="15"/>
                      <a:pt x="37" y="0"/>
                      <a:pt x="64" y="0"/>
                    </a:cubicBezTo>
                    <a:cubicBezTo>
                      <a:pt x="73" y="0"/>
                      <a:pt x="82" y="2"/>
                      <a:pt x="95" y="5"/>
                    </a:cubicBezTo>
                    <a:lnTo>
                      <a:pt x="92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" name="Freeform 27">
                <a:extLst>
                  <a:ext uri="{FF2B5EF4-FFF2-40B4-BE49-F238E27FC236}">
                    <a16:creationId xmlns:a16="http://schemas.microsoft.com/office/drawing/2014/main" id="{4579B09C-88A6-C193-5411-CA5E9673947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27576" y="4075180"/>
                <a:ext cx="50675" cy="56105"/>
              </a:xfrm>
              <a:custGeom>
                <a:avLst/>
                <a:gdLst>
                  <a:gd name="T0" fmla="*/ 62 w 124"/>
                  <a:gd name="T1" fmla="*/ 21 h 138"/>
                  <a:gd name="T2" fmla="*/ 28 w 124"/>
                  <a:gd name="T3" fmla="*/ 58 h 138"/>
                  <a:gd name="T4" fmla="*/ 96 w 124"/>
                  <a:gd name="T5" fmla="*/ 58 h 138"/>
                  <a:gd name="T6" fmla="*/ 62 w 124"/>
                  <a:gd name="T7" fmla="*/ 21 h 138"/>
                  <a:gd name="T8" fmla="*/ 63 w 124"/>
                  <a:gd name="T9" fmla="*/ 0 h 138"/>
                  <a:gd name="T10" fmla="*/ 124 w 124"/>
                  <a:gd name="T11" fmla="*/ 66 h 138"/>
                  <a:gd name="T12" fmla="*/ 111 w 124"/>
                  <a:gd name="T13" fmla="*/ 79 h 138"/>
                  <a:gd name="T14" fmla="*/ 28 w 124"/>
                  <a:gd name="T15" fmla="*/ 79 h 138"/>
                  <a:gd name="T16" fmla="*/ 68 w 124"/>
                  <a:gd name="T17" fmla="*/ 114 h 138"/>
                  <a:gd name="T18" fmla="*/ 105 w 124"/>
                  <a:gd name="T19" fmla="*/ 108 h 138"/>
                  <a:gd name="T20" fmla="*/ 118 w 124"/>
                  <a:gd name="T21" fmla="*/ 104 h 138"/>
                  <a:gd name="T22" fmla="*/ 123 w 124"/>
                  <a:gd name="T23" fmla="*/ 126 h 138"/>
                  <a:gd name="T24" fmla="*/ 109 w 124"/>
                  <a:gd name="T25" fmla="*/ 130 h 138"/>
                  <a:gd name="T26" fmla="*/ 66 w 124"/>
                  <a:gd name="T27" fmla="*/ 138 h 138"/>
                  <a:gd name="T28" fmla="*/ 0 w 124"/>
                  <a:gd name="T29" fmla="*/ 70 h 138"/>
                  <a:gd name="T30" fmla="*/ 63 w 124"/>
                  <a:gd name="T31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138">
                    <a:moveTo>
                      <a:pt x="62" y="21"/>
                    </a:moveTo>
                    <a:cubicBezTo>
                      <a:pt x="42" y="21"/>
                      <a:pt x="30" y="36"/>
                      <a:pt x="28" y="58"/>
                    </a:cubicBezTo>
                    <a:lnTo>
                      <a:pt x="96" y="58"/>
                    </a:lnTo>
                    <a:cubicBezTo>
                      <a:pt x="96" y="38"/>
                      <a:pt x="86" y="21"/>
                      <a:pt x="62" y="21"/>
                    </a:cubicBezTo>
                    <a:close/>
                    <a:moveTo>
                      <a:pt x="63" y="0"/>
                    </a:moveTo>
                    <a:cubicBezTo>
                      <a:pt x="100" y="0"/>
                      <a:pt x="124" y="21"/>
                      <a:pt x="124" y="66"/>
                    </a:cubicBezTo>
                    <a:cubicBezTo>
                      <a:pt x="124" y="75"/>
                      <a:pt x="120" y="79"/>
                      <a:pt x="111" y="79"/>
                    </a:cubicBezTo>
                    <a:lnTo>
                      <a:pt x="28" y="79"/>
                    </a:lnTo>
                    <a:cubicBezTo>
                      <a:pt x="30" y="103"/>
                      <a:pt x="46" y="114"/>
                      <a:pt x="68" y="114"/>
                    </a:cubicBezTo>
                    <a:cubicBezTo>
                      <a:pt x="79" y="114"/>
                      <a:pt x="90" y="112"/>
                      <a:pt x="105" y="108"/>
                    </a:cubicBezTo>
                    <a:lnTo>
                      <a:pt x="118" y="104"/>
                    </a:lnTo>
                    <a:lnTo>
                      <a:pt x="123" y="126"/>
                    </a:lnTo>
                    <a:lnTo>
                      <a:pt x="109" y="130"/>
                    </a:lnTo>
                    <a:cubicBezTo>
                      <a:pt x="92" y="136"/>
                      <a:pt x="80" y="138"/>
                      <a:pt x="66" y="138"/>
                    </a:cubicBezTo>
                    <a:cubicBezTo>
                      <a:pt x="27" y="138"/>
                      <a:pt x="0" y="115"/>
                      <a:pt x="0" y="70"/>
                    </a:cubicBezTo>
                    <a:cubicBezTo>
                      <a:pt x="0" y="21"/>
                      <a:pt x="29" y="0"/>
                      <a:pt x="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" name="Freeform 28">
                <a:extLst>
                  <a:ext uri="{FF2B5EF4-FFF2-40B4-BE49-F238E27FC236}">
                    <a16:creationId xmlns:a16="http://schemas.microsoft.com/office/drawing/2014/main" id="{9CF55069-F3D1-80D5-D91B-EC90C3B1F6E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80573" y="3655298"/>
                <a:ext cx="358347" cy="405403"/>
              </a:xfrm>
              <a:custGeom>
                <a:avLst/>
                <a:gdLst>
                  <a:gd name="T0" fmla="*/ 556 w 875"/>
                  <a:gd name="T1" fmla="*/ 361 h 985"/>
                  <a:gd name="T2" fmla="*/ 454 w 875"/>
                  <a:gd name="T3" fmla="*/ 361 h 985"/>
                  <a:gd name="T4" fmla="*/ 505 w 875"/>
                  <a:gd name="T5" fmla="*/ 327 h 985"/>
                  <a:gd name="T6" fmla="*/ 556 w 875"/>
                  <a:gd name="T7" fmla="*/ 361 h 985"/>
                  <a:gd name="T8" fmla="*/ 867 w 875"/>
                  <a:gd name="T9" fmla="*/ 368 h 985"/>
                  <a:gd name="T10" fmla="*/ 707 w 875"/>
                  <a:gd name="T11" fmla="*/ 276 h 985"/>
                  <a:gd name="T12" fmla="*/ 773 w 875"/>
                  <a:gd name="T13" fmla="*/ 132 h 985"/>
                  <a:gd name="T14" fmla="*/ 539 w 875"/>
                  <a:gd name="T15" fmla="*/ 220 h 985"/>
                  <a:gd name="T16" fmla="*/ 280 w 875"/>
                  <a:gd name="T17" fmla="*/ 69 h 985"/>
                  <a:gd name="T18" fmla="*/ 308 w 875"/>
                  <a:gd name="T19" fmla="*/ 0 h 985"/>
                  <a:gd name="T20" fmla="*/ 305 w 875"/>
                  <a:gd name="T21" fmla="*/ 0 h 985"/>
                  <a:gd name="T22" fmla="*/ 204 w 875"/>
                  <a:gd name="T23" fmla="*/ 236 h 985"/>
                  <a:gd name="T24" fmla="*/ 249 w 875"/>
                  <a:gd name="T25" fmla="*/ 309 h 985"/>
                  <a:gd name="T26" fmla="*/ 25 w 875"/>
                  <a:gd name="T27" fmla="*/ 770 h 985"/>
                  <a:gd name="T28" fmla="*/ 360 w 875"/>
                  <a:gd name="T29" fmla="*/ 985 h 985"/>
                  <a:gd name="T30" fmla="*/ 825 w 875"/>
                  <a:gd name="T31" fmla="*/ 533 h 985"/>
                  <a:gd name="T32" fmla="*/ 867 w 875"/>
                  <a:gd name="T33" fmla="*/ 368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75" h="985">
                    <a:moveTo>
                      <a:pt x="556" y="361"/>
                    </a:moveTo>
                    <a:lnTo>
                      <a:pt x="454" y="361"/>
                    </a:lnTo>
                    <a:cubicBezTo>
                      <a:pt x="454" y="361"/>
                      <a:pt x="477" y="327"/>
                      <a:pt x="505" y="327"/>
                    </a:cubicBezTo>
                    <a:cubicBezTo>
                      <a:pt x="533" y="327"/>
                      <a:pt x="556" y="361"/>
                      <a:pt x="556" y="361"/>
                    </a:cubicBezTo>
                    <a:close/>
                    <a:moveTo>
                      <a:pt x="867" y="368"/>
                    </a:moveTo>
                    <a:lnTo>
                      <a:pt x="707" y="276"/>
                    </a:lnTo>
                    <a:cubicBezTo>
                      <a:pt x="795" y="225"/>
                      <a:pt x="776" y="144"/>
                      <a:pt x="773" y="132"/>
                    </a:cubicBezTo>
                    <a:cubicBezTo>
                      <a:pt x="732" y="184"/>
                      <a:pt x="643" y="220"/>
                      <a:pt x="539" y="220"/>
                    </a:cubicBezTo>
                    <a:cubicBezTo>
                      <a:pt x="396" y="220"/>
                      <a:pt x="280" y="152"/>
                      <a:pt x="280" y="69"/>
                    </a:cubicBezTo>
                    <a:cubicBezTo>
                      <a:pt x="280" y="44"/>
                      <a:pt x="290" y="21"/>
                      <a:pt x="308" y="0"/>
                    </a:cubicBezTo>
                    <a:cubicBezTo>
                      <a:pt x="307" y="0"/>
                      <a:pt x="306" y="0"/>
                      <a:pt x="305" y="0"/>
                    </a:cubicBezTo>
                    <a:cubicBezTo>
                      <a:pt x="244" y="0"/>
                      <a:pt x="155" y="110"/>
                      <a:pt x="204" y="236"/>
                    </a:cubicBezTo>
                    <a:cubicBezTo>
                      <a:pt x="215" y="265"/>
                      <a:pt x="231" y="289"/>
                      <a:pt x="249" y="309"/>
                    </a:cubicBezTo>
                    <a:cubicBezTo>
                      <a:pt x="135" y="417"/>
                      <a:pt x="0" y="606"/>
                      <a:pt x="25" y="770"/>
                    </a:cubicBezTo>
                    <a:cubicBezTo>
                      <a:pt x="58" y="980"/>
                      <a:pt x="360" y="985"/>
                      <a:pt x="360" y="985"/>
                    </a:cubicBezTo>
                    <a:cubicBezTo>
                      <a:pt x="220" y="722"/>
                      <a:pt x="825" y="533"/>
                      <a:pt x="825" y="533"/>
                    </a:cubicBezTo>
                    <a:cubicBezTo>
                      <a:pt x="825" y="533"/>
                      <a:pt x="875" y="464"/>
                      <a:pt x="867" y="3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29">
                <a:extLst>
                  <a:ext uri="{FF2B5EF4-FFF2-40B4-BE49-F238E27FC236}">
                    <a16:creationId xmlns:a16="http://schemas.microsoft.com/office/drawing/2014/main" id="{2CE60E2C-C58B-FA0E-15ED-9E493CC4C9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27169" y="3910485"/>
                <a:ext cx="162885" cy="142978"/>
              </a:xfrm>
              <a:custGeom>
                <a:avLst/>
                <a:gdLst>
                  <a:gd name="T0" fmla="*/ 311 w 398"/>
                  <a:gd name="T1" fmla="*/ 0 h 349"/>
                  <a:gd name="T2" fmla="*/ 19 w 398"/>
                  <a:gd name="T3" fmla="*/ 228 h 349"/>
                  <a:gd name="T4" fmla="*/ 18 w 398"/>
                  <a:gd name="T5" fmla="*/ 349 h 349"/>
                  <a:gd name="T6" fmla="*/ 398 w 398"/>
                  <a:gd name="T7" fmla="*/ 184 h 349"/>
                  <a:gd name="T8" fmla="*/ 311 w 398"/>
                  <a:gd name="T9" fmla="*/ 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349">
                    <a:moveTo>
                      <a:pt x="311" y="0"/>
                    </a:moveTo>
                    <a:cubicBezTo>
                      <a:pt x="197" y="53"/>
                      <a:pt x="60" y="129"/>
                      <a:pt x="19" y="228"/>
                    </a:cubicBezTo>
                    <a:cubicBezTo>
                      <a:pt x="3" y="269"/>
                      <a:pt x="0" y="309"/>
                      <a:pt x="18" y="349"/>
                    </a:cubicBezTo>
                    <a:cubicBezTo>
                      <a:pt x="35" y="307"/>
                      <a:pt x="105" y="185"/>
                      <a:pt x="398" y="184"/>
                    </a:cubicBezTo>
                    <a:cubicBezTo>
                      <a:pt x="398" y="102"/>
                      <a:pt x="359" y="44"/>
                      <a:pt x="3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" name="Freeform 30">
                <a:extLst>
                  <a:ext uri="{FF2B5EF4-FFF2-40B4-BE49-F238E27FC236}">
                    <a16:creationId xmlns:a16="http://schemas.microsoft.com/office/drawing/2014/main" id="{F6BB9A8D-3787-D157-24A5-C6AC25DF7F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9976" y="3903245"/>
                <a:ext cx="9050" cy="16289"/>
              </a:xfrm>
              <a:custGeom>
                <a:avLst/>
                <a:gdLst>
                  <a:gd name="T0" fmla="*/ 0 w 25"/>
                  <a:gd name="T1" fmla="*/ 42 h 42"/>
                  <a:gd name="T2" fmla="*/ 25 w 25"/>
                  <a:gd name="T3" fmla="*/ 0 h 42"/>
                  <a:gd name="T4" fmla="*/ 0 w 25"/>
                  <a:gd name="T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42">
                    <a:moveTo>
                      <a:pt x="0" y="42"/>
                    </a:moveTo>
                    <a:cubicBezTo>
                      <a:pt x="16" y="23"/>
                      <a:pt x="25" y="0"/>
                      <a:pt x="25" y="0"/>
                    </a:cubicBezTo>
                    <a:cubicBezTo>
                      <a:pt x="17" y="17"/>
                      <a:pt x="9" y="31"/>
                      <a:pt x="0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2" name="Rectangle 31">
                <a:extLst>
                  <a:ext uri="{FF2B5EF4-FFF2-40B4-BE49-F238E27FC236}">
                    <a16:creationId xmlns:a16="http://schemas.microsoft.com/office/drawing/2014/main" id="{B564E875-615F-E71B-710E-2A591993837A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409451" y="4104138"/>
                <a:ext cx="9050" cy="3981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" name="Freeform 32">
                <a:extLst>
                  <a:ext uri="{FF2B5EF4-FFF2-40B4-BE49-F238E27FC236}">
                    <a16:creationId xmlns:a16="http://schemas.microsoft.com/office/drawing/2014/main" id="{35844F8A-5606-710D-2244-8A36A9B598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2212" y="3819993"/>
                <a:ext cx="7239" cy="3620"/>
              </a:xfrm>
              <a:custGeom>
                <a:avLst/>
                <a:gdLst>
                  <a:gd name="T0" fmla="*/ 0 w 16"/>
                  <a:gd name="T1" fmla="*/ 0 h 7"/>
                  <a:gd name="T2" fmla="*/ 16 w 16"/>
                  <a:gd name="T3" fmla="*/ 7 h 7"/>
                  <a:gd name="T4" fmla="*/ 16 w 16"/>
                  <a:gd name="T5" fmla="*/ 5 h 7"/>
                  <a:gd name="T6" fmla="*/ 0 w 16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7">
                    <a:moveTo>
                      <a:pt x="0" y="0"/>
                    </a:moveTo>
                    <a:cubicBezTo>
                      <a:pt x="6" y="2"/>
                      <a:pt x="11" y="4"/>
                      <a:pt x="16" y="7"/>
                    </a:cubicBezTo>
                    <a:lnTo>
                      <a:pt x="16" y="5"/>
                    </a:lnTo>
                    <a:cubicBezTo>
                      <a:pt x="11" y="3"/>
                      <a:pt x="6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" name="Freeform 33">
                <a:extLst>
                  <a:ext uri="{FF2B5EF4-FFF2-40B4-BE49-F238E27FC236}">
                    <a16:creationId xmlns:a16="http://schemas.microsoft.com/office/drawing/2014/main" id="{0A422DD8-2879-1EA2-E13D-068D697AD5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99025" y="3628150"/>
                <a:ext cx="47056" cy="314911"/>
              </a:xfrm>
              <a:custGeom>
                <a:avLst/>
                <a:gdLst>
                  <a:gd name="T0" fmla="*/ 3 w 115"/>
                  <a:gd name="T1" fmla="*/ 729 h 765"/>
                  <a:gd name="T2" fmla="*/ 9 w 115"/>
                  <a:gd name="T3" fmla="*/ 756 h 765"/>
                  <a:gd name="T4" fmla="*/ 19 w 115"/>
                  <a:gd name="T5" fmla="*/ 724 h 765"/>
                  <a:gd name="T6" fmla="*/ 34 w 115"/>
                  <a:gd name="T7" fmla="*/ 695 h 765"/>
                  <a:gd name="T8" fmla="*/ 30 w 115"/>
                  <a:gd name="T9" fmla="*/ 716 h 765"/>
                  <a:gd name="T10" fmla="*/ 22 w 115"/>
                  <a:gd name="T11" fmla="*/ 732 h 765"/>
                  <a:gd name="T12" fmla="*/ 17 w 115"/>
                  <a:gd name="T13" fmla="*/ 753 h 765"/>
                  <a:gd name="T14" fmla="*/ 30 w 115"/>
                  <a:gd name="T15" fmla="*/ 744 h 765"/>
                  <a:gd name="T16" fmla="*/ 49 w 115"/>
                  <a:gd name="T17" fmla="*/ 753 h 765"/>
                  <a:gd name="T18" fmla="*/ 54 w 115"/>
                  <a:gd name="T19" fmla="*/ 728 h 765"/>
                  <a:gd name="T20" fmla="*/ 68 w 115"/>
                  <a:gd name="T21" fmla="*/ 763 h 765"/>
                  <a:gd name="T22" fmla="*/ 67 w 115"/>
                  <a:gd name="T23" fmla="*/ 748 h 765"/>
                  <a:gd name="T24" fmla="*/ 65 w 115"/>
                  <a:gd name="T25" fmla="*/ 732 h 765"/>
                  <a:gd name="T26" fmla="*/ 64 w 115"/>
                  <a:gd name="T27" fmla="*/ 712 h 765"/>
                  <a:gd name="T28" fmla="*/ 66 w 115"/>
                  <a:gd name="T29" fmla="*/ 691 h 765"/>
                  <a:gd name="T30" fmla="*/ 68 w 115"/>
                  <a:gd name="T31" fmla="*/ 719 h 765"/>
                  <a:gd name="T32" fmla="*/ 76 w 115"/>
                  <a:gd name="T33" fmla="*/ 745 h 765"/>
                  <a:gd name="T34" fmla="*/ 78 w 115"/>
                  <a:gd name="T35" fmla="*/ 740 h 765"/>
                  <a:gd name="T36" fmla="*/ 77 w 115"/>
                  <a:gd name="T37" fmla="*/ 749 h 765"/>
                  <a:gd name="T38" fmla="*/ 77 w 115"/>
                  <a:gd name="T39" fmla="*/ 750 h 765"/>
                  <a:gd name="T40" fmla="*/ 79 w 115"/>
                  <a:gd name="T41" fmla="*/ 755 h 765"/>
                  <a:gd name="T42" fmla="*/ 84 w 115"/>
                  <a:gd name="T43" fmla="*/ 760 h 765"/>
                  <a:gd name="T44" fmla="*/ 86 w 115"/>
                  <a:gd name="T45" fmla="*/ 757 h 765"/>
                  <a:gd name="T46" fmla="*/ 86 w 115"/>
                  <a:gd name="T47" fmla="*/ 756 h 765"/>
                  <a:gd name="T48" fmla="*/ 78 w 115"/>
                  <a:gd name="T49" fmla="*/ 736 h 765"/>
                  <a:gd name="T50" fmla="*/ 84 w 115"/>
                  <a:gd name="T51" fmla="*/ 748 h 765"/>
                  <a:gd name="T52" fmla="*/ 84 w 115"/>
                  <a:gd name="T53" fmla="*/ 746 h 765"/>
                  <a:gd name="T54" fmla="*/ 89 w 115"/>
                  <a:gd name="T55" fmla="*/ 752 h 765"/>
                  <a:gd name="T56" fmla="*/ 90 w 115"/>
                  <a:gd name="T57" fmla="*/ 751 h 765"/>
                  <a:gd name="T58" fmla="*/ 83 w 115"/>
                  <a:gd name="T59" fmla="*/ 743 h 765"/>
                  <a:gd name="T60" fmla="*/ 91 w 115"/>
                  <a:gd name="T61" fmla="*/ 748 h 765"/>
                  <a:gd name="T62" fmla="*/ 95 w 115"/>
                  <a:gd name="T63" fmla="*/ 742 h 765"/>
                  <a:gd name="T64" fmla="*/ 96 w 115"/>
                  <a:gd name="T65" fmla="*/ 741 h 765"/>
                  <a:gd name="T66" fmla="*/ 103 w 115"/>
                  <a:gd name="T67" fmla="*/ 726 h 765"/>
                  <a:gd name="T68" fmla="*/ 101 w 115"/>
                  <a:gd name="T69" fmla="*/ 734 h 765"/>
                  <a:gd name="T70" fmla="*/ 112 w 115"/>
                  <a:gd name="T71" fmla="*/ 713 h 765"/>
                  <a:gd name="T72" fmla="*/ 101 w 115"/>
                  <a:gd name="T73" fmla="*/ 742 h 765"/>
                  <a:gd name="T74" fmla="*/ 104 w 115"/>
                  <a:gd name="T75" fmla="*/ 753 h 765"/>
                  <a:gd name="T76" fmla="*/ 106 w 115"/>
                  <a:gd name="T77" fmla="*/ 765 h 765"/>
                  <a:gd name="T78" fmla="*/ 109 w 115"/>
                  <a:gd name="T79" fmla="*/ 755 h 765"/>
                  <a:gd name="T80" fmla="*/ 110 w 115"/>
                  <a:gd name="T81" fmla="*/ 752 h 765"/>
                  <a:gd name="T82" fmla="*/ 110 w 115"/>
                  <a:gd name="T83" fmla="*/ 751 h 765"/>
                  <a:gd name="T84" fmla="*/ 110 w 115"/>
                  <a:gd name="T85" fmla="*/ 752 h 765"/>
                  <a:gd name="T86" fmla="*/ 110 w 115"/>
                  <a:gd name="T87" fmla="*/ 751 h 765"/>
                  <a:gd name="T88" fmla="*/ 111 w 115"/>
                  <a:gd name="T89" fmla="*/ 752 h 765"/>
                  <a:gd name="T90" fmla="*/ 111 w 115"/>
                  <a:gd name="T91" fmla="*/ 751 h 765"/>
                  <a:gd name="T92" fmla="*/ 113 w 115"/>
                  <a:gd name="T93" fmla="*/ 748 h 765"/>
                  <a:gd name="T94" fmla="*/ 113 w 115"/>
                  <a:gd name="T95" fmla="*/ 746 h 765"/>
                  <a:gd name="T96" fmla="*/ 109 w 115"/>
                  <a:gd name="T97" fmla="*/ 729 h 765"/>
                  <a:gd name="T98" fmla="*/ 109 w 115"/>
                  <a:gd name="T99" fmla="*/ 728 h 765"/>
                  <a:gd name="T100" fmla="*/ 109 w 115"/>
                  <a:gd name="T101" fmla="*/ 729 h 765"/>
                  <a:gd name="T102" fmla="*/ 112 w 115"/>
                  <a:gd name="T103" fmla="*/ 735 h 765"/>
                  <a:gd name="T104" fmla="*/ 115 w 115"/>
                  <a:gd name="T105" fmla="*/ 740 h 765"/>
                  <a:gd name="T106" fmla="*/ 115 w 115"/>
                  <a:gd name="T107" fmla="*/ 0 h 765"/>
                  <a:gd name="T108" fmla="*/ 0 w 115"/>
                  <a:gd name="T109" fmla="*/ 0 h 765"/>
                  <a:gd name="T110" fmla="*/ 0 w 115"/>
                  <a:gd name="T111" fmla="*/ 741 h 765"/>
                  <a:gd name="T112" fmla="*/ 2 w 115"/>
                  <a:gd name="T113" fmla="*/ 728 h 765"/>
                  <a:gd name="T114" fmla="*/ 3 w 115"/>
                  <a:gd name="T115" fmla="*/ 729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5" h="765">
                    <a:moveTo>
                      <a:pt x="3" y="729"/>
                    </a:moveTo>
                    <a:cubicBezTo>
                      <a:pt x="5" y="738"/>
                      <a:pt x="6" y="745"/>
                      <a:pt x="9" y="756"/>
                    </a:cubicBezTo>
                    <a:cubicBezTo>
                      <a:pt x="10" y="744"/>
                      <a:pt x="14" y="734"/>
                      <a:pt x="19" y="724"/>
                    </a:cubicBezTo>
                    <a:cubicBezTo>
                      <a:pt x="25" y="715"/>
                      <a:pt x="30" y="706"/>
                      <a:pt x="34" y="695"/>
                    </a:cubicBezTo>
                    <a:cubicBezTo>
                      <a:pt x="33" y="703"/>
                      <a:pt x="34" y="709"/>
                      <a:pt x="30" y="716"/>
                    </a:cubicBezTo>
                    <a:cubicBezTo>
                      <a:pt x="25" y="723"/>
                      <a:pt x="23" y="727"/>
                      <a:pt x="22" y="732"/>
                    </a:cubicBezTo>
                    <a:cubicBezTo>
                      <a:pt x="21" y="736"/>
                      <a:pt x="20" y="742"/>
                      <a:pt x="17" y="753"/>
                    </a:cubicBezTo>
                    <a:cubicBezTo>
                      <a:pt x="18" y="752"/>
                      <a:pt x="30" y="743"/>
                      <a:pt x="30" y="744"/>
                    </a:cubicBezTo>
                    <a:cubicBezTo>
                      <a:pt x="27" y="757"/>
                      <a:pt x="47" y="756"/>
                      <a:pt x="49" y="753"/>
                    </a:cubicBezTo>
                    <a:cubicBezTo>
                      <a:pt x="46" y="746"/>
                      <a:pt x="65" y="746"/>
                      <a:pt x="54" y="728"/>
                    </a:cubicBezTo>
                    <a:cubicBezTo>
                      <a:pt x="61" y="730"/>
                      <a:pt x="67" y="758"/>
                      <a:pt x="68" y="763"/>
                    </a:cubicBezTo>
                    <a:cubicBezTo>
                      <a:pt x="68" y="758"/>
                      <a:pt x="67" y="753"/>
                      <a:pt x="67" y="748"/>
                    </a:cubicBezTo>
                    <a:cubicBezTo>
                      <a:pt x="67" y="743"/>
                      <a:pt x="66" y="738"/>
                      <a:pt x="65" y="732"/>
                    </a:cubicBezTo>
                    <a:cubicBezTo>
                      <a:pt x="64" y="725"/>
                      <a:pt x="64" y="718"/>
                      <a:pt x="64" y="712"/>
                    </a:cubicBezTo>
                    <a:cubicBezTo>
                      <a:pt x="64" y="705"/>
                      <a:pt x="65" y="698"/>
                      <a:pt x="66" y="691"/>
                    </a:cubicBezTo>
                    <a:cubicBezTo>
                      <a:pt x="65" y="700"/>
                      <a:pt x="66" y="710"/>
                      <a:pt x="68" y="719"/>
                    </a:cubicBezTo>
                    <a:cubicBezTo>
                      <a:pt x="70" y="728"/>
                      <a:pt x="73" y="737"/>
                      <a:pt x="76" y="745"/>
                    </a:cubicBezTo>
                    <a:cubicBezTo>
                      <a:pt x="77" y="743"/>
                      <a:pt x="78" y="741"/>
                      <a:pt x="78" y="740"/>
                    </a:cubicBezTo>
                    <a:cubicBezTo>
                      <a:pt x="78" y="742"/>
                      <a:pt x="77" y="746"/>
                      <a:pt x="77" y="749"/>
                    </a:cubicBezTo>
                    <a:cubicBezTo>
                      <a:pt x="77" y="749"/>
                      <a:pt x="77" y="749"/>
                      <a:pt x="77" y="750"/>
                    </a:cubicBezTo>
                    <a:cubicBezTo>
                      <a:pt x="78" y="752"/>
                      <a:pt x="78" y="753"/>
                      <a:pt x="79" y="755"/>
                    </a:cubicBezTo>
                    <a:cubicBezTo>
                      <a:pt x="80" y="756"/>
                      <a:pt x="82" y="758"/>
                      <a:pt x="84" y="760"/>
                    </a:cubicBezTo>
                    <a:cubicBezTo>
                      <a:pt x="85" y="759"/>
                      <a:pt x="85" y="758"/>
                      <a:pt x="86" y="757"/>
                    </a:cubicBezTo>
                    <a:cubicBezTo>
                      <a:pt x="86" y="756"/>
                      <a:pt x="86" y="756"/>
                      <a:pt x="86" y="756"/>
                    </a:cubicBezTo>
                    <a:cubicBezTo>
                      <a:pt x="82" y="749"/>
                      <a:pt x="79" y="743"/>
                      <a:pt x="78" y="736"/>
                    </a:cubicBezTo>
                    <a:cubicBezTo>
                      <a:pt x="78" y="740"/>
                      <a:pt x="81" y="744"/>
                      <a:pt x="84" y="748"/>
                    </a:cubicBezTo>
                    <a:cubicBezTo>
                      <a:pt x="84" y="747"/>
                      <a:pt x="84" y="747"/>
                      <a:pt x="84" y="746"/>
                    </a:cubicBezTo>
                    <a:cubicBezTo>
                      <a:pt x="84" y="748"/>
                      <a:pt x="88" y="752"/>
                      <a:pt x="89" y="752"/>
                    </a:cubicBezTo>
                    <a:cubicBezTo>
                      <a:pt x="89" y="752"/>
                      <a:pt x="89" y="751"/>
                      <a:pt x="90" y="751"/>
                    </a:cubicBezTo>
                    <a:cubicBezTo>
                      <a:pt x="88" y="748"/>
                      <a:pt x="85" y="744"/>
                      <a:pt x="83" y="743"/>
                    </a:cubicBezTo>
                    <a:cubicBezTo>
                      <a:pt x="86" y="742"/>
                      <a:pt x="88" y="745"/>
                      <a:pt x="91" y="748"/>
                    </a:cubicBezTo>
                    <a:cubicBezTo>
                      <a:pt x="93" y="746"/>
                      <a:pt x="94" y="743"/>
                      <a:pt x="95" y="742"/>
                    </a:cubicBezTo>
                    <a:cubicBezTo>
                      <a:pt x="95" y="741"/>
                      <a:pt x="95" y="741"/>
                      <a:pt x="96" y="741"/>
                    </a:cubicBezTo>
                    <a:cubicBezTo>
                      <a:pt x="96" y="734"/>
                      <a:pt x="99" y="727"/>
                      <a:pt x="103" y="726"/>
                    </a:cubicBezTo>
                    <a:cubicBezTo>
                      <a:pt x="106" y="725"/>
                      <a:pt x="101" y="731"/>
                      <a:pt x="101" y="734"/>
                    </a:cubicBezTo>
                    <a:cubicBezTo>
                      <a:pt x="106" y="727"/>
                      <a:pt x="111" y="720"/>
                      <a:pt x="112" y="713"/>
                    </a:cubicBezTo>
                    <a:cubicBezTo>
                      <a:pt x="111" y="723"/>
                      <a:pt x="106" y="732"/>
                      <a:pt x="101" y="742"/>
                    </a:cubicBezTo>
                    <a:cubicBezTo>
                      <a:pt x="102" y="745"/>
                      <a:pt x="103" y="748"/>
                      <a:pt x="104" y="753"/>
                    </a:cubicBezTo>
                    <a:cubicBezTo>
                      <a:pt x="106" y="757"/>
                      <a:pt x="106" y="761"/>
                      <a:pt x="106" y="765"/>
                    </a:cubicBezTo>
                    <a:cubicBezTo>
                      <a:pt x="107" y="762"/>
                      <a:pt x="108" y="758"/>
                      <a:pt x="109" y="755"/>
                    </a:cubicBezTo>
                    <a:cubicBezTo>
                      <a:pt x="109" y="754"/>
                      <a:pt x="109" y="753"/>
                      <a:pt x="110" y="752"/>
                    </a:cubicBezTo>
                    <a:cubicBezTo>
                      <a:pt x="110" y="752"/>
                      <a:pt x="110" y="751"/>
                      <a:pt x="110" y="751"/>
                    </a:cubicBezTo>
                    <a:cubicBezTo>
                      <a:pt x="110" y="751"/>
                      <a:pt x="110" y="751"/>
                      <a:pt x="110" y="752"/>
                    </a:cubicBezTo>
                    <a:cubicBezTo>
                      <a:pt x="110" y="751"/>
                      <a:pt x="110" y="751"/>
                      <a:pt x="110" y="751"/>
                    </a:cubicBezTo>
                    <a:cubicBezTo>
                      <a:pt x="110" y="751"/>
                      <a:pt x="110" y="752"/>
                      <a:pt x="111" y="752"/>
                    </a:cubicBezTo>
                    <a:cubicBezTo>
                      <a:pt x="111" y="752"/>
                      <a:pt x="111" y="751"/>
                      <a:pt x="111" y="751"/>
                    </a:cubicBezTo>
                    <a:cubicBezTo>
                      <a:pt x="111" y="751"/>
                      <a:pt x="112" y="749"/>
                      <a:pt x="113" y="748"/>
                    </a:cubicBezTo>
                    <a:cubicBezTo>
                      <a:pt x="113" y="747"/>
                      <a:pt x="113" y="747"/>
                      <a:pt x="113" y="746"/>
                    </a:cubicBezTo>
                    <a:cubicBezTo>
                      <a:pt x="112" y="740"/>
                      <a:pt x="111" y="735"/>
                      <a:pt x="109" y="729"/>
                    </a:cubicBezTo>
                    <a:cubicBezTo>
                      <a:pt x="109" y="729"/>
                      <a:pt x="109" y="729"/>
                      <a:pt x="109" y="728"/>
                    </a:cubicBezTo>
                    <a:cubicBezTo>
                      <a:pt x="109" y="729"/>
                      <a:pt x="109" y="729"/>
                      <a:pt x="109" y="729"/>
                    </a:cubicBezTo>
                    <a:cubicBezTo>
                      <a:pt x="110" y="731"/>
                      <a:pt x="112" y="733"/>
                      <a:pt x="112" y="735"/>
                    </a:cubicBezTo>
                    <a:cubicBezTo>
                      <a:pt x="113" y="736"/>
                      <a:pt x="114" y="738"/>
                      <a:pt x="115" y="740"/>
                    </a:cubicBezTo>
                    <a:lnTo>
                      <a:pt x="115" y="0"/>
                    </a:lnTo>
                    <a:lnTo>
                      <a:pt x="0" y="0"/>
                    </a:lnTo>
                    <a:lnTo>
                      <a:pt x="0" y="741"/>
                    </a:lnTo>
                    <a:cubicBezTo>
                      <a:pt x="1" y="737"/>
                      <a:pt x="2" y="732"/>
                      <a:pt x="2" y="728"/>
                    </a:cubicBezTo>
                    <a:cubicBezTo>
                      <a:pt x="2" y="728"/>
                      <a:pt x="3" y="729"/>
                      <a:pt x="3" y="7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5" name="Freeform 34">
                <a:extLst>
                  <a:ext uri="{FF2B5EF4-FFF2-40B4-BE49-F238E27FC236}">
                    <a16:creationId xmlns:a16="http://schemas.microsoft.com/office/drawing/2014/main" id="{2145A6D5-9211-8C40-50E7-FCDD0EF509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4271" y="3935822"/>
                <a:ext cx="1810" cy="5430"/>
              </a:xfrm>
              <a:custGeom>
                <a:avLst/>
                <a:gdLst>
                  <a:gd name="T0" fmla="*/ 1 w 4"/>
                  <a:gd name="T1" fmla="*/ 8 h 11"/>
                  <a:gd name="T2" fmla="*/ 3 w 4"/>
                  <a:gd name="T3" fmla="*/ 10 h 11"/>
                  <a:gd name="T4" fmla="*/ 4 w 4"/>
                  <a:gd name="T5" fmla="*/ 11 h 11"/>
                  <a:gd name="T6" fmla="*/ 2 w 4"/>
                  <a:gd name="T7" fmla="*/ 0 h 11"/>
                  <a:gd name="T8" fmla="*/ 0 w 4"/>
                  <a:gd name="T9" fmla="*/ 6 h 11"/>
                  <a:gd name="T10" fmla="*/ 1 w 4"/>
                  <a:gd name="T11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1" y="8"/>
                    </a:moveTo>
                    <a:cubicBezTo>
                      <a:pt x="2" y="9"/>
                      <a:pt x="3" y="10"/>
                      <a:pt x="3" y="10"/>
                    </a:cubicBezTo>
                    <a:cubicBezTo>
                      <a:pt x="3" y="10"/>
                      <a:pt x="3" y="11"/>
                      <a:pt x="4" y="11"/>
                    </a:cubicBezTo>
                    <a:cubicBezTo>
                      <a:pt x="3" y="7"/>
                      <a:pt x="3" y="4"/>
                      <a:pt x="2" y="0"/>
                    </a:cubicBezTo>
                    <a:cubicBezTo>
                      <a:pt x="1" y="2"/>
                      <a:pt x="1" y="4"/>
                      <a:pt x="0" y="6"/>
                    </a:cubicBezTo>
                    <a:cubicBezTo>
                      <a:pt x="1" y="6"/>
                      <a:pt x="1" y="7"/>
                      <a:pt x="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6" name="Freeform 35">
                <a:extLst>
                  <a:ext uri="{FF2B5EF4-FFF2-40B4-BE49-F238E27FC236}">
                    <a16:creationId xmlns:a16="http://schemas.microsoft.com/office/drawing/2014/main" id="{410FAAFC-9F63-E50C-578A-2A5962ABEF6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37032" y="3937633"/>
                <a:ext cx="1810" cy="9050"/>
              </a:xfrm>
              <a:custGeom>
                <a:avLst/>
                <a:gdLst>
                  <a:gd name="T0" fmla="*/ 2 w 4"/>
                  <a:gd name="T1" fmla="*/ 21 h 22"/>
                  <a:gd name="T2" fmla="*/ 3 w 4"/>
                  <a:gd name="T3" fmla="*/ 22 h 22"/>
                  <a:gd name="T4" fmla="*/ 3 w 4"/>
                  <a:gd name="T5" fmla="*/ 21 h 22"/>
                  <a:gd name="T6" fmla="*/ 2 w 4"/>
                  <a:gd name="T7" fmla="*/ 0 h 22"/>
                  <a:gd name="T8" fmla="*/ 0 w 4"/>
                  <a:gd name="T9" fmla="*/ 5 h 22"/>
                  <a:gd name="T10" fmla="*/ 2 w 4"/>
                  <a:gd name="T11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2">
                    <a:moveTo>
                      <a:pt x="2" y="21"/>
                    </a:moveTo>
                    <a:cubicBezTo>
                      <a:pt x="2" y="21"/>
                      <a:pt x="2" y="22"/>
                      <a:pt x="3" y="22"/>
                    </a:cubicBezTo>
                    <a:cubicBezTo>
                      <a:pt x="3" y="22"/>
                      <a:pt x="3" y="21"/>
                      <a:pt x="3" y="21"/>
                    </a:cubicBezTo>
                    <a:cubicBezTo>
                      <a:pt x="4" y="13"/>
                      <a:pt x="3" y="8"/>
                      <a:pt x="2" y="0"/>
                    </a:cubicBezTo>
                    <a:cubicBezTo>
                      <a:pt x="1" y="2"/>
                      <a:pt x="0" y="3"/>
                      <a:pt x="0" y="5"/>
                    </a:cubicBezTo>
                    <a:cubicBezTo>
                      <a:pt x="1" y="10"/>
                      <a:pt x="2" y="17"/>
                      <a:pt x="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7" name="Freeform 36">
                <a:extLst>
                  <a:ext uri="{FF2B5EF4-FFF2-40B4-BE49-F238E27FC236}">
                    <a16:creationId xmlns:a16="http://schemas.microsoft.com/office/drawing/2014/main" id="{CE63ACD4-3B27-EE9E-92A5-145361F657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03995" y="3626341"/>
                <a:ext cx="220800" cy="318531"/>
              </a:xfrm>
              <a:custGeom>
                <a:avLst/>
                <a:gdLst>
                  <a:gd name="T0" fmla="*/ 381 w 538"/>
                  <a:gd name="T1" fmla="*/ 766 h 775"/>
                  <a:gd name="T2" fmla="*/ 388 w 538"/>
                  <a:gd name="T3" fmla="*/ 736 h 775"/>
                  <a:gd name="T4" fmla="*/ 419 w 538"/>
                  <a:gd name="T5" fmla="*/ 702 h 775"/>
                  <a:gd name="T6" fmla="*/ 403 w 538"/>
                  <a:gd name="T7" fmla="*/ 760 h 775"/>
                  <a:gd name="T8" fmla="*/ 441 w 538"/>
                  <a:gd name="T9" fmla="*/ 740 h 775"/>
                  <a:gd name="T10" fmla="*/ 450 w 538"/>
                  <a:gd name="T11" fmla="*/ 733 h 775"/>
                  <a:gd name="T12" fmla="*/ 416 w 538"/>
                  <a:gd name="T13" fmla="*/ 572 h 775"/>
                  <a:gd name="T14" fmla="*/ 153 w 538"/>
                  <a:gd name="T15" fmla="*/ 622 h 775"/>
                  <a:gd name="T16" fmla="*/ 123 w 538"/>
                  <a:gd name="T17" fmla="*/ 241 h 775"/>
                  <a:gd name="T18" fmla="*/ 271 w 538"/>
                  <a:gd name="T19" fmla="*/ 119 h 775"/>
                  <a:gd name="T20" fmla="*/ 538 w 538"/>
                  <a:gd name="T21" fmla="*/ 232 h 775"/>
                  <a:gd name="T22" fmla="*/ 122 w 538"/>
                  <a:gd name="T23" fmla="*/ 45 h 775"/>
                  <a:gd name="T24" fmla="*/ 0 w 538"/>
                  <a:gd name="T25" fmla="*/ 399 h 775"/>
                  <a:gd name="T26" fmla="*/ 33 w 538"/>
                  <a:gd name="T27" fmla="*/ 656 h 775"/>
                  <a:gd name="T28" fmla="*/ 100 w 538"/>
                  <a:gd name="T29" fmla="*/ 736 h 775"/>
                  <a:gd name="T30" fmla="*/ 103 w 538"/>
                  <a:gd name="T31" fmla="*/ 725 h 775"/>
                  <a:gd name="T32" fmla="*/ 113 w 538"/>
                  <a:gd name="T33" fmla="*/ 746 h 775"/>
                  <a:gd name="T34" fmla="*/ 119 w 538"/>
                  <a:gd name="T35" fmla="*/ 750 h 775"/>
                  <a:gd name="T36" fmla="*/ 120 w 538"/>
                  <a:gd name="T37" fmla="*/ 743 h 775"/>
                  <a:gd name="T38" fmla="*/ 130 w 538"/>
                  <a:gd name="T39" fmla="*/ 738 h 775"/>
                  <a:gd name="T40" fmla="*/ 128 w 538"/>
                  <a:gd name="T41" fmla="*/ 757 h 775"/>
                  <a:gd name="T42" fmla="*/ 138 w 538"/>
                  <a:gd name="T43" fmla="*/ 744 h 775"/>
                  <a:gd name="T44" fmla="*/ 149 w 538"/>
                  <a:gd name="T45" fmla="*/ 748 h 775"/>
                  <a:gd name="T46" fmla="*/ 144 w 538"/>
                  <a:gd name="T47" fmla="*/ 726 h 775"/>
                  <a:gd name="T48" fmla="*/ 157 w 538"/>
                  <a:gd name="T49" fmla="*/ 759 h 775"/>
                  <a:gd name="T50" fmla="*/ 164 w 538"/>
                  <a:gd name="T51" fmla="*/ 753 h 775"/>
                  <a:gd name="T52" fmla="*/ 180 w 538"/>
                  <a:gd name="T53" fmla="*/ 757 h 775"/>
                  <a:gd name="T54" fmla="*/ 190 w 538"/>
                  <a:gd name="T55" fmla="*/ 771 h 775"/>
                  <a:gd name="T56" fmla="*/ 198 w 538"/>
                  <a:gd name="T57" fmla="*/ 711 h 775"/>
                  <a:gd name="T58" fmla="*/ 209 w 538"/>
                  <a:gd name="T59" fmla="*/ 768 h 775"/>
                  <a:gd name="T60" fmla="*/ 213 w 538"/>
                  <a:gd name="T61" fmla="*/ 734 h 775"/>
                  <a:gd name="T62" fmla="*/ 221 w 538"/>
                  <a:gd name="T63" fmla="*/ 753 h 775"/>
                  <a:gd name="T64" fmla="*/ 230 w 538"/>
                  <a:gd name="T65" fmla="*/ 755 h 775"/>
                  <a:gd name="T66" fmla="*/ 234 w 538"/>
                  <a:gd name="T67" fmla="*/ 741 h 775"/>
                  <a:gd name="T68" fmla="*/ 237 w 538"/>
                  <a:gd name="T69" fmla="*/ 742 h 775"/>
                  <a:gd name="T70" fmla="*/ 257 w 538"/>
                  <a:gd name="T71" fmla="*/ 723 h 775"/>
                  <a:gd name="T72" fmla="*/ 260 w 538"/>
                  <a:gd name="T73" fmla="*/ 728 h 775"/>
                  <a:gd name="T74" fmla="*/ 267 w 538"/>
                  <a:gd name="T75" fmla="*/ 740 h 775"/>
                  <a:gd name="T76" fmla="*/ 268 w 538"/>
                  <a:gd name="T77" fmla="*/ 775 h 775"/>
                  <a:gd name="T78" fmla="*/ 273 w 538"/>
                  <a:gd name="T79" fmla="*/ 753 h 775"/>
                  <a:gd name="T80" fmla="*/ 278 w 538"/>
                  <a:gd name="T81" fmla="*/ 755 h 775"/>
                  <a:gd name="T82" fmla="*/ 288 w 538"/>
                  <a:gd name="T83" fmla="*/ 765 h 775"/>
                  <a:gd name="T84" fmla="*/ 291 w 538"/>
                  <a:gd name="T85" fmla="*/ 762 h 775"/>
                  <a:gd name="T86" fmla="*/ 292 w 538"/>
                  <a:gd name="T87" fmla="*/ 743 h 775"/>
                  <a:gd name="T88" fmla="*/ 302 w 538"/>
                  <a:gd name="T89" fmla="*/ 766 h 775"/>
                  <a:gd name="T90" fmla="*/ 297 w 538"/>
                  <a:gd name="T91" fmla="*/ 736 h 775"/>
                  <a:gd name="T92" fmla="*/ 305 w 538"/>
                  <a:gd name="T93" fmla="*/ 753 h 775"/>
                  <a:gd name="T94" fmla="*/ 309 w 538"/>
                  <a:gd name="T95" fmla="*/ 756 h 775"/>
                  <a:gd name="T96" fmla="*/ 310 w 538"/>
                  <a:gd name="T97" fmla="*/ 770 h 775"/>
                  <a:gd name="T98" fmla="*/ 317 w 538"/>
                  <a:gd name="T99" fmla="*/ 754 h 775"/>
                  <a:gd name="T100" fmla="*/ 334 w 538"/>
                  <a:gd name="T101" fmla="*/ 741 h 775"/>
                  <a:gd name="T102" fmla="*/ 344 w 538"/>
                  <a:gd name="T103" fmla="*/ 723 h 775"/>
                  <a:gd name="T104" fmla="*/ 343 w 538"/>
                  <a:gd name="T105" fmla="*/ 771 h 775"/>
                  <a:gd name="T106" fmla="*/ 353 w 538"/>
                  <a:gd name="T107" fmla="*/ 722 h 775"/>
                  <a:gd name="T108" fmla="*/ 355 w 538"/>
                  <a:gd name="T109" fmla="*/ 755 h 775"/>
                  <a:gd name="T110" fmla="*/ 362 w 538"/>
                  <a:gd name="T111" fmla="*/ 75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38" h="775">
                    <a:moveTo>
                      <a:pt x="366" y="734"/>
                    </a:moveTo>
                    <a:cubicBezTo>
                      <a:pt x="365" y="739"/>
                      <a:pt x="367" y="747"/>
                      <a:pt x="369" y="753"/>
                    </a:cubicBezTo>
                    <a:cubicBezTo>
                      <a:pt x="372" y="760"/>
                      <a:pt x="376" y="765"/>
                      <a:pt x="381" y="766"/>
                    </a:cubicBezTo>
                    <a:cubicBezTo>
                      <a:pt x="381" y="763"/>
                      <a:pt x="382" y="758"/>
                      <a:pt x="383" y="756"/>
                    </a:cubicBezTo>
                    <a:cubicBezTo>
                      <a:pt x="386" y="750"/>
                      <a:pt x="387" y="741"/>
                      <a:pt x="387" y="735"/>
                    </a:cubicBezTo>
                    <a:cubicBezTo>
                      <a:pt x="387" y="735"/>
                      <a:pt x="388" y="736"/>
                      <a:pt x="388" y="736"/>
                    </a:cubicBezTo>
                    <a:cubicBezTo>
                      <a:pt x="390" y="745"/>
                      <a:pt x="392" y="752"/>
                      <a:pt x="394" y="763"/>
                    </a:cubicBezTo>
                    <a:cubicBezTo>
                      <a:pt x="395" y="751"/>
                      <a:pt x="400" y="741"/>
                      <a:pt x="405" y="731"/>
                    </a:cubicBezTo>
                    <a:cubicBezTo>
                      <a:pt x="410" y="722"/>
                      <a:pt x="416" y="713"/>
                      <a:pt x="419" y="702"/>
                    </a:cubicBezTo>
                    <a:cubicBezTo>
                      <a:pt x="419" y="710"/>
                      <a:pt x="419" y="716"/>
                      <a:pt x="415" y="723"/>
                    </a:cubicBezTo>
                    <a:cubicBezTo>
                      <a:pt x="411" y="730"/>
                      <a:pt x="409" y="734"/>
                      <a:pt x="408" y="739"/>
                    </a:cubicBezTo>
                    <a:cubicBezTo>
                      <a:pt x="406" y="743"/>
                      <a:pt x="405" y="749"/>
                      <a:pt x="403" y="760"/>
                    </a:cubicBezTo>
                    <a:cubicBezTo>
                      <a:pt x="403" y="759"/>
                      <a:pt x="416" y="750"/>
                      <a:pt x="415" y="751"/>
                    </a:cubicBezTo>
                    <a:cubicBezTo>
                      <a:pt x="415" y="754"/>
                      <a:pt x="415" y="756"/>
                      <a:pt x="416" y="758"/>
                    </a:cubicBezTo>
                    <a:cubicBezTo>
                      <a:pt x="425" y="753"/>
                      <a:pt x="433" y="747"/>
                      <a:pt x="441" y="740"/>
                    </a:cubicBezTo>
                    <a:cubicBezTo>
                      <a:pt x="442" y="740"/>
                      <a:pt x="442" y="740"/>
                      <a:pt x="443" y="739"/>
                    </a:cubicBezTo>
                    <a:cubicBezTo>
                      <a:pt x="443" y="739"/>
                      <a:pt x="443" y="739"/>
                      <a:pt x="443" y="739"/>
                    </a:cubicBezTo>
                    <a:cubicBezTo>
                      <a:pt x="445" y="737"/>
                      <a:pt x="447" y="735"/>
                      <a:pt x="450" y="733"/>
                    </a:cubicBezTo>
                    <a:cubicBezTo>
                      <a:pt x="451" y="732"/>
                      <a:pt x="453" y="731"/>
                      <a:pt x="454" y="729"/>
                    </a:cubicBezTo>
                    <a:cubicBezTo>
                      <a:pt x="495" y="691"/>
                      <a:pt x="523" y="638"/>
                      <a:pt x="538" y="572"/>
                    </a:cubicBezTo>
                    <a:lnTo>
                      <a:pt x="416" y="572"/>
                    </a:lnTo>
                    <a:cubicBezTo>
                      <a:pt x="384" y="643"/>
                      <a:pt x="336" y="679"/>
                      <a:pt x="271" y="679"/>
                    </a:cubicBezTo>
                    <a:cubicBezTo>
                      <a:pt x="244" y="679"/>
                      <a:pt x="221" y="673"/>
                      <a:pt x="201" y="661"/>
                    </a:cubicBezTo>
                    <a:cubicBezTo>
                      <a:pt x="181" y="651"/>
                      <a:pt x="165" y="638"/>
                      <a:pt x="153" y="622"/>
                    </a:cubicBezTo>
                    <a:cubicBezTo>
                      <a:pt x="138" y="605"/>
                      <a:pt x="128" y="583"/>
                      <a:pt x="123" y="556"/>
                    </a:cubicBezTo>
                    <a:cubicBezTo>
                      <a:pt x="118" y="528"/>
                      <a:pt x="115" y="476"/>
                      <a:pt x="115" y="399"/>
                    </a:cubicBezTo>
                    <a:cubicBezTo>
                      <a:pt x="115" y="322"/>
                      <a:pt x="118" y="269"/>
                      <a:pt x="123" y="241"/>
                    </a:cubicBezTo>
                    <a:cubicBezTo>
                      <a:pt x="128" y="214"/>
                      <a:pt x="138" y="193"/>
                      <a:pt x="153" y="176"/>
                    </a:cubicBezTo>
                    <a:cubicBezTo>
                      <a:pt x="165" y="160"/>
                      <a:pt x="181" y="146"/>
                      <a:pt x="201" y="135"/>
                    </a:cubicBezTo>
                    <a:cubicBezTo>
                      <a:pt x="221" y="125"/>
                      <a:pt x="244" y="119"/>
                      <a:pt x="271" y="119"/>
                    </a:cubicBezTo>
                    <a:cubicBezTo>
                      <a:pt x="308" y="119"/>
                      <a:pt x="339" y="130"/>
                      <a:pt x="365" y="152"/>
                    </a:cubicBezTo>
                    <a:cubicBezTo>
                      <a:pt x="390" y="174"/>
                      <a:pt x="407" y="201"/>
                      <a:pt x="416" y="232"/>
                    </a:cubicBezTo>
                    <a:lnTo>
                      <a:pt x="538" y="232"/>
                    </a:lnTo>
                    <a:cubicBezTo>
                      <a:pt x="526" y="167"/>
                      <a:pt x="497" y="112"/>
                      <a:pt x="451" y="68"/>
                    </a:cubicBezTo>
                    <a:cubicBezTo>
                      <a:pt x="404" y="24"/>
                      <a:pt x="345" y="1"/>
                      <a:pt x="271" y="0"/>
                    </a:cubicBezTo>
                    <a:cubicBezTo>
                      <a:pt x="212" y="1"/>
                      <a:pt x="162" y="16"/>
                      <a:pt x="122" y="45"/>
                    </a:cubicBezTo>
                    <a:cubicBezTo>
                      <a:pt x="81" y="73"/>
                      <a:pt x="52" y="105"/>
                      <a:pt x="33" y="141"/>
                    </a:cubicBezTo>
                    <a:cubicBezTo>
                      <a:pt x="22" y="160"/>
                      <a:pt x="13" y="185"/>
                      <a:pt x="8" y="216"/>
                    </a:cubicBezTo>
                    <a:cubicBezTo>
                      <a:pt x="3" y="247"/>
                      <a:pt x="0" y="308"/>
                      <a:pt x="0" y="399"/>
                    </a:cubicBezTo>
                    <a:cubicBezTo>
                      <a:pt x="0" y="489"/>
                      <a:pt x="3" y="549"/>
                      <a:pt x="8" y="581"/>
                    </a:cubicBezTo>
                    <a:cubicBezTo>
                      <a:pt x="11" y="598"/>
                      <a:pt x="14" y="612"/>
                      <a:pt x="18" y="623"/>
                    </a:cubicBezTo>
                    <a:cubicBezTo>
                      <a:pt x="23" y="633"/>
                      <a:pt x="28" y="645"/>
                      <a:pt x="33" y="656"/>
                    </a:cubicBezTo>
                    <a:cubicBezTo>
                      <a:pt x="42" y="674"/>
                      <a:pt x="54" y="690"/>
                      <a:pt x="67" y="705"/>
                    </a:cubicBezTo>
                    <a:cubicBezTo>
                      <a:pt x="68" y="706"/>
                      <a:pt x="68" y="706"/>
                      <a:pt x="69" y="707"/>
                    </a:cubicBezTo>
                    <a:cubicBezTo>
                      <a:pt x="78" y="717"/>
                      <a:pt x="88" y="727"/>
                      <a:pt x="100" y="736"/>
                    </a:cubicBezTo>
                    <a:cubicBezTo>
                      <a:pt x="99" y="730"/>
                      <a:pt x="99" y="724"/>
                      <a:pt x="99" y="718"/>
                    </a:cubicBezTo>
                    <a:cubicBezTo>
                      <a:pt x="99" y="711"/>
                      <a:pt x="100" y="704"/>
                      <a:pt x="101" y="697"/>
                    </a:cubicBezTo>
                    <a:cubicBezTo>
                      <a:pt x="100" y="706"/>
                      <a:pt x="101" y="716"/>
                      <a:pt x="103" y="725"/>
                    </a:cubicBezTo>
                    <a:cubicBezTo>
                      <a:pt x="104" y="731"/>
                      <a:pt x="106" y="736"/>
                      <a:pt x="108" y="742"/>
                    </a:cubicBezTo>
                    <a:cubicBezTo>
                      <a:pt x="110" y="743"/>
                      <a:pt x="111" y="745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5" y="747"/>
                      <a:pt x="116" y="748"/>
                      <a:pt x="118" y="750"/>
                    </a:cubicBezTo>
                    <a:lnTo>
                      <a:pt x="119" y="750"/>
                    </a:lnTo>
                    <a:cubicBezTo>
                      <a:pt x="119" y="750"/>
                      <a:pt x="119" y="750"/>
                      <a:pt x="119" y="750"/>
                    </a:cubicBezTo>
                    <a:cubicBezTo>
                      <a:pt x="120" y="750"/>
                      <a:pt x="120" y="751"/>
                      <a:pt x="121" y="752"/>
                    </a:cubicBezTo>
                    <a:cubicBezTo>
                      <a:pt x="121" y="749"/>
                      <a:pt x="121" y="746"/>
                      <a:pt x="120" y="743"/>
                    </a:cubicBezTo>
                    <a:cubicBezTo>
                      <a:pt x="120" y="743"/>
                      <a:pt x="122" y="745"/>
                      <a:pt x="122" y="745"/>
                    </a:cubicBezTo>
                    <a:cubicBezTo>
                      <a:pt x="122" y="746"/>
                      <a:pt x="123" y="747"/>
                      <a:pt x="124" y="749"/>
                    </a:cubicBezTo>
                    <a:cubicBezTo>
                      <a:pt x="126" y="745"/>
                      <a:pt x="129" y="741"/>
                      <a:pt x="130" y="738"/>
                    </a:cubicBezTo>
                    <a:cubicBezTo>
                      <a:pt x="135" y="731"/>
                      <a:pt x="146" y="721"/>
                      <a:pt x="147" y="710"/>
                    </a:cubicBezTo>
                    <a:cubicBezTo>
                      <a:pt x="146" y="719"/>
                      <a:pt x="142" y="727"/>
                      <a:pt x="138" y="735"/>
                    </a:cubicBezTo>
                    <a:cubicBezTo>
                      <a:pt x="134" y="742"/>
                      <a:pt x="130" y="749"/>
                      <a:pt x="128" y="757"/>
                    </a:cubicBezTo>
                    <a:cubicBezTo>
                      <a:pt x="131" y="758"/>
                      <a:pt x="133" y="760"/>
                      <a:pt x="135" y="761"/>
                    </a:cubicBezTo>
                    <a:cubicBezTo>
                      <a:pt x="136" y="759"/>
                      <a:pt x="137" y="756"/>
                      <a:pt x="137" y="754"/>
                    </a:cubicBezTo>
                    <a:cubicBezTo>
                      <a:pt x="137" y="751"/>
                      <a:pt x="137" y="747"/>
                      <a:pt x="138" y="744"/>
                    </a:cubicBezTo>
                    <a:cubicBezTo>
                      <a:pt x="137" y="751"/>
                      <a:pt x="139" y="758"/>
                      <a:pt x="141" y="764"/>
                    </a:cubicBezTo>
                    <a:cubicBezTo>
                      <a:pt x="144" y="766"/>
                      <a:pt x="147" y="768"/>
                      <a:pt x="150" y="769"/>
                    </a:cubicBezTo>
                    <a:cubicBezTo>
                      <a:pt x="150" y="762"/>
                      <a:pt x="150" y="755"/>
                      <a:pt x="149" y="748"/>
                    </a:cubicBezTo>
                    <a:cubicBezTo>
                      <a:pt x="148" y="741"/>
                      <a:pt x="146" y="734"/>
                      <a:pt x="144" y="726"/>
                    </a:cubicBezTo>
                    <a:cubicBezTo>
                      <a:pt x="144" y="726"/>
                      <a:pt x="144" y="726"/>
                      <a:pt x="144" y="725"/>
                    </a:cubicBezTo>
                    <a:cubicBezTo>
                      <a:pt x="144" y="726"/>
                      <a:pt x="144" y="726"/>
                      <a:pt x="144" y="726"/>
                    </a:cubicBezTo>
                    <a:cubicBezTo>
                      <a:pt x="145" y="728"/>
                      <a:pt x="147" y="730"/>
                      <a:pt x="148" y="731"/>
                    </a:cubicBezTo>
                    <a:cubicBezTo>
                      <a:pt x="149" y="734"/>
                      <a:pt x="151" y="739"/>
                      <a:pt x="152" y="743"/>
                    </a:cubicBezTo>
                    <a:cubicBezTo>
                      <a:pt x="153" y="747"/>
                      <a:pt x="156" y="754"/>
                      <a:pt x="157" y="759"/>
                    </a:cubicBezTo>
                    <a:cubicBezTo>
                      <a:pt x="159" y="762"/>
                      <a:pt x="163" y="772"/>
                      <a:pt x="165" y="773"/>
                    </a:cubicBezTo>
                    <a:cubicBezTo>
                      <a:pt x="165" y="772"/>
                      <a:pt x="164" y="769"/>
                      <a:pt x="164" y="767"/>
                    </a:cubicBezTo>
                    <a:cubicBezTo>
                      <a:pt x="164" y="763"/>
                      <a:pt x="164" y="758"/>
                      <a:pt x="164" y="753"/>
                    </a:cubicBezTo>
                    <a:cubicBezTo>
                      <a:pt x="164" y="761"/>
                      <a:pt x="173" y="768"/>
                      <a:pt x="178" y="771"/>
                    </a:cubicBezTo>
                    <a:cubicBezTo>
                      <a:pt x="178" y="769"/>
                      <a:pt x="179" y="768"/>
                      <a:pt x="179" y="766"/>
                    </a:cubicBezTo>
                    <a:cubicBezTo>
                      <a:pt x="180" y="763"/>
                      <a:pt x="180" y="760"/>
                      <a:pt x="180" y="757"/>
                    </a:cubicBezTo>
                    <a:cubicBezTo>
                      <a:pt x="181" y="751"/>
                      <a:pt x="182" y="742"/>
                      <a:pt x="180" y="735"/>
                    </a:cubicBezTo>
                    <a:cubicBezTo>
                      <a:pt x="182" y="740"/>
                      <a:pt x="184" y="745"/>
                      <a:pt x="186" y="751"/>
                    </a:cubicBezTo>
                    <a:cubicBezTo>
                      <a:pt x="187" y="757"/>
                      <a:pt x="189" y="764"/>
                      <a:pt x="190" y="771"/>
                    </a:cubicBezTo>
                    <a:cubicBezTo>
                      <a:pt x="191" y="758"/>
                      <a:pt x="190" y="765"/>
                      <a:pt x="195" y="753"/>
                    </a:cubicBezTo>
                    <a:cubicBezTo>
                      <a:pt x="198" y="745"/>
                      <a:pt x="199" y="737"/>
                      <a:pt x="200" y="730"/>
                    </a:cubicBezTo>
                    <a:cubicBezTo>
                      <a:pt x="200" y="722"/>
                      <a:pt x="200" y="715"/>
                      <a:pt x="198" y="711"/>
                    </a:cubicBezTo>
                    <a:cubicBezTo>
                      <a:pt x="198" y="713"/>
                      <a:pt x="204" y="722"/>
                      <a:pt x="205" y="726"/>
                    </a:cubicBezTo>
                    <a:cubicBezTo>
                      <a:pt x="205" y="736"/>
                      <a:pt x="202" y="742"/>
                      <a:pt x="202" y="751"/>
                    </a:cubicBezTo>
                    <a:cubicBezTo>
                      <a:pt x="200" y="766"/>
                      <a:pt x="199" y="759"/>
                      <a:pt x="209" y="768"/>
                    </a:cubicBezTo>
                    <a:cubicBezTo>
                      <a:pt x="209" y="768"/>
                      <a:pt x="208" y="765"/>
                      <a:pt x="208" y="764"/>
                    </a:cubicBezTo>
                    <a:cubicBezTo>
                      <a:pt x="208" y="758"/>
                      <a:pt x="208" y="754"/>
                      <a:pt x="209" y="749"/>
                    </a:cubicBezTo>
                    <a:cubicBezTo>
                      <a:pt x="210" y="745"/>
                      <a:pt x="211" y="740"/>
                      <a:pt x="213" y="734"/>
                    </a:cubicBezTo>
                    <a:cubicBezTo>
                      <a:pt x="213" y="742"/>
                      <a:pt x="216" y="756"/>
                      <a:pt x="222" y="762"/>
                    </a:cubicBezTo>
                    <a:cubicBezTo>
                      <a:pt x="222" y="761"/>
                      <a:pt x="221" y="759"/>
                      <a:pt x="221" y="758"/>
                    </a:cubicBezTo>
                    <a:cubicBezTo>
                      <a:pt x="221" y="756"/>
                      <a:pt x="221" y="757"/>
                      <a:pt x="221" y="753"/>
                    </a:cubicBezTo>
                    <a:cubicBezTo>
                      <a:pt x="220" y="754"/>
                      <a:pt x="222" y="758"/>
                      <a:pt x="224" y="759"/>
                    </a:cubicBezTo>
                    <a:cubicBezTo>
                      <a:pt x="225" y="759"/>
                      <a:pt x="226" y="761"/>
                      <a:pt x="228" y="762"/>
                    </a:cubicBezTo>
                    <a:cubicBezTo>
                      <a:pt x="228" y="760"/>
                      <a:pt x="229" y="757"/>
                      <a:pt x="230" y="755"/>
                    </a:cubicBezTo>
                    <a:cubicBezTo>
                      <a:pt x="232" y="752"/>
                      <a:pt x="233" y="748"/>
                      <a:pt x="234" y="743"/>
                    </a:cubicBezTo>
                    <a:cubicBezTo>
                      <a:pt x="233" y="743"/>
                      <a:pt x="232" y="742"/>
                      <a:pt x="231" y="741"/>
                    </a:cubicBezTo>
                    <a:cubicBezTo>
                      <a:pt x="232" y="740"/>
                      <a:pt x="233" y="741"/>
                      <a:pt x="234" y="741"/>
                    </a:cubicBezTo>
                    <a:cubicBezTo>
                      <a:pt x="234" y="739"/>
                      <a:pt x="234" y="736"/>
                      <a:pt x="235" y="734"/>
                    </a:cubicBezTo>
                    <a:cubicBezTo>
                      <a:pt x="235" y="734"/>
                      <a:pt x="235" y="736"/>
                      <a:pt x="235" y="736"/>
                    </a:cubicBezTo>
                    <a:cubicBezTo>
                      <a:pt x="236" y="738"/>
                      <a:pt x="236" y="740"/>
                      <a:pt x="237" y="742"/>
                    </a:cubicBezTo>
                    <a:cubicBezTo>
                      <a:pt x="239" y="744"/>
                      <a:pt x="242" y="746"/>
                      <a:pt x="244" y="749"/>
                    </a:cubicBezTo>
                    <a:cubicBezTo>
                      <a:pt x="246" y="742"/>
                      <a:pt x="250" y="735"/>
                      <a:pt x="254" y="729"/>
                    </a:cubicBezTo>
                    <a:cubicBezTo>
                      <a:pt x="254" y="727"/>
                      <a:pt x="256" y="725"/>
                      <a:pt x="257" y="723"/>
                    </a:cubicBezTo>
                    <a:cubicBezTo>
                      <a:pt x="260" y="716"/>
                      <a:pt x="264" y="710"/>
                      <a:pt x="267" y="702"/>
                    </a:cubicBezTo>
                    <a:cubicBezTo>
                      <a:pt x="266" y="710"/>
                      <a:pt x="266" y="716"/>
                      <a:pt x="262" y="723"/>
                    </a:cubicBezTo>
                    <a:cubicBezTo>
                      <a:pt x="261" y="725"/>
                      <a:pt x="260" y="726"/>
                      <a:pt x="260" y="728"/>
                    </a:cubicBezTo>
                    <a:cubicBezTo>
                      <a:pt x="259" y="732"/>
                      <a:pt x="259" y="736"/>
                      <a:pt x="260" y="740"/>
                    </a:cubicBezTo>
                    <a:cubicBezTo>
                      <a:pt x="265" y="734"/>
                      <a:pt x="271" y="730"/>
                      <a:pt x="279" y="728"/>
                    </a:cubicBezTo>
                    <a:cubicBezTo>
                      <a:pt x="278" y="732"/>
                      <a:pt x="269" y="736"/>
                      <a:pt x="267" y="740"/>
                    </a:cubicBezTo>
                    <a:cubicBezTo>
                      <a:pt x="265" y="744"/>
                      <a:pt x="264" y="748"/>
                      <a:pt x="264" y="753"/>
                    </a:cubicBezTo>
                    <a:cubicBezTo>
                      <a:pt x="264" y="754"/>
                      <a:pt x="265" y="756"/>
                      <a:pt x="265" y="757"/>
                    </a:cubicBezTo>
                    <a:cubicBezTo>
                      <a:pt x="267" y="762"/>
                      <a:pt x="267" y="768"/>
                      <a:pt x="268" y="775"/>
                    </a:cubicBezTo>
                    <a:cubicBezTo>
                      <a:pt x="270" y="773"/>
                      <a:pt x="273" y="771"/>
                      <a:pt x="274" y="769"/>
                    </a:cubicBezTo>
                    <a:lnTo>
                      <a:pt x="274" y="769"/>
                    </a:lnTo>
                    <a:cubicBezTo>
                      <a:pt x="274" y="764"/>
                      <a:pt x="274" y="758"/>
                      <a:pt x="273" y="753"/>
                    </a:cubicBezTo>
                    <a:cubicBezTo>
                      <a:pt x="273" y="754"/>
                      <a:pt x="274" y="755"/>
                      <a:pt x="275" y="756"/>
                    </a:cubicBezTo>
                    <a:cubicBezTo>
                      <a:pt x="276" y="757"/>
                      <a:pt x="277" y="759"/>
                      <a:pt x="278" y="761"/>
                    </a:cubicBezTo>
                    <a:cubicBezTo>
                      <a:pt x="278" y="759"/>
                      <a:pt x="278" y="757"/>
                      <a:pt x="278" y="755"/>
                    </a:cubicBezTo>
                    <a:cubicBezTo>
                      <a:pt x="280" y="757"/>
                      <a:pt x="282" y="760"/>
                      <a:pt x="283" y="762"/>
                    </a:cubicBezTo>
                    <a:cubicBezTo>
                      <a:pt x="285" y="764"/>
                      <a:pt x="287" y="767"/>
                      <a:pt x="288" y="770"/>
                    </a:cubicBezTo>
                    <a:cubicBezTo>
                      <a:pt x="288" y="768"/>
                      <a:pt x="287" y="766"/>
                      <a:pt x="288" y="765"/>
                    </a:cubicBezTo>
                    <a:cubicBezTo>
                      <a:pt x="288" y="762"/>
                      <a:pt x="290" y="758"/>
                      <a:pt x="290" y="755"/>
                    </a:cubicBezTo>
                    <a:cubicBezTo>
                      <a:pt x="290" y="758"/>
                      <a:pt x="290" y="760"/>
                      <a:pt x="291" y="763"/>
                    </a:cubicBezTo>
                    <a:cubicBezTo>
                      <a:pt x="291" y="763"/>
                      <a:pt x="291" y="762"/>
                      <a:pt x="291" y="762"/>
                    </a:cubicBezTo>
                    <a:cubicBezTo>
                      <a:pt x="291" y="759"/>
                      <a:pt x="291" y="754"/>
                      <a:pt x="292" y="751"/>
                    </a:cubicBezTo>
                    <a:cubicBezTo>
                      <a:pt x="292" y="745"/>
                      <a:pt x="290" y="739"/>
                      <a:pt x="286" y="736"/>
                    </a:cubicBezTo>
                    <a:cubicBezTo>
                      <a:pt x="287" y="736"/>
                      <a:pt x="292" y="742"/>
                      <a:pt x="292" y="743"/>
                    </a:cubicBezTo>
                    <a:cubicBezTo>
                      <a:pt x="295" y="747"/>
                      <a:pt x="296" y="752"/>
                      <a:pt x="298" y="757"/>
                    </a:cubicBezTo>
                    <a:cubicBezTo>
                      <a:pt x="299" y="762"/>
                      <a:pt x="300" y="767"/>
                      <a:pt x="301" y="772"/>
                    </a:cubicBezTo>
                    <a:cubicBezTo>
                      <a:pt x="301" y="770"/>
                      <a:pt x="302" y="768"/>
                      <a:pt x="302" y="766"/>
                    </a:cubicBezTo>
                    <a:cubicBezTo>
                      <a:pt x="302" y="761"/>
                      <a:pt x="301" y="756"/>
                      <a:pt x="300" y="751"/>
                    </a:cubicBezTo>
                    <a:cubicBezTo>
                      <a:pt x="299" y="746"/>
                      <a:pt x="298" y="742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8" y="738"/>
                      <a:pt x="300" y="741"/>
                      <a:pt x="300" y="742"/>
                    </a:cubicBezTo>
                    <a:cubicBezTo>
                      <a:pt x="302" y="745"/>
                      <a:pt x="304" y="750"/>
                      <a:pt x="305" y="753"/>
                    </a:cubicBezTo>
                    <a:cubicBezTo>
                      <a:pt x="305" y="754"/>
                      <a:pt x="305" y="756"/>
                      <a:pt x="306" y="758"/>
                    </a:cubicBezTo>
                    <a:cubicBezTo>
                      <a:pt x="307" y="754"/>
                      <a:pt x="309" y="750"/>
                      <a:pt x="311" y="747"/>
                    </a:cubicBezTo>
                    <a:cubicBezTo>
                      <a:pt x="310" y="750"/>
                      <a:pt x="310" y="753"/>
                      <a:pt x="309" y="756"/>
                    </a:cubicBezTo>
                    <a:cubicBezTo>
                      <a:pt x="309" y="758"/>
                      <a:pt x="310" y="759"/>
                      <a:pt x="309" y="761"/>
                    </a:cubicBezTo>
                    <a:cubicBezTo>
                      <a:pt x="309" y="762"/>
                      <a:pt x="310" y="765"/>
                      <a:pt x="310" y="766"/>
                    </a:cubicBezTo>
                    <a:cubicBezTo>
                      <a:pt x="310" y="767"/>
                      <a:pt x="310" y="768"/>
                      <a:pt x="310" y="770"/>
                    </a:cubicBezTo>
                    <a:cubicBezTo>
                      <a:pt x="311" y="772"/>
                      <a:pt x="313" y="773"/>
                      <a:pt x="315" y="773"/>
                    </a:cubicBezTo>
                    <a:cubicBezTo>
                      <a:pt x="315" y="771"/>
                      <a:pt x="316" y="769"/>
                      <a:pt x="317" y="767"/>
                    </a:cubicBezTo>
                    <a:cubicBezTo>
                      <a:pt x="317" y="763"/>
                      <a:pt x="317" y="758"/>
                      <a:pt x="317" y="754"/>
                    </a:cubicBezTo>
                    <a:cubicBezTo>
                      <a:pt x="317" y="757"/>
                      <a:pt x="318" y="760"/>
                      <a:pt x="320" y="762"/>
                    </a:cubicBezTo>
                    <a:cubicBezTo>
                      <a:pt x="323" y="757"/>
                      <a:pt x="326" y="752"/>
                      <a:pt x="328" y="749"/>
                    </a:cubicBezTo>
                    <a:cubicBezTo>
                      <a:pt x="329" y="746"/>
                      <a:pt x="332" y="744"/>
                      <a:pt x="334" y="741"/>
                    </a:cubicBezTo>
                    <a:cubicBezTo>
                      <a:pt x="333" y="738"/>
                      <a:pt x="332" y="735"/>
                      <a:pt x="331" y="733"/>
                    </a:cubicBezTo>
                    <a:cubicBezTo>
                      <a:pt x="333" y="735"/>
                      <a:pt x="334" y="737"/>
                      <a:pt x="335" y="739"/>
                    </a:cubicBezTo>
                    <a:cubicBezTo>
                      <a:pt x="339" y="734"/>
                      <a:pt x="343" y="729"/>
                      <a:pt x="344" y="723"/>
                    </a:cubicBezTo>
                    <a:cubicBezTo>
                      <a:pt x="343" y="730"/>
                      <a:pt x="340" y="736"/>
                      <a:pt x="337" y="742"/>
                    </a:cubicBezTo>
                    <a:cubicBezTo>
                      <a:pt x="339" y="747"/>
                      <a:pt x="340" y="751"/>
                      <a:pt x="341" y="756"/>
                    </a:cubicBezTo>
                    <a:cubicBezTo>
                      <a:pt x="342" y="761"/>
                      <a:pt x="342" y="766"/>
                      <a:pt x="343" y="771"/>
                    </a:cubicBezTo>
                    <a:cubicBezTo>
                      <a:pt x="343" y="765"/>
                      <a:pt x="344" y="760"/>
                      <a:pt x="345" y="755"/>
                    </a:cubicBezTo>
                    <a:cubicBezTo>
                      <a:pt x="345" y="751"/>
                      <a:pt x="346" y="746"/>
                      <a:pt x="348" y="740"/>
                    </a:cubicBezTo>
                    <a:cubicBezTo>
                      <a:pt x="350" y="733"/>
                      <a:pt x="352" y="727"/>
                      <a:pt x="353" y="722"/>
                    </a:cubicBezTo>
                    <a:cubicBezTo>
                      <a:pt x="353" y="718"/>
                      <a:pt x="353" y="713"/>
                      <a:pt x="349" y="709"/>
                    </a:cubicBezTo>
                    <a:cubicBezTo>
                      <a:pt x="361" y="709"/>
                      <a:pt x="358" y="729"/>
                      <a:pt x="357" y="737"/>
                    </a:cubicBezTo>
                    <a:cubicBezTo>
                      <a:pt x="357" y="745"/>
                      <a:pt x="355" y="750"/>
                      <a:pt x="355" y="755"/>
                    </a:cubicBezTo>
                    <a:cubicBezTo>
                      <a:pt x="355" y="760"/>
                      <a:pt x="357" y="764"/>
                      <a:pt x="362" y="769"/>
                    </a:cubicBezTo>
                    <a:cubicBezTo>
                      <a:pt x="362" y="768"/>
                      <a:pt x="361" y="765"/>
                      <a:pt x="361" y="764"/>
                    </a:cubicBezTo>
                    <a:cubicBezTo>
                      <a:pt x="361" y="758"/>
                      <a:pt x="361" y="754"/>
                      <a:pt x="362" y="750"/>
                    </a:cubicBezTo>
                    <a:cubicBezTo>
                      <a:pt x="363" y="745"/>
                      <a:pt x="364" y="741"/>
                      <a:pt x="366" y="7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8" name="Freeform 37">
                <a:extLst>
                  <a:ext uri="{FF2B5EF4-FFF2-40B4-BE49-F238E27FC236}">
                    <a16:creationId xmlns:a16="http://schemas.microsoft.com/office/drawing/2014/main" id="{6B62AB9C-A9CB-520D-D7BB-5C0D23B4E9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7156" y="3934013"/>
                <a:ext cx="1810" cy="3620"/>
              </a:xfrm>
              <a:custGeom>
                <a:avLst/>
                <a:gdLst>
                  <a:gd name="T0" fmla="*/ 2 w 3"/>
                  <a:gd name="T1" fmla="*/ 0 h 12"/>
                  <a:gd name="T2" fmla="*/ 0 w 3"/>
                  <a:gd name="T3" fmla="*/ 12 h 12"/>
                  <a:gd name="T4" fmla="*/ 3 w 3"/>
                  <a:gd name="T5" fmla="*/ 6 h 12"/>
                  <a:gd name="T6" fmla="*/ 3 w 3"/>
                  <a:gd name="T7" fmla="*/ 5 h 12"/>
                  <a:gd name="T8" fmla="*/ 2 w 3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2">
                    <a:moveTo>
                      <a:pt x="2" y="0"/>
                    </a:moveTo>
                    <a:cubicBezTo>
                      <a:pt x="2" y="4"/>
                      <a:pt x="1" y="7"/>
                      <a:pt x="0" y="12"/>
                    </a:cubicBezTo>
                    <a:cubicBezTo>
                      <a:pt x="0" y="11"/>
                      <a:pt x="2" y="8"/>
                      <a:pt x="3" y="6"/>
                    </a:cubicBezTo>
                    <a:cubicBezTo>
                      <a:pt x="3" y="6"/>
                      <a:pt x="3" y="5"/>
                      <a:pt x="3" y="5"/>
                    </a:cubicBezTo>
                    <a:cubicBezTo>
                      <a:pt x="3" y="3"/>
                      <a:pt x="3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9" name="Freeform 38">
                <a:extLst>
                  <a:ext uri="{FF2B5EF4-FFF2-40B4-BE49-F238E27FC236}">
                    <a16:creationId xmlns:a16="http://schemas.microsoft.com/office/drawing/2014/main" id="{596B034F-1350-0157-DB5E-308A06AA1F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1726" y="3934013"/>
                <a:ext cx="1810" cy="5430"/>
              </a:xfrm>
              <a:custGeom>
                <a:avLst/>
                <a:gdLst>
                  <a:gd name="T0" fmla="*/ 0 w 5"/>
                  <a:gd name="T1" fmla="*/ 0 h 14"/>
                  <a:gd name="T2" fmla="*/ 3 w 5"/>
                  <a:gd name="T3" fmla="*/ 14 h 14"/>
                  <a:gd name="T4" fmla="*/ 5 w 5"/>
                  <a:gd name="T5" fmla="*/ 6 h 14"/>
                  <a:gd name="T6" fmla="*/ 0 w 5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4">
                    <a:moveTo>
                      <a:pt x="0" y="0"/>
                    </a:moveTo>
                    <a:cubicBezTo>
                      <a:pt x="1" y="4"/>
                      <a:pt x="2" y="9"/>
                      <a:pt x="3" y="14"/>
                    </a:cubicBezTo>
                    <a:cubicBezTo>
                      <a:pt x="4" y="11"/>
                      <a:pt x="4" y="9"/>
                      <a:pt x="5" y="6"/>
                    </a:cubicBezTo>
                    <a:cubicBezTo>
                      <a:pt x="4" y="4"/>
                      <a:pt x="2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0" name="Freeform 39">
                <a:extLst>
                  <a:ext uri="{FF2B5EF4-FFF2-40B4-BE49-F238E27FC236}">
                    <a16:creationId xmlns:a16="http://schemas.microsoft.com/office/drawing/2014/main" id="{D4ED7D3F-CC4D-60B6-84AC-C37F800A3D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1051" y="39322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1" name="Freeform 40">
                <a:extLst>
                  <a:ext uri="{FF2B5EF4-FFF2-40B4-BE49-F238E27FC236}">
                    <a16:creationId xmlns:a16="http://schemas.microsoft.com/office/drawing/2014/main" id="{1DBDF5DF-E326-D916-C7CD-2679848792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2861" y="3934013"/>
                <a:ext cx="0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2" name="Freeform 41">
                <a:extLst>
                  <a:ext uri="{FF2B5EF4-FFF2-40B4-BE49-F238E27FC236}">
                    <a16:creationId xmlns:a16="http://schemas.microsoft.com/office/drawing/2014/main" id="{10F0E08B-6E5F-FE3F-E391-BF8E44B4E5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37923" y="3932203"/>
                <a:ext cx="3620" cy="10859"/>
              </a:xfrm>
              <a:custGeom>
                <a:avLst/>
                <a:gdLst>
                  <a:gd name="T0" fmla="*/ 9 w 10"/>
                  <a:gd name="T1" fmla="*/ 11 h 24"/>
                  <a:gd name="T2" fmla="*/ 10 w 10"/>
                  <a:gd name="T3" fmla="*/ 0 h 24"/>
                  <a:gd name="T4" fmla="*/ 0 w 10"/>
                  <a:gd name="T5" fmla="*/ 21 h 24"/>
                  <a:gd name="T6" fmla="*/ 6 w 10"/>
                  <a:gd name="T7" fmla="*/ 24 h 24"/>
                  <a:gd name="T8" fmla="*/ 7 w 10"/>
                  <a:gd name="T9" fmla="*/ 20 h 24"/>
                  <a:gd name="T10" fmla="*/ 9 w 10"/>
                  <a:gd name="T11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4">
                    <a:moveTo>
                      <a:pt x="9" y="11"/>
                    </a:moveTo>
                    <a:cubicBezTo>
                      <a:pt x="10" y="8"/>
                      <a:pt x="10" y="4"/>
                      <a:pt x="10" y="0"/>
                    </a:cubicBezTo>
                    <a:cubicBezTo>
                      <a:pt x="6" y="7"/>
                      <a:pt x="2" y="14"/>
                      <a:pt x="0" y="21"/>
                    </a:cubicBezTo>
                    <a:cubicBezTo>
                      <a:pt x="2" y="23"/>
                      <a:pt x="4" y="24"/>
                      <a:pt x="6" y="24"/>
                    </a:cubicBezTo>
                    <a:cubicBezTo>
                      <a:pt x="6" y="22"/>
                      <a:pt x="7" y="22"/>
                      <a:pt x="7" y="20"/>
                    </a:cubicBezTo>
                    <a:cubicBezTo>
                      <a:pt x="7" y="17"/>
                      <a:pt x="9" y="14"/>
                      <a:pt x="9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3" name="Freeform 42">
                <a:extLst>
                  <a:ext uri="{FF2B5EF4-FFF2-40B4-BE49-F238E27FC236}">
                    <a16:creationId xmlns:a16="http://schemas.microsoft.com/office/drawing/2014/main" id="{50447A8B-8E3A-F314-7863-E700B7DAC9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29360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4" name="Freeform 43">
                <a:extLst>
                  <a:ext uri="{FF2B5EF4-FFF2-40B4-BE49-F238E27FC236}">
                    <a16:creationId xmlns:a16="http://schemas.microsoft.com/office/drawing/2014/main" id="{2C4541AB-F024-C738-230C-7D191B5C42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56048" y="4004596"/>
                <a:ext cx="54295" cy="74204"/>
              </a:xfrm>
              <a:custGeom>
                <a:avLst/>
                <a:gdLst>
                  <a:gd name="T0" fmla="*/ 84 w 130"/>
                  <a:gd name="T1" fmla="*/ 181 h 181"/>
                  <a:gd name="T2" fmla="*/ 84 w 130"/>
                  <a:gd name="T3" fmla="*/ 33 h 181"/>
                  <a:gd name="T4" fmla="*/ 130 w 130"/>
                  <a:gd name="T5" fmla="*/ 33 h 181"/>
                  <a:gd name="T6" fmla="*/ 130 w 130"/>
                  <a:gd name="T7" fmla="*/ 0 h 181"/>
                  <a:gd name="T8" fmla="*/ 0 w 130"/>
                  <a:gd name="T9" fmla="*/ 0 h 181"/>
                  <a:gd name="T10" fmla="*/ 0 w 130"/>
                  <a:gd name="T11" fmla="*/ 33 h 181"/>
                  <a:gd name="T12" fmla="*/ 45 w 130"/>
                  <a:gd name="T13" fmla="*/ 33 h 181"/>
                  <a:gd name="T14" fmla="*/ 45 w 130"/>
                  <a:gd name="T15" fmla="*/ 181 h 181"/>
                  <a:gd name="T16" fmla="*/ 84 w 130"/>
                  <a:gd name="T17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0" h="181">
                    <a:moveTo>
                      <a:pt x="84" y="181"/>
                    </a:moveTo>
                    <a:lnTo>
                      <a:pt x="84" y="33"/>
                    </a:lnTo>
                    <a:lnTo>
                      <a:pt x="130" y="33"/>
                    </a:lnTo>
                    <a:lnTo>
                      <a:pt x="130" y="0"/>
                    </a:lnTo>
                    <a:lnTo>
                      <a:pt x="0" y="0"/>
                    </a:lnTo>
                    <a:lnTo>
                      <a:pt x="0" y="33"/>
                    </a:lnTo>
                    <a:lnTo>
                      <a:pt x="45" y="33"/>
                    </a:lnTo>
                    <a:lnTo>
                      <a:pt x="45" y="181"/>
                    </a:lnTo>
                    <a:lnTo>
                      <a:pt x="84" y="1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5" name="Freeform 44">
                <a:extLst>
                  <a:ext uri="{FF2B5EF4-FFF2-40B4-BE49-F238E27FC236}">
                    <a16:creationId xmlns:a16="http://schemas.microsoft.com/office/drawing/2014/main" id="{61BB4DBB-7B88-A2C8-D804-B38AF135CAB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81844" y="4002787"/>
                <a:ext cx="61534" cy="77823"/>
              </a:xfrm>
              <a:custGeom>
                <a:avLst/>
                <a:gdLst>
                  <a:gd name="T0" fmla="*/ 76 w 150"/>
                  <a:gd name="T1" fmla="*/ 154 h 187"/>
                  <a:gd name="T2" fmla="*/ 40 w 150"/>
                  <a:gd name="T3" fmla="*/ 92 h 187"/>
                  <a:gd name="T4" fmla="*/ 74 w 150"/>
                  <a:gd name="T5" fmla="*/ 33 h 187"/>
                  <a:gd name="T6" fmla="*/ 109 w 150"/>
                  <a:gd name="T7" fmla="*/ 95 h 187"/>
                  <a:gd name="T8" fmla="*/ 76 w 150"/>
                  <a:gd name="T9" fmla="*/ 154 h 187"/>
                  <a:gd name="T10" fmla="*/ 76 w 150"/>
                  <a:gd name="T11" fmla="*/ 0 h 187"/>
                  <a:gd name="T12" fmla="*/ 0 w 150"/>
                  <a:gd name="T13" fmla="*/ 95 h 187"/>
                  <a:gd name="T14" fmla="*/ 74 w 150"/>
                  <a:gd name="T15" fmla="*/ 187 h 187"/>
                  <a:gd name="T16" fmla="*/ 150 w 150"/>
                  <a:gd name="T17" fmla="*/ 93 h 187"/>
                  <a:gd name="T18" fmla="*/ 76 w 150"/>
                  <a:gd name="T1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87">
                    <a:moveTo>
                      <a:pt x="76" y="154"/>
                    </a:moveTo>
                    <a:cubicBezTo>
                      <a:pt x="54" y="154"/>
                      <a:pt x="40" y="138"/>
                      <a:pt x="40" y="92"/>
                    </a:cubicBezTo>
                    <a:cubicBezTo>
                      <a:pt x="40" y="47"/>
                      <a:pt x="54" y="33"/>
                      <a:pt x="74" y="33"/>
                    </a:cubicBezTo>
                    <a:cubicBezTo>
                      <a:pt x="96" y="33"/>
                      <a:pt x="109" y="49"/>
                      <a:pt x="109" y="95"/>
                    </a:cubicBezTo>
                    <a:cubicBezTo>
                      <a:pt x="109" y="139"/>
                      <a:pt x="97" y="154"/>
                      <a:pt x="76" y="154"/>
                    </a:cubicBezTo>
                    <a:close/>
                    <a:moveTo>
                      <a:pt x="76" y="0"/>
                    </a:moveTo>
                    <a:cubicBezTo>
                      <a:pt x="32" y="0"/>
                      <a:pt x="0" y="29"/>
                      <a:pt x="0" y="95"/>
                    </a:cubicBezTo>
                    <a:cubicBezTo>
                      <a:pt x="0" y="163"/>
                      <a:pt x="28" y="187"/>
                      <a:pt x="74" y="187"/>
                    </a:cubicBezTo>
                    <a:cubicBezTo>
                      <a:pt x="118" y="187"/>
                      <a:pt x="150" y="159"/>
                      <a:pt x="150" y="93"/>
                    </a:cubicBezTo>
                    <a:cubicBezTo>
                      <a:pt x="150" y="25"/>
                      <a:pt x="121" y="0"/>
                      <a:pt x="7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6" name="Freeform 45">
                <a:extLst>
                  <a:ext uri="{FF2B5EF4-FFF2-40B4-BE49-F238E27FC236}">
                    <a16:creationId xmlns:a16="http://schemas.microsoft.com/office/drawing/2014/main" id="{412438B4-7FCD-F078-0BEC-7322AD62C75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07642" y="4004596"/>
                <a:ext cx="54295" cy="74204"/>
              </a:xfrm>
              <a:custGeom>
                <a:avLst/>
                <a:gdLst>
                  <a:gd name="T0" fmla="*/ 66 w 132"/>
                  <a:gd name="T1" fmla="*/ 149 h 181"/>
                  <a:gd name="T2" fmla="*/ 39 w 132"/>
                  <a:gd name="T3" fmla="*/ 149 h 181"/>
                  <a:gd name="T4" fmla="*/ 39 w 132"/>
                  <a:gd name="T5" fmla="*/ 105 h 181"/>
                  <a:gd name="T6" fmla="*/ 64 w 132"/>
                  <a:gd name="T7" fmla="*/ 105 h 181"/>
                  <a:gd name="T8" fmla="*/ 92 w 132"/>
                  <a:gd name="T9" fmla="*/ 127 h 181"/>
                  <a:gd name="T10" fmla="*/ 66 w 132"/>
                  <a:gd name="T11" fmla="*/ 149 h 181"/>
                  <a:gd name="T12" fmla="*/ 39 w 132"/>
                  <a:gd name="T13" fmla="*/ 33 h 181"/>
                  <a:gd name="T14" fmla="*/ 60 w 132"/>
                  <a:gd name="T15" fmla="*/ 33 h 181"/>
                  <a:gd name="T16" fmla="*/ 85 w 132"/>
                  <a:gd name="T17" fmla="*/ 52 h 181"/>
                  <a:gd name="T18" fmla="*/ 59 w 132"/>
                  <a:gd name="T19" fmla="*/ 73 h 181"/>
                  <a:gd name="T20" fmla="*/ 39 w 132"/>
                  <a:gd name="T21" fmla="*/ 73 h 181"/>
                  <a:gd name="T22" fmla="*/ 39 w 132"/>
                  <a:gd name="T23" fmla="*/ 33 h 181"/>
                  <a:gd name="T24" fmla="*/ 97 w 132"/>
                  <a:gd name="T25" fmla="*/ 86 h 181"/>
                  <a:gd name="T26" fmla="*/ 97 w 132"/>
                  <a:gd name="T27" fmla="*/ 85 h 181"/>
                  <a:gd name="T28" fmla="*/ 123 w 132"/>
                  <a:gd name="T29" fmla="*/ 47 h 181"/>
                  <a:gd name="T30" fmla="*/ 65 w 132"/>
                  <a:gd name="T31" fmla="*/ 0 h 181"/>
                  <a:gd name="T32" fmla="*/ 0 w 132"/>
                  <a:gd name="T33" fmla="*/ 0 h 181"/>
                  <a:gd name="T34" fmla="*/ 0 w 132"/>
                  <a:gd name="T35" fmla="*/ 181 h 181"/>
                  <a:gd name="T36" fmla="*/ 60 w 132"/>
                  <a:gd name="T37" fmla="*/ 181 h 181"/>
                  <a:gd name="T38" fmla="*/ 132 w 132"/>
                  <a:gd name="T39" fmla="*/ 126 h 181"/>
                  <a:gd name="T40" fmla="*/ 97 w 132"/>
                  <a:gd name="T41" fmla="*/ 86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2" h="181">
                    <a:moveTo>
                      <a:pt x="66" y="149"/>
                    </a:moveTo>
                    <a:lnTo>
                      <a:pt x="39" y="149"/>
                    </a:lnTo>
                    <a:lnTo>
                      <a:pt x="39" y="105"/>
                    </a:lnTo>
                    <a:lnTo>
                      <a:pt x="64" y="105"/>
                    </a:lnTo>
                    <a:cubicBezTo>
                      <a:pt x="79" y="105"/>
                      <a:pt x="92" y="111"/>
                      <a:pt x="92" y="127"/>
                    </a:cubicBezTo>
                    <a:cubicBezTo>
                      <a:pt x="92" y="137"/>
                      <a:pt x="86" y="149"/>
                      <a:pt x="66" y="149"/>
                    </a:cubicBezTo>
                    <a:close/>
                    <a:moveTo>
                      <a:pt x="39" y="33"/>
                    </a:moveTo>
                    <a:lnTo>
                      <a:pt x="60" y="33"/>
                    </a:lnTo>
                    <a:cubicBezTo>
                      <a:pt x="79" y="33"/>
                      <a:pt x="85" y="41"/>
                      <a:pt x="85" y="52"/>
                    </a:cubicBezTo>
                    <a:cubicBezTo>
                      <a:pt x="85" y="63"/>
                      <a:pt x="78" y="73"/>
                      <a:pt x="59" y="73"/>
                    </a:cubicBezTo>
                    <a:lnTo>
                      <a:pt x="39" y="73"/>
                    </a:lnTo>
                    <a:lnTo>
                      <a:pt x="39" y="33"/>
                    </a:lnTo>
                    <a:close/>
                    <a:moveTo>
                      <a:pt x="97" y="86"/>
                    </a:moveTo>
                    <a:lnTo>
                      <a:pt x="97" y="85"/>
                    </a:lnTo>
                    <a:cubicBezTo>
                      <a:pt x="111" y="80"/>
                      <a:pt x="123" y="67"/>
                      <a:pt x="123" y="47"/>
                    </a:cubicBezTo>
                    <a:cubicBezTo>
                      <a:pt x="123" y="10"/>
                      <a:pt x="97" y="0"/>
                      <a:pt x="65" y="0"/>
                    </a:cubicBezTo>
                    <a:lnTo>
                      <a:pt x="0" y="0"/>
                    </a:lnTo>
                    <a:lnTo>
                      <a:pt x="0" y="181"/>
                    </a:lnTo>
                    <a:lnTo>
                      <a:pt x="60" y="181"/>
                    </a:lnTo>
                    <a:cubicBezTo>
                      <a:pt x="120" y="181"/>
                      <a:pt x="132" y="149"/>
                      <a:pt x="132" y="126"/>
                    </a:cubicBezTo>
                    <a:cubicBezTo>
                      <a:pt x="132" y="100"/>
                      <a:pt x="114" y="88"/>
                      <a:pt x="9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7" name="Freeform 46">
                <a:extLst>
                  <a:ext uri="{FF2B5EF4-FFF2-40B4-BE49-F238E27FC236}">
                    <a16:creationId xmlns:a16="http://schemas.microsoft.com/office/drawing/2014/main" id="{5E98948E-A5A1-798D-FE3C-94CBD7EBFE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7182" y="4104138"/>
                <a:ext cx="30768" cy="39816"/>
              </a:xfrm>
              <a:custGeom>
                <a:avLst/>
                <a:gdLst>
                  <a:gd name="T0" fmla="*/ 53 w 74"/>
                  <a:gd name="T1" fmla="*/ 61 h 97"/>
                  <a:gd name="T2" fmla="*/ 38 w 74"/>
                  <a:gd name="T3" fmla="*/ 80 h 97"/>
                  <a:gd name="T4" fmla="*/ 21 w 74"/>
                  <a:gd name="T5" fmla="*/ 59 h 97"/>
                  <a:gd name="T6" fmla="*/ 21 w 74"/>
                  <a:gd name="T7" fmla="*/ 0 h 97"/>
                  <a:gd name="T8" fmla="*/ 0 w 74"/>
                  <a:gd name="T9" fmla="*/ 0 h 97"/>
                  <a:gd name="T10" fmla="*/ 0 w 74"/>
                  <a:gd name="T11" fmla="*/ 63 h 97"/>
                  <a:gd name="T12" fmla="*/ 35 w 74"/>
                  <a:gd name="T13" fmla="*/ 97 h 97"/>
                  <a:gd name="T14" fmla="*/ 74 w 74"/>
                  <a:gd name="T15" fmla="*/ 58 h 97"/>
                  <a:gd name="T16" fmla="*/ 74 w 74"/>
                  <a:gd name="T17" fmla="*/ 0 h 97"/>
                  <a:gd name="T18" fmla="*/ 53 w 74"/>
                  <a:gd name="T19" fmla="*/ 0 h 97"/>
                  <a:gd name="T20" fmla="*/ 53 w 74"/>
                  <a:gd name="T21" fmla="*/ 6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4" h="97">
                    <a:moveTo>
                      <a:pt x="53" y="61"/>
                    </a:moveTo>
                    <a:cubicBezTo>
                      <a:pt x="53" y="74"/>
                      <a:pt x="48" y="80"/>
                      <a:pt x="38" y="80"/>
                    </a:cubicBezTo>
                    <a:cubicBezTo>
                      <a:pt x="26" y="80"/>
                      <a:pt x="21" y="72"/>
                      <a:pt x="21" y="59"/>
                    </a:cubicBezTo>
                    <a:lnTo>
                      <a:pt x="21" y="0"/>
                    </a:lnTo>
                    <a:lnTo>
                      <a:pt x="0" y="0"/>
                    </a:lnTo>
                    <a:lnTo>
                      <a:pt x="0" y="63"/>
                    </a:lnTo>
                    <a:cubicBezTo>
                      <a:pt x="0" y="82"/>
                      <a:pt x="10" y="97"/>
                      <a:pt x="35" y="97"/>
                    </a:cubicBezTo>
                    <a:cubicBezTo>
                      <a:pt x="56" y="97"/>
                      <a:pt x="74" y="87"/>
                      <a:pt x="74" y="58"/>
                    </a:cubicBezTo>
                    <a:lnTo>
                      <a:pt x="74" y="0"/>
                    </a:lnTo>
                    <a:lnTo>
                      <a:pt x="53" y="0"/>
                    </a:lnTo>
                    <a:lnTo>
                      <a:pt x="53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8" name="Freeform 47">
                <a:extLst>
                  <a:ext uri="{FF2B5EF4-FFF2-40B4-BE49-F238E27FC236}">
                    <a16:creationId xmlns:a16="http://schemas.microsoft.com/office/drawing/2014/main" id="{693E260B-5C33-2501-29D0-90EAF8D07D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9176" y="4104138"/>
                <a:ext cx="28957" cy="39816"/>
              </a:xfrm>
              <a:custGeom>
                <a:avLst/>
                <a:gdLst>
                  <a:gd name="T0" fmla="*/ 26 w 69"/>
                  <a:gd name="T1" fmla="*/ 26 h 98"/>
                  <a:gd name="T2" fmla="*/ 36 w 69"/>
                  <a:gd name="T3" fmla="*/ 18 h 98"/>
                  <a:gd name="T4" fmla="*/ 54 w 69"/>
                  <a:gd name="T5" fmla="*/ 27 h 98"/>
                  <a:gd name="T6" fmla="*/ 67 w 69"/>
                  <a:gd name="T7" fmla="*/ 11 h 98"/>
                  <a:gd name="T8" fmla="*/ 38 w 69"/>
                  <a:gd name="T9" fmla="*/ 0 h 98"/>
                  <a:gd name="T10" fmla="*/ 4 w 69"/>
                  <a:gd name="T11" fmla="*/ 28 h 98"/>
                  <a:gd name="T12" fmla="*/ 48 w 69"/>
                  <a:gd name="T13" fmla="*/ 71 h 98"/>
                  <a:gd name="T14" fmla="*/ 36 w 69"/>
                  <a:gd name="T15" fmla="*/ 81 h 98"/>
                  <a:gd name="T16" fmla="*/ 12 w 69"/>
                  <a:gd name="T17" fmla="*/ 69 h 98"/>
                  <a:gd name="T18" fmla="*/ 0 w 69"/>
                  <a:gd name="T19" fmla="*/ 86 h 98"/>
                  <a:gd name="T20" fmla="*/ 33 w 69"/>
                  <a:gd name="T21" fmla="*/ 98 h 98"/>
                  <a:gd name="T22" fmla="*/ 69 w 69"/>
                  <a:gd name="T23" fmla="*/ 70 h 98"/>
                  <a:gd name="T24" fmla="*/ 26 w 69"/>
                  <a:gd name="T25" fmla="*/ 2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98">
                    <a:moveTo>
                      <a:pt x="26" y="26"/>
                    </a:moveTo>
                    <a:cubicBezTo>
                      <a:pt x="26" y="22"/>
                      <a:pt x="29" y="18"/>
                      <a:pt x="36" y="18"/>
                    </a:cubicBezTo>
                    <a:cubicBezTo>
                      <a:pt x="46" y="18"/>
                      <a:pt x="52" y="24"/>
                      <a:pt x="54" y="27"/>
                    </a:cubicBezTo>
                    <a:lnTo>
                      <a:pt x="67" y="11"/>
                    </a:lnTo>
                    <a:cubicBezTo>
                      <a:pt x="64" y="7"/>
                      <a:pt x="54" y="0"/>
                      <a:pt x="38" y="0"/>
                    </a:cubicBezTo>
                    <a:cubicBezTo>
                      <a:pt x="18" y="0"/>
                      <a:pt x="4" y="12"/>
                      <a:pt x="4" y="28"/>
                    </a:cubicBezTo>
                    <a:cubicBezTo>
                      <a:pt x="4" y="58"/>
                      <a:pt x="48" y="56"/>
                      <a:pt x="48" y="71"/>
                    </a:cubicBezTo>
                    <a:cubicBezTo>
                      <a:pt x="48" y="76"/>
                      <a:pt x="44" y="81"/>
                      <a:pt x="36" y="81"/>
                    </a:cubicBezTo>
                    <a:cubicBezTo>
                      <a:pt x="24" y="81"/>
                      <a:pt x="16" y="73"/>
                      <a:pt x="12" y="69"/>
                    </a:cubicBezTo>
                    <a:lnTo>
                      <a:pt x="0" y="86"/>
                    </a:lnTo>
                    <a:cubicBezTo>
                      <a:pt x="4" y="90"/>
                      <a:pt x="15" y="98"/>
                      <a:pt x="33" y="98"/>
                    </a:cubicBezTo>
                    <a:cubicBezTo>
                      <a:pt x="58" y="98"/>
                      <a:pt x="69" y="84"/>
                      <a:pt x="69" y="70"/>
                    </a:cubicBezTo>
                    <a:cubicBezTo>
                      <a:pt x="69" y="40"/>
                      <a:pt x="26" y="42"/>
                      <a:pt x="2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9" name="Freeform 48">
                <a:extLst>
                  <a:ext uri="{FF2B5EF4-FFF2-40B4-BE49-F238E27FC236}">
                    <a16:creationId xmlns:a16="http://schemas.microsoft.com/office/drawing/2014/main" id="{38FE4D61-B166-F275-F158-64E04960A95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83628" y="4104138"/>
                <a:ext cx="27148" cy="39816"/>
              </a:xfrm>
              <a:custGeom>
                <a:avLst/>
                <a:gdLst>
                  <a:gd name="T0" fmla="*/ 27 w 66"/>
                  <a:gd name="T1" fmla="*/ 45 h 96"/>
                  <a:gd name="T2" fmla="*/ 21 w 66"/>
                  <a:gd name="T3" fmla="*/ 45 h 96"/>
                  <a:gd name="T4" fmla="*/ 21 w 66"/>
                  <a:gd name="T5" fmla="*/ 18 h 96"/>
                  <a:gd name="T6" fmla="*/ 29 w 66"/>
                  <a:gd name="T7" fmla="*/ 18 h 96"/>
                  <a:gd name="T8" fmla="*/ 44 w 66"/>
                  <a:gd name="T9" fmla="*/ 31 h 96"/>
                  <a:gd name="T10" fmla="*/ 27 w 66"/>
                  <a:gd name="T11" fmla="*/ 45 h 96"/>
                  <a:gd name="T12" fmla="*/ 32 w 66"/>
                  <a:gd name="T13" fmla="*/ 0 h 96"/>
                  <a:gd name="T14" fmla="*/ 0 w 66"/>
                  <a:gd name="T15" fmla="*/ 0 h 96"/>
                  <a:gd name="T16" fmla="*/ 0 w 66"/>
                  <a:gd name="T17" fmla="*/ 96 h 96"/>
                  <a:gd name="T18" fmla="*/ 21 w 66"/>
                  <a:gd name="T19" fmla="*/ 96 h 96"/>
                  <a:gd name="T20" fmla="*/ 21 w 66"/>
                  <a:gd name="T21" fmla="*/ 62 h 96"/>
                  <a:gd name="T22" fmla="*/ 29 w 66"/>
                  <a:gd name="T23" fmla="*/ 62 h 96"/>
                  <a:gd name="T24" fmla="*/ 66 w 66"/>
                  <a:gd name="T25" fmla="*/ 29 h 96"/>
                  <a:gd name="T26" fmla="*/ 32 w 66"/>
                  <a:gd name="T27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6" h="96">
                    <a:moveTo>
                      <a:pt x="27" y="45"/>
                    </a:moveTo>
                    <a:lnTo>
                      <a:pt x="21" y="45"/>
                    </a:lnTo>
                    <a:lnTo>
                      <a:pt x="21" y="18"/>
                    </a:lnTo>
                    <a:lnTo>
                      <a:pt x="29" y="18"/>
                    </a:lnTo>
                    <a:cubicBezTo>
                      <a:pt x="40" y="18"/>
                      <a:pt x="44" y="22"/>
                      <a:pt x="44" y="31"/>
                    </a:cubicBezTo>
                    <a:cubicBezTo>
                      <a:pt x="44" y="39"/>
                      <a:pt x="41" y="45"/>
                      <a:pt x="27" y="45"/>
                    </a:cubicBezTo>
                    <a:close/>
                    <a:moveTo>
                      <a:pt x="32" y="0"/>
                    </a:move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2"/>
                    </a:lnTo>
                    <a:lnTo>
                      <a:pt x="29" y="62"/>
                    </a:lnTo>
                    <a:cubicBezTo>
                      <a:pt x="57" y="62"/>
                      <a:pt x="66" y="46"/>
                      <a:pt x="66" y="29"/>
                    </a:cubicBezTo>
                    <a:cubicBezTo>
                      <a:pt x="66" y="7"/>
                      <a:pt x="52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0" name="Freeform 49">
                <a:extLst>
                  <a:ext uri="{FF2B5EF4-FFF2-40B4-BE49-F238E27FC236}">
                    <a16:creationId xmlns:a16="http://schemas.microsoft.com/office/drawing/2014/main" id="{0E899175-421A-EE03-118F-FEE952BAB6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31143" y="4104138"/>
                <a:ext cx="39816" cy="39816"/>
              </a:xfrm>
              <a:custGeom>
                <a:avLst/>
                <a:gdLst>
                  <a:gd name="T0" fmla="*/ 51 w 100"/>
                  <a:gd name="T1" fmla="*/ 52 h 96"/>
                  <a:gd name="T2" fmla="*/ 50 w 100"/>
                  <a:gd name="T3" fmla="*/ 52 h 96"/>
                  <a:gd name="T4" fmla="*/ 32 w 100"/>
                  <a:gd name="T5" fmla="*/ 0 h 96"/>
                  <a:gd name="T6" fmla="*/ 0 w 100"/>
                  <a:gd name="T7" fmla="*/ 0 h 96"/>
                  <a:gd name="T8" fmla="*/ 0 w 100"/>
                  <a:gd name="T9" fmla="*/ 96 h 96"/>
                  <a:gd name="T10" fmla="*/ 19 w 100"/>
                  <a:gd name="T11" fmla="*/ 96 h 96"/>
                  <a:gd name="T12" fmla="*/ 19 w 100"/>
                  <a:gd name="T13" fmla="*/ 25 h 96"/>
                  <a:gd name="T14" fmla="*/ 20 w 100"/>
                  <a:gd name="T15" fmla="*/ 25 h 96"/>
                  <a:gd name="T16" fmla="*/ 41 w 100"/>
                  <a:gd name="T17" fmla="*/ 84 h 96"/>
                  <a:gd name="T18" fmla="*/ 58 w 100"/>
                  <a:gd name="T19" fmla="*/ 84 h 96"/>
                  <a:gd name="T20" fmla="*/ 80 w 100"/>
                  <a:gd name="T21" fmla="*/ 25 h 96"/>
                  <a:gd name="T22" fmla="*/ 80 w 100"/>
                  <a:gd name="T23" fmla="*/ 25 h 96"/>
                  <a:gd name="T24" fmla="*/ 80 w 100"/>
                  <a:gd name="T25" fmla="*/ 96 h 96"/>
                  <a:gd name="T26" fmla="*/ 100 w 100"/>
                  <a:gd name="T27" fmla="*/ 96 h 96"/>
                  <a:gd name="T28" fmla="*/ 100 w 100"/>
                  <a:gd name="T29" fmla="*/ 0 h 96"/>
                  <a:gd name="T30" fmla="*/ 69 w 100"/>
                  <a:gd name="T31" fmla="*/ 0 h 96"/>
                  <a:gd name="T32" fmla="*/ 51 w 100"/>
                  <a:gd name="T33" fmla="*/ 5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96">
                    <a:moveTo>
                      <a:pt x="51" y="52"/>
                    </a:moveTo>
                    <a:lnTo>
                      <a:pt x="50" y="52"/>
                    </a:lnTo>
                    <a:lnTo>
                      <a:pt x="32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25"/>
                    </a:lnTo>
                    <a:lnTo>
                      <a:pt x="20" y="25"/>
                    </a:lnTo>
                    <a:lnTo>
                      <a:pt x="41" y="84"/>
                    </a:lnTo>
                    <a:lnTo>
                      <a:pt x="58" y="84"/>
                    </a:lnTo>
                    <a:lnTo>
                      <a:pt x="80" y="25"/>
                    </a:lnTo>
                    <a:lnTo>
                      <a:pt x="80" y="25"/>
                    </a:lnTo>
                    <a:lnTo>
                      <a:pt x="80" y="96"/>
                    </a:lnTo>
                    <a:lnTo>
                      <a:pt x="100" y="96"/>
                    </a:lnTo>
                    <a:lnTo>
                      <a:pt x="100" y="0"/>
                    </a:lnTo>
                    <a:lnTo>
                      <a:pt x="69" y="0"/>
                    </a:lnTo>
                    <a:lnTo>
                      <a:pt x="51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1" name="Freeform 50">
                <a:extLst>
                  <a:ext uri="{FF2B5EF4-FFF2-40B4-BE49-F238E27FC236}">
                    <a16:creationId xmlns:a16="http://schemas.microsoft.com/office/drawing/2014/main" id="{E4752DDC-177E-CCAE-8115-712C9C2B15E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1077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4 w 87"/>
                  <a:gd name="T7" fmla="*/ 15 h 96"/>
                  <a:gd name="T8" fmla="*/ 51 w 87"/>
                  <a:gd name="T9" fmla="*/ 43 h 96"/>
                  <a:gd name="T10" fmla="*/ 55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2" y="23"/>
                      <a:pt x="43" y="15"/>
                    </a:cubicBezTo>
                    <a:lnTo>
                      <a:pt x="44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5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2" name="Freeform 51">
                <a:extLst>
                  <a:ext uri="{FF2B5EF4-FFF2-40B4-BE49-F238E27FC236}">
                    <a16:creationId xmlns:a16="http://schemas.microsoft.com/office/drawing/2014/main" id="{951F51CF-D724-3313-6527-E12AC84872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81819" y="4004596"/>
                <a:ext cx="59725" cy="74204"/>
              </a:xfrm>
              <a:custGeom>
                <a:avLst/>
                <a:gdLst>
                  <a:gd name="T0" fmla="*/ 0 w 146"/>
                  <a:gd name="T1" fmla="*/ 0 h 181"/>
                  <a:gd name="T2" fmla="*/ 0 w 146"/>
                  <a:gd name="T3" fmla="*/ 181 h 181"/>
                  <a:gd name="T4" fmla="*/ 38 w 146"/>
                  <a:gd name="T5" fmla="*/ 181 h 181"/>
                  <a:gd name="T6" fmla="*/ 38 w 146"/>
                  <a:gd name="T7" fmla="*/ 113 h 181"/>
                  <a:gd name="T8" fmla="*/ 35 w 146"/>
                  <a:gd name="T9" fmla="*/ 49 h 181"/>
                  <a:gd name="T10" fmla="*/ 36 w 146"/>
                  <a:gd name="T11" fmla="*/ 49 h 181"/>
                  <a:gd name="T12" fmla="*/ 60 w 146"/>
                  <a:gd name="T13" fmla="*/ 105 h 181"/>
                  <a:gd name="T14" fmla="*/ 100 w 146"/>
                  <a:gd name="T15" fmla="*/ 181 h 181"/>
                  <a:gd name="T16" fmla="*/ 146 w 146"/>
                  <a:gd name="T17" fmla="*/ 181 h 181"/>
                  <a:gd name="T18" fmla="*/ 146 w 146"/>
                  <a:gd name="T19" fmla="*/ 0 h 181"/>
                  <a:gd name="T20" fmla="*/ 109 w 146"/>
                  <a:gd name="T21" fmla="*/ 0 h 181"/>
                  <a:gd name="T22" fmla="*/ 109 w 146"/>
                  <a:gd name="T23" fmla="*/ 57 h 181"/>
                  <a:gd name="T24" fmla="*/ 111 w 146"/>
                  <a:gd name="T25" fmla="*/ 127 h 181"/>
                  <a:gd name="T26" fmla="*/ 110 w 146"/>
                  <a:gd name="T27" fmla="*/ 127 h 181"/>
                  <a:gd name="T28" fmla="*/ 84 w 146"/>
                  <a:gd name="T29" fmla="*/ 71 h 181"/>
                  <a:gd name="T30" fmla="*/ 47 w 146"/>
                  <a:gd name="T31" fmla="*/ 0 h 181"/>
                  <a:gd name="T32" fmla="*/ 0 w 146"/>
                  <a:gd name="T33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6" h="181">
                    <a:moveTo>
                      <a:pt x="0" y="0"/>
                    </a:moveTo>
                    <a:lnTo>
                      <a:pt x="0" y="181"/>
                    </a:lnTo>
                    <a:lnTo>
                      <a:pt x="38" y="181"/>
                    </a:lnTo>
                    <a:lnTo>
                      <a:pt x="38" y="113"/>
                    </a:lnTo>
                    <a:cubicBezTo>
                      <a:pt x="38" y="81"/>
                      <a:pt x="37" y="67"/>
                      <a:pt x="35" y="49"/>
                    </a:cubicBezTo>
                    <a:lnTo>
                      <a:pt x="36" y="49"/>
                    </a:lnTo>
                    <a:cubicBezTo>
                      <a:pt x="44" y="69"/>
                      <a:pt x="51" y="87"/>
                      <a:pt x="60" y="105"/>
                    </a:cubicBezTo>
                    <a:lnTo>
                      <a:pt x="100" y="181"/>
                    </a:lnTo>
                    <a:lnTo>
                      <a:pt x="146" y="181"/>
                    </a:lnTo>
                    <a:lnTo>
                      <a:pt x="146" y="0"/>
                    </a:lnTo>
                    <a:lnTo>
                      <a:pt x="109" y="0"/>
                    </a:lnTo>
                    <a:lnTo>
                      <a:pt x="109" y="57"/>
                    </a:lnTo>
                    <a:cubicBezTo>
                      <a:pt x="109" y="77"/>
                      <a:pt x="109" y="102"/>
                      <a:pt x="111" y="127"/>
                    </a:cubicBezTo>
                    <a:lnTo>
                      <a:pt x="110" y="127"/>
                    </a:lnTo>
                    <a:cubicBezTo>
                      <a:pt x="103" y="109"/>
                      <a:pt x="93" y="89"/>
                      <a:pt x="84" y="71"/>
                    </a:cubicBezTo>
                    <a:lnTo>
                      <a:pt x="4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3" name="Freeform 52">
                <a:extLst>
                  <a:ext uri="{FF2B5EF4-FFF2-40B4-BE49-F238E27FC236}">
                    <a16:creationId xmlns:a16="http://schemas.microsoft.com/office/drawing/2014/main" id="{061E1762-0E25-ABB0-3082-F1549ED2F0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5421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2 w 77"/>
                  <a:gd name="T23" fmla="*/ 55 h 96"/>
                  <a:gd name="T24" fmla="*/ 53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2" y="55"/>
                    </a:cubicBezTo>
                    <a:lnTo>
                      <a:pt x="53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4" name="Freeform 53">
                <a:extLst>
                  <a:ext uri="{FF2B5EF4-FFF2-40B4-BE49-F238E27FC236}">
                    <a16:creationId xmlns:a16="http://schemas.microsoft.com/office/drawing/2014/main" id="{2F17DBED-D994-E4C3-D838-6A1490AF6A0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59641" y="4004596"/>
                <a:ext cx="68774" cy="74204"/>
              </a:xfrm>
              <a:custGeom>
                <a:avLst/>
                <a:gdLst>
                  <a:gd name="T0" fmla="*/ 61 w 165"/>
                  <a:gd name="T1" fmla="*/ 107 h 181"/>
                  <a:gd name="T2" fmla="*/ 68 w 165"/>
                  <a:gd name="T3" fmla="*/ 81 h 181"/>
                  <a:gd name="T4" fmla="*/ 82 w 165"/>
                  <a:gd name="T5" fmla="*/ 27 h 181"/>
                  <a:gd name="T6" fmla="*/ 83 w 165"/>
                  <a:gd name="T7" fmla="*/ 27 h 181"/>
                  <a:gd name="T8" fmla="*/ 96 w 165"/>
                  <a:gd name="T9" fmla="*/ 82 h 181"/>
                  <a:gd name="T10" fmla="*/ 103 w 165"/>
                  <a:gd name="T11" fmla="*/ 107 h 181"/>
                  <a:gd name="T12" fmla="*/ 61 w 165"/>
                  <a:gd name="T13" fmla="*/ 107 h 181"/>
                  <a:gd name="T14" fmla="*/ 55 w 165"/>
                  <a:gd name="T15" fmla="*/ 0 h 181"/>
                  <a:gd name="T16" fmla="*/ 0 w 165"/>
                  <a:gd name="T17" fmla="*/ 181 h 181"/>
                  <a:gd name="T18" fmla="*/ 40 w 165"/>
                  <a:gd name="T19" fmla="*/ 181 h 181"/>
                  <a:gd name="T20" fmla="*/ 52 w 165"/>
                  <a:gd name="T21" fmla="*/ 140 h 181"/>
                  <a:gd name="T22" fmla="*/ 112 w 165"/>
                  <a:gd name="T23" fmla="*/ 140 h 181"/>
                  <a:gd name="T24" fmla="*/ 124 w 165"/>
                  <a:gd name="T25" fmla="*/ 181 h 181"/>
                  <a:gd name="T26" fmla="*/ 165 w 165"/>
                  <a:gd name="T27" fmla="*/ 181 h 181"/>
                  <a:gd name="T28" fmla="*/ 110 w 165"/>
                  <a:gd name="T29" fmla="*/ 0 h 181"/>
                  <a:gd name="T30" fmla="*/ 55 w 165"/>
                  <a:gd name="T31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1" y="107"/>
                    </a:moveTo>
                    <a:lnTo>
                      <a:pt x="68" y="81"/>
                    </a:lnTo>
                    <a:cubicBezTo>
                      <a:pt x="75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close/>
                    <a:moveTo>
                      <a:pt x="55" y="0"/>
                    </a:move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5" name="Freeform 54">
                <a:extLst>
                  <a:ext uri="{FF2B5EF4-FFF2-40B4-BE49-F238E27FC236}">
                    <a16:creationId xmlns:a16="http://schemas.microsoft.com/office/drawing/2014/main" id="{C9463D91-03B0-D103-D7FF-1DDF6C2EA4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94028" y="4104138"/>
                <a:ext cx="34387" cy="39816"/>
              </a:xfrm>
              <a:custGeom>
                <a:avLst/>
                <a:gdLst>
                  <a:gd name="T0" fmla="*/ 63 w 85"/>
                  <a:gd name="T1" fmla="*/ 0 h 96"/>
                  <a:gd name="T2" fmla="*/ 43 w 85"/>
                  <a:gd name="T3" fmla="*/ 44 h 96"/>
                  <a:gd name="T4" fmla="*/ 43 w 85"/>
                  <a:gd name="T5" fmla="*/ 44 h 96"/>
                  <a:gd name="T6" fmla="*/ 23 w 85"/>
                  <a:gd name="T7" fmla="*/ 0 h 96"/>
                  <a:gd name="T8" fmla="*/ 0 w 85"/>
                  <a:gd name="T9" fmla="*/ 0 h 96"/>
                  <a:gd name="T10" fmla="*/ 32 w 85"/>
                  <a:gd name="T11" fmla="*/ 65 h 96"/>
                  <a:gd name="T12" fmla="*/ 32 w 85"/>
                  <a:gd name="T13" fmla="*/ 96 h 96"/>
                  <a:gd name="T14" fmla="*/ 53 w 85"/>
                  <a:gd name="T15" fmla="*/ 96 h 96"/>
                  <a:gd name="T16" fmla="*/ 53 w 85"/>
                  <a:gd name="T17" fmla="*/ 65 h 96"/>
                  <a:gd name="T18" fmla="*/ 85 w 85"/>
                  <a:gd name="T19" fmla="*/ 0 h 96"/>
                  <a:gd name="T20" fmla="*/ 63 w 85"/>
                  <a:gd name="T2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" h="96">
                    <a:moveTo>
                      <a:pt x="63" y="0"/>
                    </a:moveTo>
                    <a:lnTo>
                      <a:pt x="43" y="44"/>
                    </a:lnTo>
                    <a:lnTo>
                      <a:pt x="43" y="44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32" y="65"/>
                    </a:lnTo>
                    <a:lnTo>
                      <a:pt x="32" y="96"/>
                    </a:lnTo>
                    <a:lnTo>
                      <a:pt x="53" y="96"/>
                    </a:lnTo>
                    <a:lnTo>
                      <a:pt x="53" y="65"/>
                    </a:lnTo>
                    <a:lnTo>
                      <a:pt x="85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6" name="Freeform 55">
                <a:extLst>
                  <a:ext uri="{FF2B5EF4-FFF2-40B4-BE49-F238E27FC236}">
                    <a16:creationId xmlns:a16="http://schemas.microsoft.com/office/drawing/2014/main" id="{CA240528-DEEA-242C-C9A1-3B34C981B86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94946" y="4004596"/>
                <a:ext cx="66964" cy="74204"/>
              </a:xfrm>
              <a:custGeom>
                <a:avLst/>
                <a:gdLst>
                  <a:gd name="T0" fmla="*/ 68 w 165"/>
                  <a:gd name="T1" fmla="*/ 81 h 181"/>
                  <a:gd name="T2" fmla="*/ 82 w 165"/>
                  <a:gd name="T3" fmla="*/ 27 h 181"/>
                  <a:gd name="T4" fmla="*/ 83 w 165"/>
                  <a:gd name="T5" fmla="*/ 27 h 181"/>
                  <a:gd name="T6" fmla="*/ 96 w 165"/>
                  <a:gd name="T7" fmla="*/ 82 h 181"/>
                  <a:gd name="T8" fmla="*/ 103 w 165"/>
                  <a:gd name="T9" fmla="*/ 107 h 181"/>
                  <a:gd name="T10" fmla="*/ 61 w 165"/>
                  <a:gd name="T11" fmla="*/ 107 h 181"/>
                  <a:gd name="T12" fmla="*/ 68 w 165"/>
                  <a:gd name="T13" fmla="*/ 81 h 181"/>
                  <a:gd name="T14" fmla="*/ 52 w 165"/>
                  <a:gd name="T15" fmla="*/ 140 h 181"/>
                  <a:gd name="T16" fmla="*/ 112 w 165"/>
                  <a:gd name="T17" fmla="*/ 140 h 181"/>
                  <a:gd name="T18" fmla="*/ 124 w 165"/>
                  <a:gd name="T19" fmla="*/ 181 h 181"/>
                  <a:gd name="T20" fmla="*/ 165 w 165"/>
                  <a:gd name="T21" fmla="*/ 181 h 181"/>
                  <a:gd name="T22" fmla="*/ 110 w 165"/>
                  <a:gd name="T23" fmla="*/ 0 h 181"/>
                  <a:gd name="T24" fmla="*/ 55 w 165"/>
                  <a:gd name="T25" fmla="*/ 0 h 181"/>
                  <a:gd name="T26" fmla="*/ 0 w 165"/>
                  <a:gd name="T27" fmla="*/ 181 h 181"/>
                  <a:gd name="T28" fmla="*/ 40 w 165"/>
                  <a:gd name="T29" fmla="*/ 181 h 181"/>
                  <a:gd name="T30" fmla="*/ 52 w 165"/>
                  <a:gd name="T31" fmla="*/ 14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8" y="81"/>
                    </a:moveTo>
                    <a:cubicBezTo>
                      <a:pt x="74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lnTo>
                      <a:pt x="68" y="81"/>
                    </a:lnTo>
                    <a:close/>
                    <a:moveTo>
                      <a:pt x="52" y="140"/>
                    </a:move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7" name="Freeform 56">
                <a:extLst>
                  <a:ext uri="{FF2B5EF4-FFF2-40B4-BE49-F238E27FC236}">
                    <a16:creationId xmlns:a16="http://schemas.microsoft.com/office/drawing/2014/main" id="{0EFE3311-CE22-4720-2A05-57A60B8F0A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2482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19 w 77"/>
                  <a:gd name="T15" fmla="*/ 96 h 96"/>
                  <a:gd name="T16" fmla="*/ 19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60"/>
                    </a:lnTo>
                    <a:cubicBezTo>
                      <a:pt x="19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" name="Freeform 57">
                <a:extLst>
                  <a:ext uri="{FF2B5EF4-FFF2-40B4-BE49-F238E27FC236}">
                    <a16:creationId xmlns:a16="http://schemas.microsoft.com/office/drawing/2014/main" id="{030F823B-7E74-DBFE-1104-598B925678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448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" name="Freeform 58">
                <a:extLst>
                  <a:ext uri="{FF2B5EF4-FFF2-40B4-BE49-F238E27FC236}">
                    <a16:creationId xmlns:a16="http://schemas.microsoft.com/office/drawing/2014/main" id="{00C16D93-0A93-12D8-B0C2-C85BE2143D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19392" y="4002787"/>
                <a:ext cx="54295" cy="77823"/>
              </a:xfrm>
              <a:custGeom>
                <a:avLst/>
                <a:gdLst>
                  <a:gd name="T0" fmla="*/ 68 w 131"/>
                  <a:gd name="T1" fmla="*/ 154 h 187"/>
                  <a:gd name="T2" fmla="*/ 22 w 131"/>
                  <a:gd name="T3" fmla="*/ 132 h 187"/>
                  <a:gd name="T4" fmla="*/ 0 w 131"/>
                  <a:gd name="T5" fmla="*/ 164 h 187"/>
                  <a:gd name="T6" fmla="*/ 63 w 131"/>
                  <a:gd name="T7" fmla="*/ 187 h 187"/>
                  <a:gd name="T8" fmla="*/ 131 w 131"/>
                  <a:gd name="T9" fmla="*/ 133 h 187"/>
                  <a:gd name="T10" fmla="*/ 48 w 131"/>
                  <a:gd name="T11" fmla="*/ 51 h 187"/>
                  <a:gd name="T12" fmla="*/ 68 w 131"/>
                  <a:gd name="T13" fmla="*/ 35 h 187"/>
                  <a:gd name="T14" fmla="*/ 102 w 131"/>
                  <a:gd name="T15" fmla="*/ 51 h 187"/>
                  <a:gd name="T16" fmla="*/ 127 w 131"/>
                  <a:gd name="T17" fmla="*/ 22 h 187"/>
                  <a:gd name="T18" fmla="*/ 72 w 131"/>
                  <a:gd name="T19" fmla="*/ 0 h 187"/>
                  <a:gd name="T20" fmla="*/ 8 w 131"/>
                  <a:gd name="T21" fmla="*/ 54 h 187"/>
                  <a:gd name="T22" fmla="*/ 91 w 131"/>
                  <a:gd name="T23" fmla="*/ 136 h 187"/>
                  <a:gd name="T24" fmla="*/ 68 w 131"/>
                  <a:gd name="T25" fmla="*/ 154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1" h="187">
                    <a:moveTo>
                      <a:pt x="68" y="154"/>
                    </a:moveTo>
                    <a:cubicBezTo>
                      <a:pt x="46" y="154"/>
                      <a:pt x="30" y="140"/>
                      <a:pt x="22" y="132"/>
                    </a:cubicBezTo>
                    <a:lnTo>
                      <a:pt x="0" y="164"/>
                    </a:lnTo>
                    <a:cubicBezTo>
                      <a:pt x="6" y="171"/>
                      <a:pt x="28" y="187"/>
                      <a:pt x="63" y="187"/>
                    </a:cubicBezTo>
                    <a:cubicBezTo>
                      <a:pt x="109" y="187"/>
                      <a:pt x="131" y="160"/>
                      <a:pt x="131" y="133"/>
                    </a:cubicBezTo>
                    <a:cubicBezTo>
                      <a:pt x="131" y="76"/>
                      <a:pt x="48" y="80"/>
                      <a:pt x="48" y="51"/>
                    </a:cubicBezTo>
                    <a:cubicBezTo>
                      <a:pt x="48" y="42"/>
                      <a:pt x="55" y="35"/>
                      <a:pt x="68" y="35"/>
                    </a:cubicBezTo>
                    <a:cubicBezTo>
                      <a:pt x="87" y="35"/>
                      <a:pt x="98" y="46"/>
                      <a:pt x="102" y="51"/>
                    </a:cubicBezTo>
                    <a:lnTo>
                      <a:pt x="127" y="22"/>
                    </a:lnTo>
                    <a:cubicBezTo>
                      <a:pt x="121" y="14"/>
                      <a:pt x="102" y="0"/>
                      <a:pt x="72" y="0"/>
                    </a:cubicBezTo>
                    <a:cubicBezTo>
                      <a:pt x="34" y="0"/>
                      <a:pt x="8" y="24"/>
                      <a:pt x="8" y="54"/>
                    </a:cubicBezTo>
                    <a:cubicBezTo>
                      <a:pt x="8" y="111"/>
                      <a:pt x="91" y="107"/>
                      <a:pt x="91" y="136"/>
                    </a:cubicBezTo>
                    <a:cubicBezTo>
                      <a:pt x="91" y="145"/>
                      <a:pt x="84" y="154"/>
                      <a:pt x="68" y="1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" name="Freeform 59">
                <a:extLst>
                  <a:ext uri="{FF2B5EF4-FFF2-40B4-BE49-F238E27FC236}">
                    <a16:creationId xmlns:a16="http://schemas.microsoft.com/office/drawing/2014/main" id="{0DB4FC1D-8152-6A48-7F0F-4EC64591B99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48809" y="4104138"/>
                <a:ext cx="28957" cy="39816"/>
              </a:xfrm>
              <a:custGeom>
                <a:avLst/>
                <a:gdLst>
                  <a:gd name="T0" fmla="*/ 29 w 71"/>
                  <a:gd name="T1" fmla="*/ 44 h 96"/>
                  <a:gd name="T2" fmla="*/ 21 w 71"/>
                  <a:gd name="T3" fmla="*/ 44 h 96"/>
                  <a:gd name="T4" fmla="*/ 21 w 71"/>
                  <a:gd name="T5" fmla="*/ 17 h 96"/>
                  <a:gd name="T6" fmla="*/ 29 w 71"/>
                  <a:gd name="T7" fmla="*/ 17 h 96"/>
                  <a:gd name="T8" fmla="*/ 43 w 71"/>
                  <a:gd name="T9" fmla="*/ 30 h 96"/>
                  <a:gd name="T10" fmla="*/ 29 w 71"/>
                  <a:gd name="T11" fmla="*/ 44 h 96"/>
                  <a:gd name="T12" fmla="*/ 44 w 71"/>
                  <a:gd name="T13" fmla="*/ 55 h 96"/>
                  <a:gd name="T14" fmla="*/ 44 w 71"/>
                  <a:gd name="T15" fmla="*/ 55 h 96"/>
                  <a:gd name="T16" fmla="*/ 64 w 71"/>
                  <a:gd name="T17" fmla="*/ 28 h 96"/>
                  <a:gd name="T18" fmla="*/ 31 w 71"/>
                  <a:gd name="T19" fmla="*/ 0 h 96"/>
                  <a:gd name="T20" fmla="*/ 0 w 71"/>
                  <a:gd name="T21" fmla="*/ 0 h 96"/>
                  <a:gd name="T22" fmla="*/ 0 w 71"/>
                  <a:gd name="T23" fmla="*/ 96 h 96"/>
                  <a:gd name="T24" fmla="*/ 21 w 71"/>
                  <a:gd name="T25" fmla="*/ 96 h 96"/>
                  <a:gd name="T26" fmla="*/ 21 w 71"/>
                  <a:gd name="T27" fmla="*/ 60 h 96"/>
                  <a:gd name="T28" fmla="*/ 22 w 71"/>
                  <a:gd name="T29" fmla="*/ 60 h 96"/>
                  <a:gd name="T30" fmla="*/ 31 w 71"/>
                  <a:gd name="T31" fmla="*/ 65 h 96"/>
                  <a:gd name="T32" fmla="*/ 47 w 71"/>
                  <a:gd name="T33" fmla="*/ 96 h 96"/>
                  <a:gd name="T34" fmla="*/ 71 w 71"/>
                  <a:gd name="T35" fmla="*/ 96 h 96"/>
                  <a:gd name="T36" fmla="*/ 57 w 71"/>
                  <a:gd name="T37" fmla="*/ 69 h 96"/>
                  <a:gd name="T38" fmla="*/ 44 w 71"/>
                  <a:gd name="T39" fmla="*/ 55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96">
                    <a:moveTo>
                      <a:pt x="29" y="44"/>
                    </a:moveTo>
                    <a:lnTo>
                      <a:pt x="21" y="44"/>
                    </a:lnTo>
                    <a:lnTo>
                      <a:pt x="21" y="17"/>
                    </a:lnTo>
                    <a:lnTo>
                      <a:pt x="29" y="17"/>
                    </a:lnTo>
                    <a:cubicBezTo>
                      <a:pt x="38" y="17"/>
                      <a:pt x="43" y="21"/>
                      <a:pt x="43" y="30"/>
                    </a:cubicBezTo>
                    <a:cubicBezTo>
                      <a:pt x="43" y="39"/>
                      <a:pt x="40" y="44"/>
                      <a:pt x="29" y="44"/>
                    </a:cubicBezTo>
                    <a:close/>
                    <a:moveTo>
                      <a:pt x="44" y="55"/>
                    </a:moveTo>
                    <a:lnTo>
                      <a:pt x="44" y="55"/>
                    </a:lnTo>
                    <a:cubicBezTo>
                      <a:pt x="55" y="53"/>
                      <a:pt x="64" y="45"/>
                      <a:pt x="64" y="28"/>
                    </a:cubicBezTo>
                    <a:cubicBezTo>
                      <a:pt x="64" y="8"/>
                      <a:pt x="52" y="0"/>
                      <a:pt x="31" y="0"/>
                    </a:cubicBez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0"/>
                    </a:lnTo>
                    <a:lnTo>
                      <a:pt x="22" y="60"/>
                    </a:lnTo>
                    <a:cubicBezTo>
                      <a:pt x="26" y="60"/>
                      <a:pt x="29" y="61"/>
                      <a:pt x="31" y="65"/>
                    </a:cubicBezTo>
                    <a:lnTo>
                      <a:pt x="47" y="96"/>
                    </a:lnTo>
                    <a:lnTo>
                      <a:pt x="71" y="96"/>
                    </a:lnTo>
                    <a:lnTo>
                      <a:pt x="57" y="69"/>
                    </a:lnTo>
                    <a:cubicBezTo>
                      <a:pt x="52" y="61"/>
                      <a:pt x="49" y="58"/>
                      <a:pt x="44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" name="Freeform 60">
                <a:extLst>
                  <a:ext uri="{FF2B5EF4-FFF2-40B4-BE49-F238E27FC236}">
                    <a16:creationId xmlns:a16="http://schemas.microsoft.com/office/drawing/2014/main" id="{C39547E6-D05C-5E93-7D92-453E369E93E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8138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3 w 87"/>
                  <a:gd name="T7" fmla="*/ 15 h 96"/>
                  <a:gd name="T8" fmla="*/ 51 w 87"/>
                  <a:gd name="T9" fmla="*/ 43 h 96"/>
                  <a:gd name="T10" fmla="*/ 54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1" y="23"/>
                      <a:pt x="43" y="15"/>
                    </a:cubicBezTo>
                    <a:lnTo>
                      <a:pt x="43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4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" name="Freeform 61">
                <a:extLst>
                  <a:ext uri="{FF2B5EF4-FFF2-40B4-BE49-F238E27FC236}">
                    <a16:creationId xmlns:a16="http://schemas.microsoft.com/office/drawing/2014/main" id="{117B9C20-0688-B499-392E-176396A697C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89516" y="4104138"/>
                <a:ext cx="32577" cy="39816"/>
              </a:xfrm>
              <a:custGeom>
                <a:avLst/>
                <a:gdLst>
                  <a:gd name="T0" fmla="*/ 40 w 79"/>
                  <a:gd name="T1" fmla="*/ 81 h 98"/>
                  <a:gd name="T2" fmla="*/ 21 w 79"/>
                  <a:gd name="T3" fmla="*/ 48 h 98"/>
                  <a:gd name="T4" fmla="*/ 39 w 79"/>
                  <a:gd name="T5" fmla="*/ 17 h 98"/>
                  <a:gd name="T6" fmla="*/ 57 w 79"/>
                  <a:gd name="T7" fmla="*/ 49 h 98"/>
                  <a:gd name="T8" fmla="*/ 40 w 79"/>
                  <a:gd name="T9" fmla="*/ 81 h 98"/>
                  <a:gd name="T10" fmla="*/ 40 w 79"/>
                  <a:gd name="T11" fmla="*/ 0 h 98"/>
                  <a:gd name="T12" fmla="*/ 0 w 79"/>
                  <a:gd name="T13" fmla="*/ 50 h 98"/>
                  <a:gd name="T14" fmla="*/ 39 w 79"/>
                  <a:gd name="T15" fmla="*/ 98 h 98"/>
                  <a:gd name="T16" fmla="*/ 79 w 79"/>
                  <a:gd name="T17" fmla="*/ 48 h 98"/>
                  <a:gd name="T18" fmla="*/ 40 w 79"/>
                  <a:gd name="T19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98">
                    <a:moveTo>
                      <a:pt x="40" y="81"/>
                    </a:moveTo>
                    <a:cubicBezTo>
                      <a:pt x="28" y="81"/>
                      <a:pt x="21" y="72"/>
                      <a:pt x="21" y="48"/>
                    </a:cubicBezTo>
                    <a:cubicBezTo>
                      <a:pt x="21" y="25"/>
                      <a:pt x="28" y="17"/>
                      <a:pt x="39" y="17"/>
                    </a:cubicBezTo>
                    <a:cubicBezTo>
                      <a:pt x="50" y="17"/>
                      <a:pt x="57" y="26"/>
                      <a:pt x="57" y="49"/>
                    </a:cubicBezTo>
                    <a:cubicBezTo>
                      <a:pt x="57" y="73"/>
                      <a:pt x="51" y="81"/>
                      <a:pt x="40" y="81"/>
                    </a:cubicBezTo>
                    <a:close/>
                    <a:moveTo>
                      <a:pt x="40" y="0"/>
                    </a:moveTo>
                    <a:cubicBezTo>
                      <a:pt x="17" y="0"/>
                      <a:pt x="0" y="15"/>
                      <a:pt x="0" y="50"/>
                    </a:cubicBezTo>
                    <a:cubicBezTo>
                      <a:pt x="0" y="85"/>
                      <a:pt x="15" y="98"/>
                      <a:pt x="39" y="98"/>
                    </a:cubicBezTo>
                    <a:cubicBezTo>
                      <a:pt x="62" y="98"/>
                      <a:pt x="79" y="83"/>
                      <a:pt x="79" y="48"/>
                    </a:cubicBezTo>
                    <a:cubicBezTo>
                      <a:pt x="79" y="13"/>
                      <a:pt x="64" y="0"/>
                      <a:pt x="4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" name="Freeform 62">
                <a:extLst>
                  <a:ext uri="{FF2B5EF4-FFF2-40B4-BE49-F238E27FC236}">
                    <a16:creationId xmlns:a16="http://schemas.microsoft.com/office/drawing/2014/main" id="{F6DB06A5-E1B0-B579-8F0D-E4CDE6199D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04455" y="4104138"/>
                <a:ext cx="23528" cy="39816"/>
              </a:xfrm>
              <a:custGeom>
                <a:avLst/>
                <a:gdLst>
                  <a:gd name="T0" fmla="*/ 0 w 58"/>
                  <a:gd name="T1" fmla="*/ 0 h 96"/>
                  <a:gd name="T2" fmla="*/ 0 w 58"/>
                  <a:gd name="T3" fmla="*/ 96 h 96"/>
                  <a:gd name="T4" fmla="*/ 58 w 58"/>
                  <a:gd name="T5" fmla="*/ 96 h 96"/>
                  <a:gd name="T6" fmla="*/ 58 w 58"/>
                  <a:gd name="T7" fmla="*/ 79 h 96"/>
                  <a:gd name="T8" fmla="*/ 20 w 58"/>
                  <a:gd name="T9" fmla="*/ 79 h 96"/>
                  <a:gd name="T10" fmla="*/ 20 w 58"/>
                  <a:gd name="T11" fmla="*/ 56 h 96"/>
                  <a:gd name="T12" fmla="*/ 51 w 58"/>
                  <a:gd name="T13" fmla="*/ 56 h 96"/>
                  <a:gd name="T14" fmla="*/ 51 w 58"/>
                  <a:gd name="T15" fmla="*/ 39 h 96"/>
                  <a:gd name="T16" fmla="*/ 20 w 58"/>
                  <a:gd name="T17" fmla="*/ 39 h 96"/>
                  <a:gd name="T18" fmla="*/ 20 w 58"/>
                  <a:gd name="T19" fmla="*/ 17 h 96"/>
                  <a:gd name="T20" fmla="*/ 56 w 58"/>
                  <a:gd name="T21" fmla="*/ 17 h 96"/>
                  <a:gd name="T22" fmla="*/ 56 w 58"/>
                  <a:gd name="T23" fmla="*/ 0 h 96"/>
                  <a:gd name="T24" fmla="*/ 0 w 58"/>
                  <a:gd name="T25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" h="96">
                    <a:moveTo>
                      <a:pt x="0" y="0"/>
                    </a:moveTo>
                    <a:lnTo>
                      <a:pt x="0" y="96"/>
                    </a:lnTo>
                    <a:lnTo>
                      <a:pt x="58" y="96"/>
                    </a:lnTo>
                    <a:lnTo>
                      <a:pt x="58" y="79"/>
                    </a:lnTo>
                    <a:lnTo>
                      <a:pt x="20" y="79"/>
                    </a:lnTo>
                    <a:lnTo>
                      <a:pt x="20" y="56"/>
                    </a:lnTo>
                    <a:lnTo>
                      <a:pt x="51" y="56"/>
                    </a:lnTo>
                    <a:lnTo>
                      <a:pt x="51" y="39"/>
                    </a:lnTo>
                    <a:lnTo>
                      <a:pt x="20" y="39"/>
                    </a:lnTo>
                    <a:lnTo>
                      <a:pt x="20" y="17"/>
                    </a:lnTo>
                    <a:lnTo>
                      <a:pt x="56" y="17"/>
                    </a:lnTo>
                    <a:lnTo>
                      <a:pt x="5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" name="Freeform 63">
                <a:extLst>
                  <a:ext uri="{FF2B5EF4-FFF2-40B4-BE49-F238E27FC236}">
                    <a16:creationId xmlns:a16="http://schemas.microsoft.com/office/drawing/2014/main" id="{5CF36AE2-2CF2-3CA4-84A6-034E6199E1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3320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" name="Freeform 64">
                <a:extLst>
                  <a:ext uri="{FF2B5EF4-FFF2-40B4-BE49-F238E27FC236}">
                    <a16:creationId xmlns:a16="http://schemas.microsoft.com/office/drawing/2014/main" id="{4EA1B946-869D-72D0-858D-99E25CE956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6356" y="4004596"/>
                <a:ext cx="101351" cy="74204"/>
              </a:xfrm>
              <a:custGeom>
                <a:avLst/>
                <a:gdLst>
                  <a:gd name="T0" fmla="*/ 188 w 246"/>
                  <a:gd name="T1" fmla="*/ 77 h 181"/>
                  <a:gd name="T2" fmla="*/ 178 w 246"/>
                  <a:gd name="T3" fmla="*/ 137 h 181"/>
                  <a:gd name="T4" fmla="*/ 177 w 246"/>
                  <a:gd name="T5" fmla="*/ 137 h 181"/>
                  <a:gd name="T6" fmla="*/ 168 w 246"/>
                  <a:gd name="T7" fmla="*/ 88 h 181"/>
                  <a:gd name="T8" fmla="*/ 148 w 246"/>
                  <a:gd name="T9" fmla="*/ 0 h 181"/>
                  <a:gd name="T10" fmla="*/ 101 w 246"/>
                  <a:gd name="T11" fmla="*/ 0 h 181"/>
                  <a:gd name="T12" fmla="*/ 81 w 246"/>
                  <a:gd name="T13" fmla="*/ 89 h 181"/>
                  <a:gd name="T14" fmla="*/ 73 w 246"/>
                  <a:gd name="T15" fmla="*/ 137 h 181"/>
                  <a:gd name="T16" fmla="*/ 72 w 246"/>
                  <a:gd name="T17" fmla="*/ 137 h 181"/>
                  <a:gd name="T18" fmla="*/ 61 w 246"/>
                  <a:gd name="T19" fmla="*/ 73 h 181"/>
                  <a:gd name="T20" fmla="*/ 43 w 246"/>
                  <a:gd name="T21" fmla="*/ 0 h 181"/>
                  <a:gd name="T22" fmla="*/ 0 w 246"/>
                  <a:gd name="T23" fmla="*/ 0 h 181"/>
                  <a:gd name="T24" fmla="*/ 46 w 246"/>
                  <a:gd name="T25" fmla="*/ 181 h 181"/>
                  <a:gd name="T26" fmla="*/ 93 w 246"/>
                  <a:gd name="T27" fmla="*/ 181 h 181"/>
                  <a:gd name="T28" fmla="*/ 114 w 246"/>
                  <a:gd name="T29" fmla="*/ 93 h 181"/>
                  <a:gd name="T30" fmla="*/ 123 w 246"/>
                  <a:gd name="T31" fmla="*/ 44 h 181"/>
                  <a:gd name="T32" fmla="*/ 124 w 246"/>
                  <a:gd name="T33" fmla="*/ 44 h 181"/>
                  <a:gd name="T34" fmla="*/ 134 w 246"/>
                  <a:gd name="T35" fmla="*/ 101 h 181"/>
                  <a:gd name="T36" fmla="*/ 153 w 246"/>
                  <a:gd name="T37" fmla="*/ 181 h 181"/>
                  <a:gd name="T38" fmla="*/ 199 w 246"/>
                  <a:gd name="T39" fmla="*/ 181 h 181"/>
                  <a:gd name="T40" fmla="*/ 246 w 246"/>
                  <a:gd name="T41" fmla="*/ 0 h 181"/>
                  <a:gd name="T42" fmla="*/ 206 w 246"/>
                  <a:gd name="T43" fmla="*/ 0 h 181"/>
                  <a:gd name="T44" fmla="*/ 188 w 246"/>
                  <a:gd name="T45" fmla="*/ 77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6" h="181">
                    <a:moveTo>
                      <a:pt x="188" y="77"/>
                    </a:moveTo>
                    <a:cubicBezTo>
                      <a:pt x="183" y="100"/>
                      <a:pt x="179" y="121"/>
                      <a:pt x="178" y="137"/>
                    </a:cubicBezTo>
                    <a:lnTo>
                      <a:pt x="177" y="137"/>
                    </a:lnTo>
                    <a:cubicBezTo>
                      <a:pt x="175" y="120"/>
                      <a:pt x="173" y="108"/>
                      <a:pt x="168" y="88"/>
                    </a:cubicBezTo>
                    <a:lnTo>
                      <a:pt x="148" y="0"/>
                    </a:lnTo>
                    <a:lnTo>
                      <a:pt x="101" y="0"/>
                    </a:lnTo>
                    <a:lnTo>
                      <a:pt x="81" y="89"/>
                    </a:lnTo>
                    <a:cubicBezTo>
                      <a:pt x="78" y="106"/>
                      <a:pt x="75" y="116"/>
                      <a:pt x="73" y="137"/>
                    </a:cubicBezTo>
                    <a:lnTo>
                      <a:pt x="72" y="137"/>
                    </a:lnTo>
                    <a:cubicBezTo>
                      <a:pt x="71" y="118"/>
                      <a:pt x="66" y="93"/>
                      <a:pt x="61" y="73"/>
                    </a:cubicBezTo>
                    <a:lnTo>
                      <a:pt x="43" y="0"/>
                    </a:lnTo>
                    <a:lnTo>
                      <a:pt x="0" y="0"/>
                    </a:lnTo>
                    <a:lnTo>
                      <a:pt x="46" y="181"/>
                    </a:lnTo>
                    <a:lnTo>
                      <a:pt x="93" y="181"/>
                    </a:lnTo>
                    <a:lnTo>
                      <a:pt x="114" y="93"/>
                    </a:lnTo>
                    <a:cubicBezTo>
                      <a:pt x="118" y="77"/>
                      <a:pt x="120" y="63"/>
                      <a:pt x="123" y="44"/>
                    </a:cubicBezTo>
                    <a:lnTo>
                      <a:pt x="124" y="44"/>
                    </a:lnTo>
                    <a:cubicBezTo>
                      <a:pt x="126" y="62"/>
                      <a:pt x="129" y="76"/>
                      <a:pt x="134" y="101"/>
                    </a:cubicBezTo>
                    <a:lnTo>
                      <a:pt x="153" y="181"/>
                    </a:lnTo>
                    <a:lnTo>
                      <a:pt x="199" y="181"/>
                    </a:lnTo>
                    <a:lnTo>
                      <a:pt x="246" y="0"/>
                    </a:lnTo>
                    <a:lnTo>
                      <a:pt x="206" y="0"/>
                    </a:lnTo>
                    <a:lnTo>
                      <a:pt x="188" y="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" name="Freeform 65">
                <a:extLst>
                  <a:ext uri="{FF2B5EF4-FFF2-40B4-BE49-F238E27FC236}">
                    <a16:creationId xmlns:a16="http://schemas.microsoft.com/office/drawing/2014/main" id="{34298AA2-2A53-3EE0-9851-40F4FB4CD0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6815" y="3935822"/>
                <a:ext cx="3620" cy="5430"/>
              </a:xfrm>
              <a:custGeom>
                <a:avLst/>
                <a:gdLst>
                  <a:gd name="T0" fmla="*/ 2 w 7"/>
                  <a:gd name="T1" fmla="*/ 11 h 12"/>
                  <a:gd name="T2" fmla="*/ 3 w 7"/>
                  <a:gd name="T3" fmla="*/ 12 h 12"/>
                  <a:gd name="T4" fmla="*/ 7 w 7"/>
                  <a:gd name="T5" fmla="*/ 0 h 12"/>
                  <a:gd name="T6" fmla="*/ 0 w 7"/>
                  <a:gd name="T7" fmla="*/ 4 h 12"/>
                  <a:gd name="T8" fmla="*/ 2 w 7"/>
                  <a:gd name="T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2" y="11"/>
                    </a:moveTo>
                    <a:cubicBezTo>
                      <a:pt x="2" y="11"/>
                      <a:pt x="2" y="12"/>
                      <a:pt x="3" y="12"/>
                    </a:cubicBezTo>
                    <a:cubicBezTo>
                      <a:pt x="3" y="9"/>
                      <a:pt x="5" y="5"/>
                      <a:pt x="7" y="0"/>
                    </a:cubicBezTo>
                    <a:cubicBezTo>
                      <a:pt x="5" y="2"/>
                      <a:pt x="3" y="3"/>
                      <a:pt x="0" y="4"/>
                    </a:cubicBezTo>
                    <a:cubicBezTo>
                      <a:pt x="1" y="6"/>
                      <a:pt x="2" y="6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" name="Freeform 66">
                <a:extLst>
                  <a:ext uri="{FF2B5EF4-FFF2-40B4-BE49-F238E27FC236}">
                    <a16:creationId xmlns:a16="http://schemas.microsoft.com/office/drawing/2014/main" id="{90863C6B-2945-1015-1CB1-2C906D5E33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1386" y="3941252"/>
                <a:ext cx="0" cy="0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" name="Freeform 67">
                <a:extLst>
                  <a:ext uri="{FF2B5EF4-FFF2-40B4-BE49-F238E27FC236}">
                    <a16:creationId xmlns:a16="http://schemas.microsoft.com/office/drawing/2014/main" id="{827BBBF0-DF3E-19B3-34B8-62EA681DB7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8992" y="3937633"/>
                <a:ext cx="0" cy="5430"/>
              </a:xfrm>
              <a:custGeom>
                <a:avLst/>
                <a:gdLst>
                  <a:gd name="T0" fmla="*/ 1 w 2"/>
                  <a:gd name="T1" fmla="*/ 0 h 14"/>
                  <a:gd name="T2" fmla="*/ 1 w 2"/>
                  <a:gd name="T3" fmla="*/ 11 h 14"/>
                  <a:gd name="T4" fmla="*/ 2 w 2"/>
                  <a:gd name="T5" fmla="*/ 14 h 14"/>
                  <a:gd name="T6" fmla="*/ 1 w 2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4">
                    <a:moveTo>
                      <a:pt x="1" y="0"/>
                    </a:moveTo>
                    <a:cubicBezTo>
                      <a:pt x="0" y="4"/>
                      <a:pt x="1" y="8"/>
                      <a:pt x="1" y="11"/>
                    </a:cubicBezTo>
                    <a:cubicBezTo>
                      <a:pt x="1" y="12"/>
                      <a:pt x="2" y="13"/>
                      <a:pt x="2" y="14"/>
                    </a:cubicBezTo>
                    <a:cubicBezTo>
                      <a:pt x="2" y="9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" name="Freeform 68">
                <a:extLst>
                  <a:ext uri="{FF2B5EF4-FFF2-40B4-BE49-F238E27FC236}">
                    <a16:creationId xmlns:a16="http://schemas.microsoft.com/office/drawing/2014/main" id="{0C44D5E0-9515-90E4-B8F6-ECE981FCFE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6907" y="3926774"/>
                <a:ext cx="7239" cy="16289"/>
              </a:xfrm>
              <a:custGeom>
                <a:avLst/>
                <a:gdLst>
                  <a:gd name="T0" fmla="*/ 6 w 19"/>
                  <a:gd name="T1" fmla="*/ 26 h 42"/>
                  <a:gd name="T2" fmla="*/ 13 w 19"/>
                  <a:gd name="T3" fmla="*/ 34 h 42"/>
                  <a:gd name="T4" fmla="*/ 15 w 19"/>
                  <a:gd name="T5" fmla="*/ 23 h 42"/>
                  <a:gd name="T6" fmla="*/ 19 w 19"/>
                  <a:gd name="T7" fmla="*/ 27 h 42"/>
                  <a:gd name="T8" fmla="*/ 19 w 19"/>
                  <a:gd name="T9" fmla="*/ 25 h 42"/>
                  <a:gd name="T10" fmla="*/ 13 w 19"/>
                  <a:gd name="T11" fmla="*/ 0 h 42"/>
                  <a:gd name="T12" fmla="*/ 4 w 19"/>
                  <a:gd name="T13" fmla="*/ 8 h 42"/>
                  <a:gd name="T14" fmla="*/ 0 w 19"/>
                  <a:gd name="T15" fmla="*/ 25 h 42"/>
                  <a:gd name="T16" fmla="*/ 4 w 19"/>
                  <a:gd name="T17" fmla="*/ 42 h 42"/>
                  <a:gd name="T18" fmla="*/ 7 w 19"/>
                  <a:gd name="T19" fmla="*/ 40 h 42"/>
                  <a:gd name="T20" fmla="*/ 7 w 19"/>
                  <a:gd name="T21" fmla="*/ 39 h 42"/>
                  <a:gd name="T22" fmla="*/ 3 w 19"/>
                  <a:gd name="T23" fmla="*/ 26 h 42"/>
                  <a:gd name="T24" fmla="*/ 3 w 19"/>
                  <a:gd name="T25" fmla="*/ 20 h 42"/>
                  <a:gd name="T26" fmla="*/ 6 w 19"/>
                  <a:gd name="T27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42">
                    <a:moveTo>
                      <a:pt x="6" y="26"/>
                    </a:moveTo>
                    <a:cubicBezTo>
                      <a:pt x="8" y="28"/>
                      <a:pt x="10" y="30"/>
                      <a:pt x="13" y="34"/>
                    </a:cubicBezTo>
                    <a:cubicBezTo>
                      <a:pt x="14" y="31"/>
                      <a:pt x="15" y="26"/>
                      <a:pt x="15" y="23"/>
                    </a:cubicBezTo>
                    <a:cubicBezTo>
                      <a:pt x="16" y="24"/>
                      <a:pt x="18" y="25"/>
                      <a:pt x="19" y="27"/>
                    </a:cubicBezTo>
                    <a:lnTo>
                      <a:pt x="19" y="25"/>
                    </a:lnTo>
                    <a:cubicBezTo>
                      <a:pt x="19" y="17"/>
                      <a:pt x="15" y="8"/>
                      <a:pt x="13" y="0"/>
                    </a:cubicBezTo>
                    <a:cubicBezTo>
                      <a:pt x="10" y="3"/>
                      <a:pt x="5" y="5"/>
                      <a:pt x="4" y="8"/>
                    </a:cubicBezTo>
                    <a:cubicBezTo>
                      <a:pt x="2" y="13"/>
                      <a:pt x="1" y="19"/>
                      <a:pt x="0" y="25"/>
                    </a:cubicBezTo>
                    <a:cubicBezTo>
                      <a:pt x="0" y="31"/>
                      <a:pt x="1" y="37"/>
                      <a:pt x="4" y="42"/>
                    </a:cubicBezTo>
                    <a:cubicBezTo>
                      <a:pt x="5" y="42"/>
                      <a:pt x="6" y="41"/>
                      <a:pt x="7" y="40"/>
                    </a:cubicBezTo>
                    <a:cubicBezTo>
                      <a:pt x="7" y="40"/>
                      <a:pt x="7" y="40"/>
                      <a:pt x="7" y="39"/>
                    </a:cubicBezTo>
                    <a:cubicBezTo>
                      <a:pt x="6" y="35"/>
                      <a:pt x="4" y="30"/>
                      <a:pt x="3" y="26"/>
                    </a:cubicBezTo>
                    <a:cubicBezTo>
                      <a:pt x="3" y="23"/>
                      <a:pt x="2" y="25"/>
                      <a:pt x="3" y="20"/>
                    </a:cubicBezTo>
                    <a:cubicBezTo>
                      <a:pt x="2" y="22"/>
                      <a:pt x="4" y="25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" name="Freeform 69">
                <a:extLst>
                  <a:ext uri="{FF2B5EF4-FFF2-40B4-BE49-F238E27FC236}">
                    <a16:creationId xmlns:a16="http://schemas.microsoft.com/office/drawing/2014/main" id="{C6F15201-2B3F-4EF7-B20A-2BF5BA25A4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98133" y="3785607"/>
                <a:ext cx="18098" cy="9050"/>
              </a:xfrm>
              <a:custGeom>
                <a:avLst/>
                <a:gdLst>
                  <a:gd name="T0" fmla="*/ 36 w 44"/>
                  <a:gd name="T1" fmla="*/ 20 h 25"/>
                  <a:gd name="T2" fmla="*/ 22 w 44"/>
                  <a:gd name="T3" fmla="*/ 3 h 25"/>
                  <a:gd name="T4" fmla="*/ 1 w 44"/>
                  <a:gd name="T5" fmla="*/ 10 h 25"/>
                  <a:gd name="T6" fmla="*/ 36 w 44"/>
                  <a:gd name="T7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25">
                    <a:moveTo>
                      <a:pt x="36" y="20"/>
                    </a:moveTo>
                    <a:cubicBezTo>
                      <a:pt x="27" y="12"/>
                      <a:pt x="32" y="6"/>
                      <a:pt x="22" y="3"/>
                    </a:cubicBezTo>
                    <a:cubicBezTo>
                      <a:pt x="12" y="0"/>
                      <a:pt x="0" y="4"/>
                      <a:pt x="1" y="10"/>
                    </a:cubicBezTo>
                    <a:cubicBezTo>
                      <a:pt x="3" y="19"/>
                      <a:pt x="44" y="25"/>
                      <a:pt x="3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" name="Freeform 70">
                <a:extLst>
                  <a:ext uri="{FF2B5EF4-FFF2-40B4-BE49-F238E27FC236}">
                    <a16:creationId xmlns:a16="http://schemas.microsoft.com/office/drawing/2014/main" id="{EC29BE13-360B-EF06-F65A-2617911BFA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9451" y="3628150"/>
                <a:ext cx="217180" cy="322151"/>
              </a:xfrm>
              <a:custGeom>
                <a:avLst/>
                <a:gdLst>
                  <a:gd name="T0" fmla="*/ 357 w 531"/>
                  <a:gd name="T1" fmla="*/ 727 h 784"/>
                  <a:gd name="T2" fmla="*/ 383 w 531"/>
                  <a:gd name="T3" fmla="*/ 715 h 784"/>
                  <a:gd name="T4" fmla="*/ 380 w 531"/>
                  <a:gd name="T5" fmla="*/ 734 h 784"/>
                  <a:gd name="T6" fmla="*/ 400 w 531"/>
                  <a:gd name="T7" fmla="*/ 720 h 784"/>
                  <a:gd name="T8" fmla="*/ 413 w 531"/>
                  <a:gd name="T9" fmla="*/ 743 h 784"/>
                  <a:gd name="T10" fmla="*/ 421 w 531"/>
                  <a:gd name="T11" fmla="*/ 759 h 784"/>
                  <a:gd name="T12" fmla="*/ 420 w 531"/>
                  <a:gd name="T13" fmla="*/ 690 h 784"/>
                  <a:gd name="T14" fmla="*/ 431 w 531"/>
                  <a:gd name="T15" fmla="*/ 748 h 784"/>
                  <a:gd name="T16" fmla="*/ 440 w 531"/>
                  <a:gd name="T17" fmla="*/ 746 h 784"/>
                  <a:gd name="T18" fmla="*/ 449 w 531"/>
                  <a:gd name="T19" fmla="*/ 731 h 784"/>
                  <a:gd name="T20" fmla="*/ 465 w 531"/>
                  <a:gd name="T21" fmla="*/ 727 h 784"/>
                  <a:gd name="T22" fmla="*/ 501 w 531"/>
                  <a:gd name="T23" fmla="*/ 448 h 784"/>
                  <a:gd name="T24" fmla="*/ 455 w 531"/>
                  <a:gd name="T25" fmla="*/ 349 h 784"/>
                  <a:gd name="T26" fmla="*/ 463 w 531"/>
                  <a:gd name="T27" fmla="*/ 58 h 784"/>
                  <a:gd name="T28" fmla="*/ 0 w 531"/>
                  <a:gd name="T29" fmla="*/ 0 h 784"/>
                  <a:gd name="T30" fmla="*/ 203 w 531"/>
                  <a:gd name="T31" fmla="*/ 234 h 784"/>
                  <a:gd name="T32" fmla="*/ 274 w 531"/>
                  <a:gd name="T33" fmla="*/ 227 h 784"/>
                  <a:gd name="T34" fmla="*/ 341 w 531"/>
                  <a:gd name="T35" fmla="*/ 226 h 784"/>
                  <a:gd name="T36" fmla="*/ 269 w 531"/>
                  <a:gd name="T37" fmla="*/ 284 h 784"/>
                  <a:gd name="T38" fmla="*/ 321 w 531"/>
                  <a:gd name="T39" fmla="*/ 312 h 784"/>
                  <a:gd name="T40" fmla="*/ 362 w 531"/>
                  <a:gd name="T41" fmla="*/ 425 h 784"/>
                  <a:gd name="T42" fmla="*/ 99 w 531"/>
                  <a:gd name="T43" fmla="*/ 574 h 784"/>
                  <a:gd name="T44" fmla="*/ 65 w 531"/>
                  <a:gd name="T45" fmla="*/ 605 h 784"/>
                  <a:gd name="T46" fmla="*/ 63 w 531"/>
                  <a:gd name="T47" fmla="*/ 728 h 784"/>
                  <a:gd name="T48" fmla="*/ 151 w 531"/>
                  <a:gd name="T49" fmla="*/ 776 h 784"/>
                  <a:gd name="T50" fmla="*/ 158 w 531"/>
                  <a:gd name="T51" fmla="*/ 772 h 784"/>
                  <a:gd name="T52" fmla="*/ 160 w 531"/>
                  <a:gd name="T53" fmla="*/ 753 h 784"/>
                  <a:gd name="T54" fmla="*/ 171 w 531"/>
                  <a:gd name="T55" fmla="*/ 751 h 784"/>
                  <a:gd name="T56" fmla="*/ 172 w 531"/>
                  <a:gd name="T57" fmla="*/ 754 h 784"/>
                  <a:gd name="T58" fmla="*/ 181 w 531"/>
                  <a:gd name="T59" fmla="*/ 763 h 784"/>
                  <a:gd name="T60" fmla="*/ 190 w 531"/>
                  <a:gd name="T61" fmla="*/ 747 h 784"/>
                  <a:gd name="T62" fmla="*/ 196 w 531"/>
                  <a:gd name="T63" fmla="*/ 750 h 784"/>
                  <a:gd name="T64" fmla="*/ 202 w 531"/>
                  <a:gd name="T65" fmla="*/ 756 h 784"/>
                  <a:gd name="T66" fmla="*/ 211 w 531"/>
                  <a:gd name="T67" fmla="*/ 760 h 784"/>
                  <a:gd name="T68" fmla="*/ 217 w 531"/>
                  <a:gd name="T69" fmla="*/ 746 h 784"/>
                  <a:gd name="T70" fmla="*/ 221 w 531"/>
                  <a:gd name="T71" fmla="*/ 735 h 784"/>
                  <a:gd name="T72" fmla="*/ 229 w 531"/>
                  <a:gd name="T73" fmla="*/ 733 h 784"/>
                  <a:gd name="T74" fmla="*/ 237 w 531"/>
                  <a:gd name="T75" fmla="*/ 770 h 784"/>
                  <a:gd name="T76" fmla="*/ 247 w 531"/>
                  <a:gd name="T77" fmla="*/ 754 h 784"/>
                  <a:gd name="T78" fmla="*/ 253 w 531"/>
                  <a:gd name="T79" fmla="*/ 769 h 784"/>
                  <a:gd name="T80" fmla="*/ 256 w 531"/>
                  <a:gd name="T81" fmla="*/ 753 h 784"/>
                  <a:gd name="T82" fmla="*/ 264 w 531"/>
                  <a:gd name="T83" fmla="*/ 753 h 784"/>
                  <a:gd name="T84" fmla="*/ 267 w 531"/>
                  <a:gd name="T85" fmla="*/ 774 h 784"/>
                  <a:gd name="T86" fmla="*/ 266 w 531"/>
                  <a:gd name="T87" fmla="*/ 726 h 784"/>
                  <a:gd name="T88" fmla="*/ 280 w 531"/>
                  <a:gd name="T89" fmla="*/ 761 h 784"/>
                  <a:gd name="T90" fmla="*/ 286 w 531"/>
                  <a:gd name="T91" fmla="*/ 763 h 784"/>
                  <a:gd name="T92" fmla="*/ 289 w 531"/>
                  <a:gd name="T93" fmla="*/ 753 h 784"/>
                  <a:gd name="T94" fmla="*/ 298 w 531"/>
                  <a:gd name="T95" fmla="*/ 760 h 784"/>
                  <a:gd name="T96" fmla="*/ 299 w 531"/>
                  <a:gd name="T97" fmla="*/ 724 h 784"/>
                  <a:gd name="T98" fmla="*/ 316 w 531"/>
                  <a:gd name="T99" fmla="*/ 730 h 784"/>
                  <a:gd name="T100" fmla="*/ 324 w 531"/>
                  <a:gd name="T101" fmla="*/ 745 h 784"/>
                  <a:gd name="T102" fmla="*/ 334 w 531"/>
                  <a:gd name="T103" fmla="*/ 725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31" h="784">
                    <a:moveTo>
                      <a:pt x="349" y="756"/>
                    </a:moveTo>
                    <a:cubicBezTo>
                      <a:pt x="349" y="754"/>
                      <a:pt x="350" y="748"/>
                      <a:pt x="351" y="746"/>
                    </a:cubicBezTo>
                    <a:cubicBezTo>
                      <a:pt x="354" y="741"/>
                      <a:pt x="355" y="732"/>
                      <a:pt x="356" y="726"/>
                    </a:cubicBezTo>
                    <a:cubicBezTo>
                      <a:pt x="356" y="726"/>
                      <a:pt x="356" y="727"/>
                      <a:pt x="357" y="727"/>
                    </a:cubicBezTo>
                    <a:cubicBezTo>
                      <a:pt x="359" y="736"/>
                      <a:pt x="360" y="742"/>
                      <a:pt x="363" y="753"/>
                    </a:cubicBezTo>
                    <a:cubicBezTo>
                      <a:pt x="364" y="742"/>
                      <a:pt x="368" y="732"/>
                      <a:pt x="373" y="723"/>
                    </a:cubicBezTo>
                    <a:cubicBezTo>
                      <a:pt x="378" y="714"/>
                      <a:pt x="384" y="705"/>
                      <a:pt x="388" y="694"/>
                    </a:cubicBezTo>
                    <a:cubicBezTo>
                      <a:pt x="387" y="702"/>
                      <a:pt x="388" y="708"/>
                      <a:pt x="383" y="715"/>
                    </a:cubicBezTo>
                    <a:cubicBezTo>
                      <a:pt x="379" y="722"/>
                      <a:pt x="377" y="725"/>
                      <a:pt x="376" y="730"/>
                    </a:cubicBezTo>
                    <a:cubicBezTo>
                      <a:pt x="375" y="734"/>
                      <a:pt x="374" y="740"/>
                      <a:pt x="371" y="751"/>
                    </a:cubicBezTo>
                    <a:cubicBezTo>
                      <a:pt x="371" y="750"/>
                      <a:pt x="374" y="747"/>
                      <a:pt x="374" y="745"/>
                    </a:cubicBezTo>
                    <a:cubicBezTo>
                      <a:pt x="375" y="741"/>
                      <a:pt x="378" y="737"/>
                      <a:pt x="380" y="734"/>
                    </a:cubicBezTo>
                    <a:cubicBezTo>
                      <a:pt x="384" y="727"/>
                      <a:pt x="390" y="723"/>
                      <a:pt x="396" y="721"/>
                    </a:cubicBezTo>
                    <a:cubicBezTo>
                      <a:pt x="396" y="721"/>
                      <a:pt x="396" y="720"/>
                      <a:pt x="395" y="720"/>
                    </a:cubicBezTo>
                    <a:cubicBezTo>
                      <a:pt x="396" y="720"/>
                      <a:pt x="396" y="720"/>
                      <a:pt x="397" y="721"/>
                    </a:cubicBezTo>
                    <a:cubicBezTo>
                      <a:pt x="398" y="720"/>
                      <a:pt x="399" y="720"/>
                      <a:pt x="400" y="720"/>
                    </a:cubicBezTo>
                    <a:cubicBezTo>
                      <a:pt x="399" y="721"/>
                      <a:pt x="399" y="722"/>
                      <a:pt x="398" y="722"/>
                    </a:cubicBezTo>
                    <a:cubicBezTo>
                      <a:pt x="400" y="725"/>
                      <a:pt x="403" y="730"/>
                      <a:pt x="405" y="735"/>
                    </a:cubicBezTo>
                    <a:cubicBezTo>
                      <a:pt x="407" y="741"/>
                      <a:pt x="410" y="747"/>
                      <a:pt x="412" y="753"/>
                    </a:cubicBezTo>
                    <a:cubicBezTo>
                      <a:pt x="412" y="750"/>
                      <a:pt x="413" y="746"/>
                      <a:pt x="413" y="743"/>
                    </a:cubicBezTo>
                    <a:cubicBezTo>
                      <a:pt x="413" y="736"/>
                      <a:pt x="411" y="731"/>
                      <a:pt x="407" y="727"/>
                    </a:cubicBezTo>
                    <a:cubicBezTo>
                      <a:pt x="408" y="727"/>
                      <a:pt x="413" y="734"/>
                      <a:pt x="413" y="735"/>
                    </a:cubicBezTo>
                    <a:cubicBezTo>
                      <a:pt x="418" y="741"/>
                      <a:pt x="419" y="751"/>
                      <a:pt x="421" y="759"/>
                    </a:cubicBezTo>
                    <a:cubicBezTo>
                      <a:pt x="421" y="759"/>
                      <a:pt x="421" y="759"/>
                      <a:pt x="421" y="759"/>
                    </a:cubicBezTo>
                    <a:cubicBezTo>
                      <a:pt x="421" y="755"/>
                      <a:pt x="421" y="751"/>
                      <a:pt x="421" y="747"/>
                    </a:cubicBezTo>
                    <a:cubicBezTo>
                      <a:pt x="420" y="742"/>
                      <a:pt x="419" y="737"/>
                      <a:pt x="419" y="731"/>
                    </a:cubicBezTo>
                    <a:cubicBezTo>
                      <a:pt x="418" y="725"/>
                      <a:pt x="418" y="718"/>
                      <a:pt x="418" y="711"/>
                    </a:cubicBezTo>
                    <a:cubicBezTo>
                      <a:pt x="418" y="704"/>
                      <a:pt x="419" y="697"/>
                      <a:pt x="420" y="690"/>
                    </a:cubicBezTo>
                    <a:cubicBezTo>
                      <a:pt x="419" y="699"/>
                      <a:pt x="420" y="709"/>
                      <a:pt x="422" y="718"/>
                    </a:cubicBezTo>
                    <a:cubicBezTo>
                      <a:pt x="424" y="727"/>
                      <a:pt x="427" y="736"/>
                      <a:pt x="429" y="744"/>
                    </a:cubicBezTo>
                    <a:cubicBezTo>
                      <a:pt x="430" y="743"/>
                      <a:pt x="431" y="740"/>
                      <a:pt x="432" y="739"/>
                    </a:cubicBezTo>
                    <a:cubicBezTo>
                      <a:pt x="431" y="742"/>
                      <a:pt x="431" y="745"/>
                      <a:pt x="431" y="748"/>
                    </a:cubicBezTo>
                    <a:cubicBezTo>
                      <a:pt x="431" y="748"/>
                      <a:pt x="431" y="748"/>
                      <a:pt x="431" y="749"/>
                    </a:cubicBezTo>
                    <a:cubicBezTo>
                      <a:pt x="432" y="751"/>
                      <a:pt x="432" y="752"/>
                      <a:pt x="433" y="752"/>
                    </a:cubicBezTo>
                    <a:cubicBezTo>
                      <a:pt x="435" y="751"/>
                      <a:pt x="437" y="750"/>
                      <a:pt x="439" y="748"/>
                    </a:cubicBezTo>
                    <a:cubicBezTo>
                      <a:pt x="439" y="747"/>
                      <a:pt x="440" y="747"/>
                      <a:pt x="440" y="746"/>
                    </a:cubicBezTo>
                    <a:cubicBezTo>
                      <a:pt x="440" y="743"/>
                      <a:pt x="439" y="739"/>
                      <a:pt x="439" y="736"/>
                    </a:cubicBezTo>
                    <a:cubicBezTo>
                      <a:pt x="439" y="736"/>
                      <a:pt x="440" y="738"/>
                      <a:pt x="441" y="738"/>
                    </a:cubicBezTo>
                    <a:cubicBezTo>
                      <a:pt x="441" y="739"/>
                      <a:pt x="442" y="740"/>
                      <a:pt x="442" y="742"/>
                    </a:cubicBezTo>
                    <a:cubicBezTo>
                      <a:pt x="445" y="738"/>
                      <a:pt x="447" y="734"/>
                      <a:pt x="449" y="731"/>
                    </a:cubicBezTo>
                    <a:cubicBezTo>
                      <a:pt x="454" y="724"/>
                      <a:pt x="465" y="714"/>
                      <a:pt x="466" y="703"/>
                    </a:cubicBezTo>
                    <a:cubicBezTo>
                      <a:pt x="465" y="712"/>
                      <a:pt x="461" y="720"/>
                      <a:pt x="457" y="728"/>
                    </a:cubicBezTo>
                    <a:cubicBezTo>
                      <a:pt x="455" y="731"/>
                      <a:pt x="452" y="736"/>
                      <a:pt x="451" y="739"/>
                    </a:cubicBezTo>
                    <a:cubicBezTo>
                      <a:pt x="455" y="736"/>
                      <a:pt x="460" y="731"/>
                      <a:pt x="465" y="727"/>
                    </a:cubicBezTo>
                    <a:cubicBezTo>
                      <a:pt x="465" y="726"/>
                      <a:pt x="466" y="726"/>
                      <a:pt x="466" y="725"/>
                    </a:cubicBezTo>
                    <a:cubicBezTo>
                      <a:pt x="468" y="724"/>
                      <a:pt x="469" y="723"/>
                      <a:pt x="470" y="722"/>
                    </a:cubicBezTo>
                    <a:cubicBezTo>
                      <a:pt x="510" y="683"/>
                      <a:pt x="530" y="629"/>
                      <a:pt x="531" y="561"/>
                    </a:cubicBezTo>
                    <a:cubicBezTo>
                      <a:pt x="531" y="520"/>
                      <a:pt x="521" y="482"/>
                      <a:pt x="501" y="448"/>
                    </a:cubicBezTo>
                    <a:cubicBezTo>
                      <a:pt x="489" y="429"/>
                      <a:pt x="473" y="413"/>
                      <a:pt x="455" y="401"/>
                    </a:cubicBezTo>
                    <a:lnTo>
                      <a:pt x="407" y="381"/>
                    </a:lnTo>
                    <a:lnTo>
                      <a:pt x="407" y="378"/>
                    </a:lnTo>
                    <a:cubicBezTo>
                      <a:pt x="426" y="369"/>
                      <a:pt x="441" y="360"/>
                      <a:pt x="455" y="349"/>
                    </a:cubicBezTo>
                    <a:cubicBezTo>
                      <a:pt x="457" y="347"/>
                      <a:pt x="460" y="345"/>
                      <a:pt x="463" y="343"/>
                    </a:cubicBezTo>
                    <a:cubicBezTo>
                      <a:pt x="477" y="330"/>
                      <a:pt x="489" y="317"/>
                      <a:pt x="497" y="303"/>
                    </a:cubicBezTo>
                    <a:cubicBezTo>
                      <a:pt x="512" y="273"/>
                      <a:pt x="520" y="242"/>
                      <a:pt x="519" y="210"/>
                    </a:cubicBezTo>
                    <a:cubicBezTo>
                      <a:pt x="519" y="147"/>
                      <a:pt x="500" y="96"/>
                      <a:pt x="463" y="58"/>
                    </a:cubicBezTo>
                    <a:cubicBezTo>
                      <a:pt x="460" y="56"/>
                      <a:pt x="457" y="53"/>
                      <a:pt x="455" y="51"/>
                    </a:cubicBezTo>
                    <a:cubicBezTo>
                      <a:pt x="448" y="45"/>
                      <a:pt x="442" y="40"/>
                      <a:pt x="434" y="36"/>
                    </a:cubicBezTo>
                    <a:cubicBezTo>
                      <a:pt x="399" y="13"/>
                      <a:pt x="352" y="0"/>
                      <a:pt x="294" y="0"/>
                    </a:cubicBezTo>
                    <a:lnTo>
                      <a:pt x="0" y="0"/>
                    </a:lnTo>
                    <a:lnTo>
                      <a:pt x="0" y="275"/>
                    </a:lnTo>
                    <a:cubicBezTo>
                      <a:pt x="70" y="281"/>
                      <a:pt x="147" y="280"/>
                      <a:pt x="168" y="249"/>
                    </a:cubicBezTo>
                    <a:cubicBezTo>
                      <a:pt x="172" y="244"/>
                      <a:pt x="173" y="231"/>
                      <a:pt x="193" y="233"/>
                    </a:cubicBezTo>
                    <a:cubicBezTo>
                      <a:pt x="195" y="233"/>
                      <a:pt x="199" y="233"/>
                      <a:pt x="203" y="234"/>
                    </a:cubicBezTo>
                    <a:cubicBezTo>
                      <a:pt x="205" y="234"/>
                      <a:pt x="207" y="234"/>
                      <a:pt x="209" y="234"/>
                    </a:cubicBezTo>
                    <a:cubicBezTo>
                      <a:pt x="225" y="234"/>
                      <a:pt x="246" y="233"/>
                      <a:pt x="269" y="229"/>
                    </a:cubicBezTo>
                    <a:cubicBezTo>
                      <a:pt x="270" y="228"/>
                      <a:pt x="272" y="228"/>
                      <a:pt x="273" y="228"/>
                    </a:cubicBezTo>
                    <a:cubicBezTo>
                      <a:pt x="273" y="227"/>
                      <a:pt x="273" y="227"/>
                      <a:pt x="274" y="227"/>
                    </a:cubicBezTo>
                    <a:cubicBezTo>
                      <a:pt x="282" y="225"/>
                      <a:pt x="290" y="223"/>
                      <a:pt x="298" y="220"/>
                    </a:cubicBezTo>
                    <a:cubicBezTo>
                      <a:pt x="303" y="218"/>
                      <a:pt x="309" y="215"/>
                      <a:pt x="314" y="212"/>
                    </a:cubicBezTo>
                    <a:cubicBezTo>
                      <a:pt x="357" y="188"/>
                      <a:pt x="379" y="160"/>
                      <a:pt x="379" y="160"/>
                    </a:cubicBezTo>
                    <a:cubicBezTo>
                      <a:pt x="379" y="160"/>
                      <a:pt x="366" y="196"/>
                      <a:pt x="341" y="226"/>
                    </a:cubicBezTo>
                    <a:cubicBezTo>
                      <a:pt x="326" y="245"/>
                      <a:pt x="311" y="259"/>
                      <a:pt x="295" y="270"/>
                    </a:cubicBezTo>
                    <a:cubicBezTo>
                      <a:pt x="288" y="275"/>
                      <a:pt x="280" y="279"/>
                      <a:pt x="273" y="282"/>
                    </a:cubicBezTo>
                    <a:cubicBezTo>
                      <a:pt x="272" y="283"/>
                      <a:pt x="271" y="283"/>
                      <a:pt x="270" y="284"/>
                    </a:cubicBezTo>
                    <a:cubicBezTo>
                      <a:pt x="270" y="284"/>
                      <a:pt x="270" y="284"/>
                      <a:pt x="269" y="284"/>
                    </a:cubicBezTo>
                    <a:cubicBezTo>
                      <a:pt x="232" y="301"/>
                      <a:pt x="203" y="299"/>
                      <a:pt x="203" y="299"/>
                    </a:cubicBezTo>
                    <a:cubicBezTo>
                      <a:pt x="244" y="303"/>
                      <a:pt x="282" y="299"/>
                      <a:pt x="319" y="280"/>
                    </a:cubicBezTo>
                    <a:cubicBezTo>
                      <a:pt x="352" y="264"/>
                      <a:pt x="361" y="248"/>
                      <a:pt x="363" y="244"/>
                    </a:cubicBezTo>
                    <a:cubicBezTo>
                      <a:pt x="360" y="251"/>
                      <a:pt x="339" y="297"/>
                      <a:pt x="321" y="312"/>
                    </a:cubicBezTo>
                    <a:lnTo>
                      <a:pt x="302" y="329"/>
                    </a:lnTo>
                    <a:lnTo>
                      <a:pt x="288" y="340"/>
                    </a:lnTo>
                    <a:cubicBezTo>
                      <a:pt x="288" y="340"/>
                      <a:pt x="284" y="352"/>
                      <a:pt x="314" y="383"/>
                    </a:cubicBezTo>
                    <a:cubicBezTo>
                      <a:pt x="326" y="394"/>
                      <a:pt x="345" y="411"/>
                      <a:pt x="362" y="425"/>
                    </a:cubicBezTo>
                    <a:cubicBezTo>
                      <a:pt x="371" y="433"/>
                      <a:pt x="379" y="440"/>
                      <a:pt x="385" y="446"/>
                    </a:cubicBezTo>
                    <a:cubicBezTo>
                      <a:pt x="418" y="478"/>
                      <a:pt x="348" y="531"/>
                      <a:pt x="304" y="504"/>
                    </a:cubicBezTo>
                    <a:cubicBezTo>
                      <a:pt x="282" y="491"/>
                      <a:pt x="211" y="521"/>
                      <a:pt x="167" y="515"/>
                    </a:cubicBezTo>
                    <a:cubicBezTo>
                      <a:pt x="111" y="508"/>
                      <a:pt x="121" y="546"/>
                      <a:pt x="99" y="574"/>
                    </a:cubicBezTo>
                    <a:cubicBezTo>
                      <a:pt x="68" y="614"/>
                      <a:pt x="45" y="559"/>
                      <a:pt x="42" y="540"/>
                    </a:cubicBezTo>
                    <a:cubicBezTo>
                      <a:pt x="38" y="513"/>
                      <a:pt x="28" y="484"/>
                      <a:pt x="0" y="472"/>
                    </a:cubicBezTo>
                    <a:lnTo>
                      <a:pt x="0" y="474"/>
                    </a:lnTo>
                    <a:cubicBezTo>
                      <a:pt x="50" y="501"/>
                      <a:pt x="11" y="562"/>
                      <a:pt x="65" y="605"/>
                    </a:cubicBezTo>
                    <a:cubicBezTo>
                      <a:pt x="58" y="622"/>
                      <a:pt x="49" y="636"/>
                      <a:pt x="45" y="650"/>
                    </a:cubicBezTo>
                    <a:cubicBezTo>
                      <a:pt x="46" y="653"/>
                      <a:pt x="48" y="655"/>
                      <a:pt x="49" y="657"/>
                    </a:cubicBezTo>
                    <a:cubicBezTo>
                      <a:pt x="54" y="665"/>
                      <a:pt x="69" y="666"/>
                      <a:pt x="69" y="675"/>
                    </a:cubicBezTo>
                    <a:cubicBezTo>
                      <a:pt x="70" y="683"/>
                      <a:pt x="68" y="722"/>
                      <a:pt x="63" y="728"/>
                    </a:cubicBezTo>
                    <a:cubicBezTo>
                      <a:pt x="59" y="733"/>
                      <a:pt x="60" y="761"/>
                      <a:pt x="41" y="784"/>
                    </a:cubicBezTo>
                    <a:lnTo>
                      <a:pt x="129" y="784"/>
                    </a:lnTo>
                    <a:cubicBezTo>
                      <a:pt x="136" y="782"/>
                      <a:pt x="143" y="779"/>
                      <a:pt x="151" y="777"/>
                    </a:cubicBezTo>
                    <a:cubicBezTo>
                      <a:pt x="151" y="777"/>
                      <a:pt x="151" y="776"/>
                      <a:pt x="151" y="776"/>
                    </a:cubicBezTo>
                    <a:cubicBezTo>
                      <a:pt x="153" y="768"/>
                      <a:pt x="150" y="762"/>
                      <a:pt x="146" y="756"/>
                    </a:cubicBezTo>
                    <a:cubicBezTo>
                      <a:pt x="143" y="749"/>
                      <a:pt x="139" y="743"/>
                      <a:pt x="138" y="736"/>
                    </a:cubicBezTo>
                    <a:cubicBezTo>
                      <a:pt x="139" y="743"/>
                      <a:pt x="146" y="749"/>
                      <a:pt x="149" y="754"/>
                    </a:cubicBezTo>
                    <a:cubicBezTo>
                      <a:pt x="152" y="758"/>
                      <a:pt x="158" y="767"/>
                      <a:pt x="158" y="772"/>
                    </a:cubicBezTo>
                    <a:cubicBezTo>
                      <a:pt x="159" y="770"/>
                      <a:pt x="161" y="767"/>
                      <a:pt x="161" y="765"/>
                    </a:cubicBezTo>
                    <a:lnTo>
                      <a:pt x="161" y="762"/>
                    </a:lnTo>
                    <a:cubicBezTo>
                      <a:pt x="161" y="761"/>
                      <a:pt x="161" y="760"/>
                      <a:pt x="161" y="759"/>
                    </a:cubicBezTo>
                    <a:cubicBezTo>
                      <a:pt x="161" y="757"/>
                      <a:pt x="160" y="755"/>
                      <a:pt x="160" y="753"/>
                    </a:cubicBezTo>
                    <a:cubicBezTo>
                      <a:pt x="161" y="756"/>
                      <a:pt x="162" y="758"/>
                      <a:pt x="163" y="761"/>
                    </a:cubicBezTo>
                    <a:cubicBezTo>
                      <a:pt x="164" y="763"/>
                      <a:pt x="166" y="766"/>
                      <a:pt x="166" y="769"/>
                    </a:cubicBezTo>
                    <a:cubicBezTo>
                      <a:pt x="167" y="764"/>
                      <a:pt x="168" y="759"/>
                      <a:pt x="170" y="755"/>
                    </a:cubicBezTo>
                    <a:cubicBezTo>
                      <a:pt x="170" y="753"/>
                      <a:pt x="171" y="752"/>
                      <a:pt x="171" y="751"/>
                    </a:cubicBezTo>
                    <a:cubicBezTo>
                      <a:pt x="171" y="751"/>
                      <a:pt x="171" y="752"/>
                      <a:pt x="171" y="752"/>
                    </a:cubicBezTo>
                    <a:cubicBezTo>
                      <a:pt x="171" y="752"/>
                      <a:pt x="171" y="751"/>
                      <a:pt x="172" y="751"/>
                    </a:cubicBezTo>
                    <a:cubicBezTo>
                      <a:pt x="172" y="750"/>
                      <a:pt x="175" y="747"/>
                      <a:pt x="176" y="747"/>
                    </a:cubicBezTo>
                    <a:cubicBezTo>
                      <a:pt x="173" y="749"/>
                      <a:pt x="172" y="751"/>
                      <a:pt x="172" y="754"/>
                    </a:cubicBezTo>
                    <a:cubicBezTo>
                      <a:pt x="173" y="756"/>
                      <a:pt x="174" y="757"/>
                      <a:pt x="175" y="758"/>
                    </a:cubicBezTo>
                    <a:cubicBezTo>
                      <a:pt x="175" y="759"/>
                      <a:pt x="177" y="760"/>
                      <a:pt x="179" y="761"/>
                    </a:cubicBezTo>
                    <a:cubicBezTo>
                      <a:pt x="179" y="760"/>
                      <a:pt x="180" y="760"/>
                      <a:pt x="181" y="759"/>
                    </a:cubicBezTo>
                    <a:cubicBezTo>
                      <a:pt x="181" y="760"/>
                      <a:pt x="181" y="761"/>
                      <a:pt x="181" y="763"/>
                    </a:cubicBezTo>
                    <a:cubicBezTo>
                      <a:pt x="184" y="764"/>
                      <a:pt x="187" y="765"/>
                      <a:pt x="190" y="765"/>
                    </a:cubicBezTo>
                    <a:cubicBezTo>
                      <a:pt x="191" y="760"/>
                      <a:pt x="189" y="754"/>
                      <a:pt x="188" y="750"/>
                    </a:cubicBezTo>
                    <a:cubicBezTo>
                      <a:pt x="187" y="747"/>
                      <a:pt x="181" y="745"/>
                      <a:pt x="180" y="742"/>
                    </a:cubicBezTo>
                    <a:cubicBezTo>
                      <a:pt x="184" y="743"/>
                      <a:pt x="187" y="745"/>
                      <a:pt x="190" y="747"/>
                    </a:cubicBezTo>
                    <a:cubicBezTo>
                      <a:pt x="189" y="747"/>
                      <a:pt x="189" y="746"/>
                      <a:pt x="189" y="746"/>
                    </a:cubicBezTo>
                    <a:cubicBezTo>
                      <a:pt x="189" y="744"/>
                      <a:pt x="189" y="745"/>
                      <a:pt x="189" y="741"/>
                    </a:cubicBezTo>
                    <a:cubicBezTo>
                      <a:pt x="189" y="742"/>
                      <a:pt x="191" y="746"/>
                      <a:pt x="192" y="746"/>
                    </a:cubicBezTo>
                    <a:cubicBezTo>
                      <a:pt x="193" y="747"/>
                      <a:pt x="194" y="748"/>
                      <a:pt x="196" y="750"/>
                    </a:cubicBezTo>
                    <a:cubicBezTo>
                      <a:pt x="195" y="746"/>
                      <a:pt x="193" y="744"/>
                      <a:pt x="191" y="739"/>
                    </a:cubicBezTo>
                    <a:cubicBezTo>
                      <a:pt x="188" y="735"/>
                      <a:pt x="188" y="731"/>
                      <a:pt x="188" y="726"/>
                    </a:cubicBezTo>
                    <a:cubicBezTo>
                      <a:pt x="190" y="732"/>
                      <a:pt x="193" y="737"/>
                      <a:pt x="195" y="741"/>
                    </a:cubicBezTo>
                    <a:cubicBezTo>
                      <a:pt x="198" y="746"/>
                      <a:pt x="200" y="751"/>
                      <a:pt x="202" y="756"/>
                    </a:cubicBezTo>
                    <a:cubicBezTo>
                      <a:pt x="203" y="757"/>
                      <a:pt x="204" y="758"/>
                      <a:pt x="205" y="759"/>
                    </a:cubicBezTo>
                    <a:cubicBezTo>
                      <a:pt x="206" y="755"/>
                      <a:pt x="207" y="752"/>
                      <a:pt x="208" y="748"/>
                    </a:cubicBezTo>
                    <a:cubicBezTo>
                      <a:pt x="208" y="748"/>
                      <a:pt x="208" y="747"/>
                      <a:pt x="208" y="747"/>
                    </a:cubicBezTo>
                    <a:cubicBezTo>
                      <a:pt x="209" y="751"/>
                      <a:pt x="209" y="756"/>
                      <a:pt x="211" y="760"/>
                    </a:cubicBezTo>
                    <a:lnTo>
                      <a:pt x="211" y="760"/>
                    </a:lnTo>
                    <a:cubicBezTo>
                      <a:pt x="212" y="757"/>
                      <a:pt x="212" y="754"/>
                      <a:pt x="212" y="751"/>
                    </a:cubicBezTo>
                    <a:cubicBezTo>
                      <a:pt x="214" y="740"/>
                      <a:pt x="206" y="737"/>
                      <a:pt x="199" y="729"/>
                    </a:cubicBezTo>
                    <a:cubicBezTo>
                      <a:pt x="204" y="728"/>
                      <a:pt x="213" y="736"/>
                      <a:pt x="217" y="746"/>
                    </a:cubicBezTo>
                    <a:cubicBezTo>
                      <a:pt x="219" y="749"/>
                      <a:pt x="220" y="753"/>
                      <a:pt x="221" y="757"/>
                    </a:cubicBezTo>
                    <a:cubicBezTo>
                      <a:pt x="222" y="753"/>
                      <a:pt x="222" y="750"/>
                      <a:pt x="222" y="747"/>
                    </a:cubicBezTo>
                    <a:cubicBezTo>
                      <a:pt x="223" y="749"/>
                      <a:pt x="223" y="751"/>
                      <a:pt x="224" y="753"/>
                    </a:cubicBezTo>
                    <a:cubicBezTo>
                      <a:pt x="223" y="748"/>
                      <a:pt x="222" y="742"/>
                      <a:pt x="221" y="735"/>
                    </a:cubicBezTo>
                    <a:cubicBezTo>
                      <a:pt x="219" y="727"/>
                      <a:pt x="220" y="721"/>
                      <a:pt x="223" y="716"/>
                    </a:cubicBezTo>
                    <a:cubicBezTo>
                      <a:pt x="225" y="711"/>
                      <a:pt x="229" y="708"/>
                      <a:pt x="231" y="704"/>
                    </a:cubicBezTo>
                    <a:cubicBezTo>
                      <a:pt x="229" y="711"/>
                      <a:pt x="228" y="715"/>
                      <a:pt x="228" y="720"/>
                    </a:cubicBezTo>
                    <a:cubicBezTo>
                      <a:pt x="227" y="724"/>
                      <a:pt x="228" y="728"/>
                      <a:pt x="229" y="733"/>
                    </a:cubicBezTo>
                    <a:cubicBezTo>
                      <a:pt x="230" y="732"/>
                      <a:pt x="231" y="731"/>
                      <a:pt x="232" y="731"/>
                    </a:cubicBezTo>
                    <a:cubicBezTo>
                      <a:pt x="231" y="733"/>
                      <a:pt x="231" y="734"/>
                      <a:pt x="230" y="736"/>
                    </a:cubicBezTo>
                    <a:cubicBezTo>
                      <a:pt x="231" y="739"/>
                      <a:pt x="232" y="742"/>
                      <a:pt x="233" y="746"/>
                    </a:cubicBezTo>
                    <a:cubicBezTo>
                      <a:pt x="236" y="752"/>
                      <a:pt x="236" y="761"/>
                      <a:pt x="237" y="770"/>
                    </a:cubicBezTo>
                    <a:cubicBezTo>
                      <a:pt x="237" y="763"/>
                      <a:pt x="237" y="755"/>
                      <a:pt x="242" y="749"/>
                    </a:cubicBezTo>
                    <a:cubicBezTo>
                      <a:pt x="242" y="747"/>
                      <a:pt x="242" y="744"/>
                      <a:pt x="241" y="742"/>
                    </a:cubicBezTo>
                    <a:cubicBezTo>
                      <a:pt x="241" y="743"/>
                      <a:pt x="243" y="744"/>
                      <a:pt x="243" y="745"/>
                    </a:cubicBezTo>
                    <a:cubicBezTo>
                      <a:pt x="245" y="747"/>
                      <a:pt x="247" y="752"/>
                      <a:pt x="247" y="754"/>
                    </a:cubicBezTo>
                    <a:cubicBezTo>
                      <a:pt x="248" y="758"/>
                      <a:pt x="250" y="762"/>
                      <a:pt x="251" y="765"/>
                    </a:cubicBezTo>
                    <a:cubicBezTo>
                      <a:pt x="252" y="764"/>
                      <a:pt x="253" y="762"/>
                      <a:pt x="253" y="760"/>
                    </a:cubicBezTo>
                    <a:cubicBezTo>
                      <a:pt x="253" y="763"/>
                      <a:pt x="253" y="766"/>
                      <a:pt x="253" y="769"/>
                    </a:cubicBezTo>
                    <a:lnTo>
                      <a:pt x="253" y="769"/>
                    </a:lnTo>
                    <a:cubicBezTo>
                      <a:pt x="253" y="770"/>
                      <a:pt x="254" y="771"/>
                      <a:pt x="254" y="772"/>
                    </a:cubicBezTo>
                    <a:cubicBezTo>
                      <a:pt x="254" y="772"/>
                      <a:pt x="255" y="772"/>
                      <a:pt x="255" y="771"/>
                    </a:cubicBezTo>
                    <a:cubicBezTo>
                      <a:pt x="256" y="768"/>
                      <a:pt x="256" y="765"/>
                      <a:pt x="256" y="762"/>
                    </a:cubicBezTo>
                    <a:cubicBezTo>
                      <a:pt x="256" y="759"/>
                      <a:pt x="256" y="756"/>
                      <a:pt x="256" y="753"/>
                    </a:cubicBezTo>
                    <a:cubicBezTo>
                      <a:pt x="256" y="751"/>
                      <a:pt x="258" y="747"/>
                      <a:pt x="259" y="744"/>
                    </a:cubicBezTo>
                    <a:cubicBezTo>
                      <a:pt x="258" y="749"/>
                      <a:pt x="259" y="755"/>
                      <a:pt x="261" y="760"/>
                    </a:cubicBezTo>
                    <a:cubicBezTo>
                      <a:pt x="261" y="760"/>
                      <a:pt x="261" y="760"/>
                      <a:pt x="261" y="759"/>
                    </a:cubicBezTo>
                    <a:cubicBezTo>
                      <a:pt x="261" y="758"/>
                      <a:pt x="263" y="754"/>
                      <a:pt x="264" y="753"/>
                    </a:cubicBezTo>
                    <a:cubicBezTo>
                      <a:pt x="264" y="752"/>
                      <a:pt x="266" y="750"/>
                      <a:pt x="266" y="749"/>
                    </a:cubicBezTo>
                    <a:cubicBezTo>
                      <a:pt x="264" y="754"/>
                      <a:pt x="263" y="760"/>
                      <a:pt x="263" y="765"/>
                    </a:cubicBezTo>
                    <a:cubicBezTo>
                      <a:pt x="264" y="768"/>
                      <a:pt x="265" y="770"/>
                      <a:pt x="266" y="772"/>
                    </a:cubicBezTo>
                    <a:cubicBezTo>
                      <a:pt x="267" y="773"/>
                      <a:pt x="267" y="774"/>
                      <a:pt x="267" y="774"/>
                    </a:cubicBezTo>
                    <a:cubicBezTo>
                      <a:pt x="269" y="770"/>
                      <a:pt x="270" y="765"/>
                      <a:pt x="270" y="761"/>
                    </a:cubicBezTo>
                    <a:cubicBezTo>
                      <a:pt x="270" y="762"/>
                      <a:pt x="271" y="763"/>
                      <a:pt x="271" y="764"/>
                    </a:cubicBezTo>
                    <a:cubicBezTo>
                      <a:pt x="271" y="758"/>
                      <a:pt x="270" y="751"/>
                      <a:pt x="269" y="745"/>
                    </a:cubicBezTo>
                    <a:cubicBezTo>
                      <a:pt x="269" y="739"/>
                      <a:pt x="267" y="733"/>
                      <a:pt x="266" y="726"/>
                    </a:cubicBezTo>
                    <a:cubicBezTo>
                      <a:pt x="266" y="728"/>
                      <a:pt x="268" y="731"/>
                      <a:pt x="269" y="731"/>
                    </a:cubicBezTo>
                    <a:cubicBezTo>
                      <a:pt x="270" y="734"/>
                      <a:pt x="272" y="739"/>
                      <a:pt x="273" y="743"/>
                    </a:cubicBezTo>
                    <a:cubicBezTo>
                      <a:pt x="274" y="747"/>
                      <a:pt x="277" y="754"/>
                      <a:pt x="279" y="759"/>
                    </a:cubicBezTo>
                    <a:cubicBezTo>
                      <a:pt x="279" y="760"/>
                      <a:pt x="280" y="760"/>
                      <a:pt x="280" y="761"/>
                    </a:cubicBezTo>
                    <a:cubicBezTo>
                      <a:pt x="281" y="761"/>
                      <a:pt x="281" y="760"/>
                      <a:pt x="281" y="760"/>
                    </a:cubicBezTo>
                    <a:lnTo>
                      <a:pt x="281" y="761"/>
                    </a:lnTo>
                    <a:cubicBezTo>
                      <a:pt x="282" y="762"/>
                      <a:pt x="284" y="763"/>
                      <a:pt x="286" y="763"/>
                    </a:cubicBezTo>
                    <a:cubicBezTo>
                      <a:pt x="286" y="763"/>
                      <a:pt x="286" y="763"/>
                      <a:pt x="286" y="763"/>
                    </a:cubicBezTo>
                    <a:cubicBezTo>
                      <a:pt x="286" y="762"/>
                      <a:pt x="286" y="762"/>
                      <a:pt x="286" y="762"/>
                    </a:cubicBezTo>
                    <a:cubicBezTo>
                      <a:pt x="286" y="760"/>
                      <a:pt x="286" y="758"/>
                      <a:pt x="286" y="758"/>
                    </a:cubicBezTo>
                    <a:cubicBezTo>
                      <a:pt x="286" y="753"/>
                      <a:pt x="285" y="748"/>
                      <a:pt x="285" y="743"/>
                    </a:cubicBezTo>
                    <a:cubicBezTo>
                      <a:pt x="285" y="747"/>
                      <a:pt x="287" y="750"/>
                      <a:pt x="289" y="753"/>
                    </a:cubicBezTo>
                    <a:cubicBezTo>
                      <a:pt x="290" y="748"/>
                      <a:pt x="290" y="744"/>
                      <a:pt x="287" y="736"/>
                    </a:cubicBezTo>
                    <a:cubicBezTo>
                      <a:pt x="290" y="740"/>
                      <a:pt x="297" y="746"/>
                      <a:pt x="294" y="756"/>
                    </a:cubicBezTo>
                    <a:cubicBezTo>
                      <a:pt x="294" y="757"/>
                      <a:pt x="294" y="757"/>
                      <a:pt x="294" y="758"/>
                    </a:cubicBezTo>
                    <a:cubicBezTo>
                      <a:pt x="295" y="759"/>
                      <a:pt x="297" y="760"/>
                      <a:pt x="298" y="760"/>
                    </a:cubicBezTo>
                    <a:cubicBezTo>
                      <a:pt x="299" y="759"/>
                      <a:pt x="300" y="758"/>
                      <a:pt x="300" y="757"/>
                    </a:cubicBezTo>
                    <a:cubicBezTo>
                      <a:pt x="300" y="757"/>
                      <a:pt x="300" y="756"/>
                      <a:pt x="300" y="756"/>
                    </a:cubicBezTo>
                    <a:cubicBezTo>
                      <a:pt x="301" y="754"/>
                      <a:pt x="302" y="750"/>
                      <a:pt x="303" y="748"/>
                    </a:cubicBezTo>
                    <a:cubicBezTo>
                      <a:pt x="303" y="740"/>
                      <a:pt x="304" y="730"/>
                      <a:pt x="299" y="724"/>
                    </a:cubicBezTo>
                    <a:cubicBezTo>
                      <a:pt x="305" y="729"/>
                      <a:pt x="307" y="735"/>
                      <a:pt x="309" y="741"/>
                    </a:cubicBezTo>
                    <a:cubicBezTo>
                      <a:pt x="310" y="748"/>
                      <a:pt x="310" y="754"/>
                      <a:pt x="311" y="761"/>
                    </a:cubicBezTo>
                    <a:cubicBezTo>
                      <a:pt x="311" y="755"/>
                      <a:pt x="312" y="750"/>
                      <a:pt x="313" y="745"/>
                    </a:cubicBezTo>
                    <a:cubicBezTo>
                      <a:pt x="313" y="741"/>
                      <a:pt x="315" y="736"/>
                      <a:pt x="316" y="730"/>
                    </a:cubicBezTo>
                    <a:cubicBezTo>
                      <a:pt x="319" y="724"/>
                      <a:pt x="320" y="718"/>
                      <a:pt x="321" y="713"/>
                    </a:cubicBezTo>
                    <a:cubicBezTo>
                      <a:pt x="322" y="708"/>
                      <a:pt x="321" y="704"/>
                      <a:pt x="318" y="700"/>
                    </a:cubicBezTo>
                    <a:cubicBezTo>
                      <a:pt x="330" y="700"/>
                      <a:pt x="327" y="720"/>
                      <a:pt x="326" y="728"/>
                    </a:cubicBezTo>
                    <a:cubicBezTo>
                      <a:pt x="325" y="735"/>
                      <a:pt x="324" y="741"/>
                      <a:pt x="324" y="745"/>
                    </a:cubicBezTo>
                    <a:cubicBezTo>
                      <a:pt x="324" y="750"/>
                      <a:pt x="325" y="754"/>
                      <a:pt x="330" y="759"/>
                    </a:cubicBezTo>
                    <a:cubicBezTo>
                      <a:pt x="330" y="758"/>
                      <a:pt x="330" y="756"/>
                      <a:pt x="330" y="754"/>
                    </a:cubicBezTo>
                    <a:cubicBezTo>
                      <a:pt x="329" y="749"/>
                      <a:pt x="330" y="744"/>
                      <a:pt x="330" y="740"/>
                    </a:cubicBezTo>
                    <a:cubicBezTo>
                      <a:pt x="331" y="736"/>
                      <a:pt x="333" y="731"/>
                      <a:pt x="334" y="725"/>
                    </a:cubicBezTo>
                    <a:cubicBezTo>
                      <a:pt x="334" y="730"/>
                      <a:pt x="335" y="738"/>
                      <a:pt x="338" y="744"/>
                    </a:cubicBezTo>
                    <a:cubicBezTo>
                      <a:pt x="340" y="750"/>
                      <a:pt x="344" y="755"/>
                      <a:pt x="349" y="7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" name="Freeform 71">
                <a:extLst>
                  <a:ext uri="{FF2B5EF4-FFF2-40B4-BE49-F238E27FC236}">
                    <a16:creationId xmlns:a16="http://schemas.microsoft.com/office/drawing/2014/main" id="{0DB01B94-E289-9384-BA17-C1FC675646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9851" y="3743980"/>
                <a:ext cx="1810" cy="1810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1 w 4"/>
                  <a:gd name="T5" fmla="*/ 2 h 2"/>
                  <a:gd name="T6" fmla="*/ 4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cubicBezTo>
                      <a:pt x="3" y="1"/>
                      <a:pt x="2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3" y="1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42" name="Line 72">
              <a:extLst>
                <a:ext uri="{FF2B5EF4-FFF2-40B4-BE49-F238E27FC236}">
                  <a16:creationId xmlns:a16="http://schemas.microsoft.com/office/drawing/2014/main" id="{B2338595-4481-0351-E152-364581AA8CC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228600" y="3438118"/>
              <a:ext cx="2880000" cy="0"/>
            </a:xfrm>
            <a:prstGeom prst="line">
              <a:avLst/>
            </a:prstGeom>
            <a:grp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333E447A-788B-30A8-EE96-ACC719701CE3}"/>
                </a:ext>
              </a:extLst>
            </p:cNvPr>
            <p:cNvGrpSpPr/>
            <p:nvPr userDrawn="1"/>
          </p:nvGrpSpPr>
          <p:grpSpPr>
            <a:xfrm>
              <a:off x="230912" y="2150376"/>
              <a:ext cx="2904030" cy="1130935"/>
              <a:chOff x="230912" y="1828800"/>
              <a:chExt cx="2904030" cy="1130935"/>
            </a:xfrm>
            <a:grpFill/>
          </p:grpSpPr>
          <p:sp>
            <p:nvSpPr>
              <p:cNvPr id="44" name="Freeform 5">
                <a:extLst>
                  <a:ext uri="{FF2B5EF4-FFF2-40B4-BE49-F238E27FC236}">
                    <a16:creationId xmlns:a16="http://schemas.microsoft.com/office/drawing/2014/main" id="{2EC2ECE4-2A6B-CE29-5A22-6E05938BD23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62437" y="2629387"/>
                <a:ext cx="333719" cy="330348"/>
              </a:xfrm>
              <a:custGeom>
                <a:avLst/>
                <a:gdLst>
                  <a:gd name="T0" fmla="*/ 864 w 870"/>
                  <a:gd name="T1" fmla="*/ 406 h 856"/>
                  <a:gd name="T2" fmla="*/ 435 w 870"/>
                  <a:gd name="T3" fmla="*/ 0 h 856"/>
                  <a:gd name="T4" fmla="*/ 0 w 870"/>
                  <a:gd name="T5" fmla="*/ 430 h 856"/>
                  <a:gd name="T6" fmla="*/ 432 w 870"/>
                  <a:gd name="T7" fmla="*/ 856 h 856"/>
                  <a:gd name="T8" fmla="*/ 735 w 870"/>
                  <a:gd name="T9" fmla="*/ 744 h 856"/>
                  <a:gd name="T10" fmla="*/ 864 w 870"/>
                  <a:gd name="T11" fmla="*/ 406 h 856"/>
                  <a:gd name="T12" fmla="*/ 665 w 870"/>
                  <a:gd name="T13" fmla="*/ 684 h 856"/>
                  <a:gd name="T14" fmla="*/ 434 w 870"/>
                  <a:gd name="T15" fmla="*/ 808 h 856"/>
                  <a:gd name="T16" fmla="*/ 148 w 870"/>
                  <a:gd name="T17" fmla="*/ 553 h 856"/>
                  <a:gd name="T18" fmla="*/ 136 w 870"/>
                  <a:gd name="T19" fmla="*/ 422 h 856"/>
                  <a:gd name="T20" fmla="*/ 304 w 870"/>
                  <a:gd name="T21" fmla="*/ 77 h 856"/>
                  <a:gd name="T22" fmla="*/ 431 w 870"/>
                  <a:gd name="T23" fmla="*/ 48 h 856"/>
                  <a:gd name="T24" fmla="*/ 655 w 870"/>
                  <a:gd name="T25" fmla="*/ 159 h 856"/>
                  <a:gd name="T26" fmla="*/ 727 w 870"/>
                  <a:gd name="T27" fmla="*/ 412 h 856"/>
                  <a:gd name="T28" fmla="*/ 665 w 870"/>
                  <a:gd name="T29" fmla="*/ 68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0" h="856">
                    <a:moveTo>
                      <a:pt x="864" y="406"/>
                    </a:moveTo>
                    <a:cubicBezTo>
                      <a:pt x="854" y="204"/>
                      <a:pt x="717" y="0"/>
                      <a:pt x="435" y="0"/>
                    </a:cubicBezTo>
                    <a:cubicBezTo>
                      <a:pt x="175" y="0"/>
                      <a:pt x="0" y="173"/>
                      <a:pt x="0" y="430"/>
                    </a:cubicBezTo>
                    <a:cubicBezTo>
                      <a:pt x="0" y="724"/>
                      <a:pt x="217" y="856"/>
                      <a:pt x="432" y="856"/>
                    </a:cubicBezTo>
                    <a:cubicBezTo>
                      <a:pt x="552" y="856"/>
                      <a:pt x="657" y="817"/>
                      <a:pt x="735" y="744"/>
                    </a:cubicBezTo>
                    <a:cubicBezTo>
                      <a:pt x="825" y="661"/>
                      <a:pt x="870" y="541"/>
                      <a:pt x="864" y="406"/>
                    </a:cubicBezTo>
                    <a:close/>
                    <a:moveTo>
                      <a:pt x="665" y="684"/>
                    </a:moveTo>
                    <a:cubicBezTo>
                      <a:pt x="590" y="796"/>
                      <a:pt x="478" y="808"/>
                      <a:pt x="434" y="808"/>
                    </a:cubicBezTo>
                    <a:cubicBezTo>
                      <a:pt x="395" y="808"/>
                      <a:pt x="199" y="796"/>
                      <a:pt x="148" y="553"/>
                    </a:cubicBezTo>
                    <a:cubicBezTo>
                      <a:pt x="140" y="514"/>
                      <a:pt x="136" y="471"/>
                      <a:pt x="136" y="422"/>
                    </a:cubicBezTo>
                    <a:cubicBezTo>
                      <a:pt x="136" y="249"/>
                      <a:pt x="193" y="133"/>
                      <a:pt x="304" y="77"/>
                    </a:cubicBezTo>
                    <a:cubicBezTo>
                      <a:pt x="341" y="58"/>
                      <a:pt x="386" y="48"/>
                      <a:pt x="431" y="48"/>
                    </a:cubicBezTo>
                    <a:cubicBezTo>
                      <a:pt x="546" y="48"/>
                      <a:pt x="617" y="109"/>
                      <a:pt x="655" y="159"/>
                    </a:cubicBezTo>
                    <a:cubicBezTo>
                      <a:pt x="717" y="243"/>
                      <a:pt x="726" y="344"/>
                      <a:pt x="727" y="412"/>
                    </a:cubicBezTo>
                    <a:cubicBezTo>
                      <a:pt x="729" y="526"/>
                      <a:pt x="708" y="617"/>
                      <a:pt x="665" y="6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6">
                <a:extLst>
                  <a:ext uri="{FF2B5EF4-FFF2-40B4-BE49-F238E27FC236}">
                    <a16:creationId xmlns:a16="http://schemas.microsoft.com/office/drawing/2014/main" id="{E6554A77-31A4-E492-C6C0-79DBA9C7F9D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97293" y="2632758"/>
                <a:ext cx="237649" cy="321921"/>
              </a:xfrm>
              <a:custGeom>
                <a:avLst/>
                <a:gdLst>
                  <a:gd name="T0" fmla="*/ 0 w 619"/>
                  <a:gd name="T1" fmla="*/ 839 h 839"/>
                  <a:gd name="T2" fmla="*/ 0 w 619"/>
                  <a:gd name="T3" fmla="*/ 0 h 839"/>
                  <a:gd name="T4" fmla="*/ 239 w 619"/>
                  <a:gd name="T5" fmla="*/ 0 h 839"/>
                  <a:gd name="T6" fmla="*/ 619 w 619"/>
                  <a:gd name="T7" fmla="*/ 230 h 839"/>
                  <a:gd name="T8" fmla="*/ 243 w 619"/>
                  <a:gd name="T9" fmla="*/ 461 h 839"/>
                  <a:gd name="T10" fmla="*/ 122 w 619"/>
                  <a:gd name="T11" fmla="*/ 461 h 839"/>
                  <a:gd name="T12" fmla="*/ 122 w 619"/>
                  <a:gd name="T13" fmla="*/ 839 h 839"/>
                  <a:gd name="T14" fmla="*/ 0 w 619"/>
                  <a:gd name="T15" fmla="*/ 839 h 839"/>
                  <a:gd name="T16" fmla="*/ 227 w 619"/>
                  <a:gd name="T17" fmla="*/ 40 h 839"/>
                  <a:gd name="T18" fmla="*/ 122 w 619"/>
                  <a:gd name="T19" fmla="*/ 49 h 839"/>
                  <a:gd name="T20" fmla="*/ 122 w 619"/>
                  <a:gd name="T21" fmla="*/ 412 h 839"/>
                  <a:gd name="T22" fmla="*/ 218 w 619"/>
                  <a:gd name="T23" fmla="*/ 412 h 839"/>
                  <a:gd name="T24" fmla="*/ 487 w 619"/>
                  <a:gd name="T25" fmla="*/ 231 h 839"/>
                  <a:gd name="T26" fmla="*/ 227 w 619"/>
                  <a:gd name="T27" fmla="*/ 4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9" h="839">
                    <a:moveTo>
                      <a:pt x="0" y="839"/>
                    </a:moveTo>
                    <a:lnTo>
                      <a:pt x="0" y="0"/>
                    </a:lnTo>
                    <a:lnTo>
                      <a:pt x="239" y="0"/>
                    </a:lnTo>
                    <a:cubicBezTo>
                      <a:pt x="494" y="0"/>
                      <a:pt x="619" y="76"/>
                      <a:pt x="619" y="230"/>
                    </a:cubicBezTo>
                    <a:cubicBezTo>
                      <a:pt x="619" y="446"/>
                      <a:pt x="356" y="461"/>
                      <a:pt x="243" y="461"/>
                    </a:cubicBezTo>
                    <a:lnTo>
                      <a:pt x="122" y="461"/>
                    </a:lnTo>
                    <a:lnTo>
                      <a:pt x="122" y="839"/>
                    </a:lnTo>
                    <a:lnTo>
                      <a:pt x="0" y="839"/>
                    </a:lnTo>
                    <a:close/>
                    <a:moveTo>
                      <a:pt x="227" y="40"/>
                    </a:moveTo>
                    <a:cubicBezTo>
                      <a:pt x="165" y="40"/>
                      <a:pt x="122" y="49"/>
                      <a:pt x="122" y="49"/>
                    </a:cubicBezTo>
                    <a:lnTo>
                      <a:pt x="122" y="412"/>
                    </a:lnTo>
                    <a:lnTo>
                      <a:pt x="218" y="412"/>
                    </a:lnTo>
                    <a:cubicBezTo>
                      <a:pt x="397" y="412"/>
                      <a:pt x="487" y="368"/>
                      <a:pt x="487" y="231"/>
                    </a:cubicBezTo>
                    <a:cubicBezTo>
                      <a:pt x="487" y="140"/>
                      <a:pt x="442" y="40"/>
                      <a:pt x="227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7">
                <a:extLst>
                  <a:ext uri="{FF2B5EF4-FFF2-40B4-BE49-F238E27FC236}">
                    <a16:creationId xmlns:a16="http://schemas.microsoft.com/office/drawing/2014/main" id="{765E7444-461B-6117-8B1F-D588A2543B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70316" y="2632758"/>
                <a:ext cx="242705" cy="326977"/>
              </a:xfrm>
              <a:custGeom>
                <a:avLst/>
                <a:gdLst>
                  <a:gd name="T0" fmla="*/ 336 w 631"/>
                  <a:gd name="T1" fmla="*/ 848 h 848"/>
                  <a:gd name="T2" fmla="*/ 29 w 631"/>
                  <a:gd name="T3" fmla="*/ 729 h 848"/>
                  <a:gd name="T4" fmla="*/ 0 w 631"/>
                  <a:gd name="T5" fmla="*/ 593 h 848"/>
                  <a:gd name="T6" fmla="*/ 0 w 631"/>
                  <a:gd name="T7" fmla="*/ 0 h 848"/>
                  <a:gd name="T8" fmla="*/ 122 w 631"/>
                  <a:gd name="T9" fmla="*/ 0 h 848"/>
                  <a:gd name="T10" fmla="*/ 122 w 631"/>
                  <a:gd name="T11" fmla="*/ 588 h 848"/>
                  <a:gd name="T12" fmla="*/ 336 w 631"/>
                  <a:gd name="T13" fmla="*/ 800 h 848"/>
                  <a:gd name="T14" fmla="*/ 545 w 631"/>
                  <a:gd name="T15" fmla="*/ 601 h 848"/>
                  <a:gd name="T16" fmla="*/ 545 w 631"/>
                  <a:gd name="T17" fmla="*/ 0 h 848"/>
                  <a:gd name="T18" fmla="*/ 631 w 631"/>
                  <a:gd name="T19" fmla="*/ 0 h 848"/>
                  <a:gd name="T20" fmla="*/ 631 w 631"/>
                  <a:gd name="T21" fmla="*/ 609 h 848"/>
                  <a:gd name="T22" fmla="*/ 604 w 631"/>
                  <a:gd name="T23" fmla="*/ 726 h 848"/>
                  <a:gd name="T24" fmla="*/ 336 w 631"/>
                  <a:gd name="T25" fmla="*/ 848 h 8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1" h="848">
                    <a:moveTo>
                      <a:pt x="336" y="848"/>
                    </a:moveTo>
                    <a:cubicBezTo>
                      <a:pt x="236" y="848"/>
                      <a:pt x="88" y="835"/>
                      <a:pt x="29" y="729"/>
                    </a:cubicBezTo>
                    <a:cubicBezTo>
                      <a:pt x="11" y="697"/>
                      <a:pt x="0" y="651"/>
                      <a:pt x="0" y="593"/>
                    </a:cubicBezTo>
                    <a:lnTo>
                      <a:pt x="0" y="0"/>
                    </a:lnTo>
                    <a:lnTo>
                      <a:pt x="122" y="0"/>
                    </a:lnTo>
                    <a:lnTo>
                      <a:pt x="122" y="588"/>
                    </a:lnTo>
                    <a:cubicBezTo>
                      <a:pt x="123" y="641"/>
                      <a:pt x="128" y="800"/>
                      <a:pt x="336" y="800"/>
                    </a:cubicBezTo>
                    <a:cubicBezTo>
                      <a:pt x="399" y="800"/>
                      <a:pt x="545" y="780"/>
                      <a:pt x="545" y="601"/>
                    </a:cubicBezTo>
                    <a:lnTo>
                      <a:pt x="545" y="0"/>
                    </a:lnTo>
                    <a:lnTo>
                      <a:pt x="631" y="0"/>
                    </a:lnTo>
                    <a:lnTo>
                      <a:pt x="631" y="609"/>
                    </a:lnTo>
                    <a:cubicBezTo>
                      <a:pt x="629" y="645"/>
                      <a:pt x="628" y="686"/>
                      <a:pt x="604" y="726"/>
                    </a:cubicBezTo>
                    <a:cubicBezTo>
                      <a:pt x="579" y="771"/>
                      <a:pt x="529" y="848"/>
                      <a:pt x="336" y="8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8">
                <a:extLst>
                  <a:ext uri="{FF2B5EF4-FFF2-40B4-BE49-F238E27FC236}">
                    <a16:creationId xmlns:a16="http://schemas.microsoft.com/office/drawing/2014/main" id="{F318F05F-EF78-E31D-A930-E934316B0C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83200" y="2629387"/>
                <a:ext cx="294954" cy="330348"/>
              </a:xfrm>
              <a:custGeom>
                <a:avLst/>
                <a:gdLst>
                  <a:gd name="T0" fmla="*/ 457 w 767"/>
                  <a:gd name="T1" fmla="*/ 856 h 856"/>
                  <a:gd name="T2" fmla="*/ 0 w 767"/>
                  <a:gd name="T3" fmla="*/ 428 h 856"/>
                  <a:gd name="T4" fmla="*/ 443 w 767"/>
                  <a:gd name="T5" fmla="*/ 0 h 856"/>
                  <a:gd name="T6" fmla="*/ 767 w 767"/>
                  <a:gd name="T7" fmla="*/ 156 h 856"/>
                  <a:gd name="T8" fmla="*/ 717 w 767"/>
                  <a:gd name="T9" fmla="*/ 208 h 856"/>
                  <a:gd name="T10" fmla="*/ 651 w 767"/>
                  <a:gd name="T11" fmla="*/ 163 h 856"/>
                  <a:gd name="T12" fmla="*/ 441 w 767"/>
                  <a:gd name="T13" fmla="*/ 48 h 856"/>
                  <a:gd name="T14" fmla="*/ 142 w 767"/>
                  <a:gd name="T15" fmla="*/ 407 h 856"/>
                  <a:gd name="T16" fmla="*/ 471 w 767"/>
                  <a:gd name="T17" fmla="*/ 808 h 856"/>
                  <a:gd name="T18" fmla="*/ 600 w 767"/>
                  <a:gd name="T19" fmla="*/ 779 h 856"/>
                  <a:gd name="T20" fmla="*/ 650 w 767"/>
                  <a:gd name="T21" fmla="*/ 668 h 856"/>
                  <a:gd name="T22" fmla="*/ 650 w 767"/>
                  <a:gd name="T23" fmla="*/ 469 h 856"/>
                  <a:gd name="T24" fmla="*/ 543 w 767"/>
                  <a:gd name="T25" fmla="*/ 469 h 856"/>
                  <a:gd name="T26" fmla="*/ 585 w 767"/>
                  <a:gd name="T27" fmla="*/ 420 h 856"/>
                  <a:gd name="T28" fmla="*/ 766 w 767"/>
                  <a:gd name="T29" fmla="*/ 420 h 856"/>
                  <a:gd name="T30" fmla="*/ 766 w 767"/>
                  <a:gd name="T31" fmla="*/ 746 h 856"/>
                  <a:gd name="T32" fmla="*/ 721 w 767"/>
                  <a:gd name="T33" fmla="*/ 788 h 856"/>
                  <a:gd name="T34" fmla="*/ 457 w 767"/>
                  <a:gd name="T35" fmla="*/ 856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67" h="856">
                    <a:moveTo>
                      <a:pt x="457" y="856"/>
                    </a:moveTo>
                    <a:cubicBezTo>
                      <a:pt x="33" y="856"/>
                      <a:pt x="0" y="529"/>
                      <a:pt x="0" y="428"/>
                    </a:cubicBezTo>
                    <a:cubicBezTo>
                      <a:pt x="0" y="172"/>
                      <a:pt x="178" y="0"/>
                      <a:pt x="443" y="0"/>
                    </a:cubicBezTo>
                    <a:cubicBezTo>
                      <a:pt x="671" y="0"/>
                      <a:pt x="767" y="112"/>
                      <a:pt x="767" y="156"/>
                    </a:cubicBezTo>
                    <a:cubicBezTo>
                      <a:pt x="767" y="182"/>
                      <a:pt x="741" y="208"/>
                      <a:pt x="717" y="208"/>
                    </a:cubicBezTo>
                    <a:cubicBezTo>
                      <a:pt x="686" y="208"/>
                      <a:pt x="673" y="193"/>
                      <a:pt x="651" y="163"/>
                    </a:cubicBezTo>
                    <a:cubicBezTo>
                      <a:pt x="619" y="120"/>
                      <a:pt x="565" y="48"/>
                      <a:pt x="441" y="48"/>
                    </a:cubicBezTo>
                    <a:cubicBezTo>
                      <a:pt x="259" y="48"/>
                      <a:pt x="142" y="182"/>
                      <a:pt x="142" y="407"/>
                    </a:cubicBezTo>
                    <a:cubicBezTo>
                      <a:pt x="142" y="654"/>
                      <a:pt x="268" y="808"/>
                      <a:pt x="471" y="808"/>
                    </a:cubicBezTo>
                    <a:cubicBezTo>
                      <a:pt x="521" y="808"/>
                      <a:pt x="569" y="797"/>
                      <a:pt x="600" y="779"/>
                    </a:cubicBezTo>
                    <a:cubicBezTo>
                      <a:pt x="650" y="748"/>
                      <a:pt x="650" y="706"/>
                      <a:pt x="650" y="668"/>
                    </a:cubicBezTo>
                    <a:lnTo>
                      <a:pt x="650" y="469"/>
                    </a:lnTo>
                    <a:lnTo>
                      <a:pt x="543" y="469"/>
                    </a:lnTo>
                    <a:lnTo>
                      <a:pt x="585" y="420"/>
                    </a:lnTo>
                    <a:lnTo>
                      <a:pt x="766" y="420"/>
                    </a:lnTo>
                    <a:lnTo>
                      <a:pt x="766" y="746"/>
                    </a:lnTo>
                    <a:cubicBezTo>
                      <a:pt x="756" y="759"/>
                      <a:pt x="741" y="773"/>
                      <a:pt x="721" y="788"/>
                    </a:cubicBezTo>
                    <a:cubicBezTo>
                      <a:pt x="682" y="817"/>
                      <a:pt x="613" y="856"/>
                      <a:pt x="457" y="8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9">
                <a:extLst>
                  <a:ext uri="{FF2B5EF4-FFF2-40B4-BE49-F238E27FC236}">
                    <a16:creationId xmlns:a16="http://schemas.microsoft.com/office/drawing/2014/main" id="{2B40564E-D0FF-478F-43DC-9A5B4E3BCAD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70854" y="2632758"/>
                <a:ext cx="247762" cy="321921"/>
              </a:xfrm>
              <a:custGeom>
                <a:avLst/>
                <a:gdLst>
                  <a:gd name="T0" fmla="*/ 646 w 646"/>
                  <a:gd name="T1" fmla="*/ 839 h 839"/>
                  <a:gd name="T2" fmla="*/ 358 w 646"/>
                  <a:gd name="T3" fmla="*/ 451 h 839"/>
                  <a:gd name="T4" fmla="*/ 410 w 646"/>
                  <a:gd name="T5" fmla="*/ 440 h 839"/>
                  <a:gd name="T6" fmla="*/ 601 w 646"/>
                  <a:gd name="T7" fmla="*/ 230 h 839"/>
                  <a:gd name="T8" fmla="*/ 514 w 646"/>
                  <a:gd name="T9" fmla="*/ 58 h 839"/>
                  <a:gd name="T10" fmla="*/ 231 w 646"/>
                  <a:gd name="T11" fmla="*/ 0 h 839"/>
                  <a:gd name="T12" fmla="*/ 0 w 646"/>
                  <a:gd name="T13" fmla="*/ 0 h 839"/>
                  <a:gd name="T14" fmla="*/ 0 w 646"/>
                  <a:gd name="T15" fmla="*/ 839 h 839"/>
                  <a:gd name="T16" fmla="*/ 121 w 646"/>
                  <a:gd name="T17" fmla="*/ 839 h 839"/>
                  <a:gd name="T18" fmla="*/ 121 w 646"/>
                  <a:gd name="T19" fmla="*/ 527 h 839"/>
                  <a:gd name="T20" fmla="*/ 196 w 646"/>
                  <a:gd name="T21" fmla="*/ 461 h 839"/>
                  <a:gd name="T22" fmla="*/ 279 w 646"/>
                  <a:gd name="T23" fmla="*/ 508 h 839"/>
                  <a:gd name="T24" fmla="*/ 513 w 646"/>
                  <a:gd name="T25" fmla="*/ 839 h 839"/>
                  <a:gd name="T26" fmla="*/ 646 w 646"/>
                  <a:gd name="T27" fmla="*/ 839 h 839"/>
                  <a:gd name="T28" fmla="*/ 258 w 646"/>
                  <a:gd name="T29" fmla="*/ 410 h 839"/>
                  <a:gd name="T30" fmla="*/ 210 w 646"/>
                  <a:gd name="T31" fmla="*/ 412 h 839"/>
                  <a:gd name="T32" fmla="*/ 121 w 646"/>
                  <a:gd name="T33" fmla="*/ 412 h 839"/>
                  <a:gd name="T34" fmla="*/ 121 w 646"/>
                  <a:gd name="T35" fmla="*/ 49 h 839"/>
                  <a:gd name="T36" fmla="*/ 224 w 646"/>
                  <a:gd name="T37" fmla="*/ 40 h 839"/>
                  <a:gd name="T38" fmla="*/ 469 w 646"/>
                  <a:gd name="T39" fmla="*/ 234 h 839"/>
                  <a:gd name="T40" fmla="*/ 258 w 646"/>
                  <a:gd name="T41" fmla="*/ 41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6" h="839">
                    <a:moveTo>
                      <a:pt x="646" y="839"/>
                    </a:moveTo>
                    <a:lnTo>
                      <a:pt x="358" y="451"/>
                    </a:lnTo>
                    <a:cubicBezTo>
                      <a:pt x="358" y="451"/>
                      <a:pt x="398" y="443"/>
                      <a:pt x="410" y="440"/>
                    </a:cubicBezTo>
                    <a:cubicBezTo>
                      <a:pt x="458" y="427"/>
                      <a:pt x="601" y="390"/>
                      <a:pt x="601" y="230"/>
                    </a:cubicBezTo>
                    <a:cubicBezTo>
                      <a:pt x="601" y="153"/>
                      <a:pt x="566" y="94"/>
                      <a:pt x="514" y="58"/>
                    </a:cubicBezTo>
                    <a:cubicBezTo>
                      <a:pt x="440" y="8"/>
                      <a:pt x="330" y="0"/>
                      <a:pt x="231" y="0"/>
                    </a:cubicBezTo>
                    <a:lnTo>
                      <a:pt x="0" y="0"/>
                    </a:lnTo>
                    <a:lnTo>
                      <a:pt x="0" y="839"/>
                    </a:lnTo>
                    <a:lnTo>
                      <a:pt x="121" y="839"/>
                    </a:lnTo>
                    <a:lnTo>
                      <a:pt x="121" y="527"/>
                    </a:lnTo>
                    <a:cubicBezTo>
                      <a:pt x="121" y="474"/>
                      <a:pt x="153" y="461"/>
                      <a:pt x="196" y="461"/>
                    </a:cubicBezTo>
                    <a:cubicBezTo>
                      <a:pt x="220" y="461"/>
                      <a:pt x="254" y="469"/>
                      <a:pt x="279" y="508"/>
                    </a:cubicBezTo>
                    <a:lnTo>
                      <a:pt x="513" y="839"/>
                    </a:lnTo>
                    <a:lnTo>
                      <a:pt x="646" y="839"/>
                    </a:lnTo>
                    <a:close/>
                    <a:moveTo>
                      <a:pt x="258" y="410"/>
                    </a:moveTo>
                    <a:cubicBezTo>
                      <a:pt x="242" y="412"/>
                      <a:pt x="229" y="412"/>
                      <a:pt x="210" y="412"/>
                    </a:cubicBezTo>
                    <a:lnTo>
                      <a:pt x="121" y="412"/>
                    </a:lnTo>
                    <a:lnTo>
                      <a:pt x="121" y="49"/>
                    </a:lnTo>
                    <a:cubicBezTo>
                      <a:pt x="121" y="49"/>
                      <a:pt x="163" y="40"/>
                      <a:pt x="224" y="40"/>
                    </a:cubicBezTo>
                    <a:cubicBezTo>
                      <a:pt x="387" y="40"/>
                      <a:pt x="469" y="110"/>
                      <a:pt x="469" y="234"/>
                    </a:cubicBezTo>
                    <a:cubicBezTo>
                      <a:pt x="469" y="359"/>
                      <a:pt x="390" y="397"/>
                      <a:pt x="258" y="4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10">
                <a:extLst>
                  <a:ext uri="{FF2B5EF4-FFF2-40B4-BE49-F238E27FC236}">
                    <a16:creationId xmlns:a16="http://schemas.microsoft.com/office/drawing/2014/main" id="{71F796B0-BFCD-DBAC-02B5-5F7C5A1C79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8330" y="1828800"/>
                <a:ext cx="1324763" cy="571367"/>
              </a:xfrm>
              <a:custGeom>
                <a:avLst/>
                <a:gdLst>
                  <a:gd name="T0" fmla="*/ 3369 w 3451"/>
                  <a:gd name="T1" fmla="*/ 1140 h 1483"/>
                  <a:gd name="T2" fmla="*/ 3309 w 3451"/>
                  <a:gd name="T3" fmla="*/ 1133 h 1483"/>
                  <a:gd name="T4" fmla="*/ 3226 w 3451"/>
                  <a:gd name="T5" fmla="*/ 1142 h 1483"/>
                  <a:gd name="T6" fmla="*/ 3249 w 3451"/>
                  <a:gd name="T7" fmla="*/ 1310 h 1483"/>
                  <a:gd name="T8" fmla="*/ 2720 w 3451"/>
                  <a:gd name="T9" fmla="*/ 1296 h 1483"/>
                  <a:gd name="T10" fmla="*/ 1915 w 3451"/>
                  <a:gd name="T11" fmla="*/ 339 h 1483"/>
                  <a:gd name="T12" fmla="*/ 920 w 3451"/>
                  <a:gd name="T13" fmla="*/ 132 h 1483"/>
                  <a:gd name="T14" fmla="*/ 629 w 3451"/>
                  <a:gd name="T15" fmla="*/ 1140 h 1483"/>
                  <a:gd name="T16" fmla="*/ 477 w 3451"/>
                  <a:gd name="T17" fmla="*/ 602 h 1483"/>
                  <a:gd name="T18" fmla="*/ 432 w 3451"/>
                  <a:gd name="T19" fmla="*/ 614 h 1483"/>
                  <a:gd name="T20" fmla="*/ 1 w 3451"/>
                  <a:gd name="T21" fmla="*/ 502 h 1483"/>
                  <a:gd name="T22" fmla="*/ 1 w 3451"/>
                  <a:gd name="T23" fmla="*/ 508 h 1483"/>
                  <a:gd name="T24" fmla="*/ 318 w 3451"/>
                  <a:gd name="T25" fmla="*/ 709 h 1483"/>
                  <a:gd name="T26" fmla="*/ 783 w 3451"/>
                  <a:gd name="T27" fmla="*/ 1225 h 1483"/>
                  <a:gd name="T28" fmla="*/ 721 w 3451"/>
                  <a:gd name="T29" fmla="*/ 716 h 1483"/>
                  <a:gd name="T30" fmla="*/ 1302 w 3451"/>
                  <a:gd name="T31" fmla="*/ 155 h 1483"/>
                  <a:gd name="T32" fmla="*/ 2060 w 3451"/>
                  <a:gd name="T33" fmla="*/ 739 h 1483"/>
                  <a:gd name="T34" fmla="*/ 2831 w 3451"/>
                  <a:gd name="T35" fmla="*/ 1417 h 1483"/>
                  <a:gd name="T36" fmla="*/ 3332 w 3451"/>
                  <a:gd name="T37" fmla="*/ 1403 h 1483"/>
                  <a:gd name="T38" fmla="*/ 3369 w 3451"/>
                  <a:gd name="T39" fmla="*/ 1140 h 1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451" h="1483">
                    <a:moveTo>
                      <a:pt x="3369" y="1140"/>
                    </a:moveTo>
                    <a:cubicBezTo>
                      <a:pt x="3355" y="1137"/>
                      <a:pt x="3325" y="1134"/>
                      <a:pt x="3309" y="1133"/>
                    </a:cubicBezTo>
                    <a:cubicBezTo>
                      <a:pt x="3280" y="1132"/>
                      <a:pt x="3252" y="1136"/>
                      <a:pt x="3226" y="1142"/>
                    </a:cubicBezTo>
                    <a:cubicBezTo>
                      <a:pt x="3279" y="1188"/>
                      <a:pt x="3277" y="1256"/>
                      <a:pt x="3249" y="1310"/>
                    </a:cubicBezTo>
                    <a:cubicBezTo>
                      <a:pt x="3166" y="1476"/>
                      <a:pt x="2841" y="1377"/>
                      <a:pt x="2720" y="1296"/>
                    </a:cubicBezTo>
                    <a:cubicBezTo>
                      <a:pt x="2348" y="1048"/>
                      <a:pt x="2126" y="577"/>
                      <a:pt x="1915" y="339"/>
                    </a:cubicBezTo>
                    <a:cubicBezTo>
                      <a:pt x="1619" y="7"/>
                      <a:pt x="1185" y="0"/>
                      <a:pt x="920" y="132"/>
                    </a:cubicBezTo>
                    <a:cubicBezTo>
                      <a:pt x="590" y="296"/>
                      <a:pt x="509" y="754"/>
                      <a:pt x="629" y="1140"/>
                    </a:cubicBezTo>
                    <a:cubicBezTo>
                      <a:pt x="469" y="1092"/>
                      <a:pt x="401" y="783"/>
                      <a:pt x="477" y="602"/>
                    </a:cubicBezTo>
                    <a:cubicBezTo>
                      <a:pt x="463" y="606"/>
                      <a:pt x="448" y="610"/>
                      <a:pt x="432" y="614"/>
                    </a:cubicBezTo>
                    <a:cubicBezTo>
                      <a:pt x="262" y="653"/>
                      <a:pt x="95" y="605"/>
                      <a:pt x="1" y="502"/>
                    </a:cubicBezTo>
                    <a:cubicBezTo>
                      <a:pt x="0" y="504"/>
                      <a:pt x="0" y="506"/>
                      <a:pt x="1" y="508"/>
                    </a:cubicBezTo>
                    <a:cubicBezTo>
                      <a:pt x="54" y="629"/>
                      <a:pt x="163" y="706"/>
                      <a:pt x="318" y="709"/>
                    </a:cubicBezTo>
                    <a:cubicBezTo>
                      <a:pt x="308" y="1119"/>
                      <a:pt x="539" y="1245"/>
                      <a:pt x="783" y="1225"/>
                    </a:cubicBezTo>
                    <a:cubicBezTo>
                      <a:pt x="716" y="1100"/>
                      <a:pt x="698" y="880"/>
                      <a:pt x="721" y="716"/>
                    </a:cubicBezTo>
                    <a:cubicBezTo>
                      <a:pt x="743" y="563"/>
                      <a:pt x="878" y="167"/>
                      <a:pt x="1302" y="155"/>
                    </a:cubicBezTo>
                    <a:cubicBezTo>
                      <a:pt x="1710" y="143"/>
                      <a:pt x="1863" y="492"/>
                      <a:pt x="2060" y="739"/>
                    </a:cubicBezTo>
                    <a:cubicBezTo>
                      <a:pt x="2230" y="952"/>
                      <a:pt x="2501" y="1307"/>
                      <a:pt x="2831" y="1417"/>
                    </a:cubicBezTo>
                    <a:cubicBezTo>
                      <a:pt x="2984" y="1468"/>
                      <a:pt x="3195" y="1483"/>
                      <a:pt x="3332" y="1403"/>
                    </a:cubicBezTo>
                    <a:cubicBezTo>
                      <a:pt x="3417" y="1354"/>
                      <a:pt x="3451" y="1217"/>
                      <a:pt x="3369" y="11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11">
                <a:extLst>
                  <a:ext uri="{FF2B5EF4-FFF2-40B4-BE49-F238E27FC236}">
                    <a16:creationId xmlns:a16="http://schemas.microsoft.com/office/drawing/2014/main" id="{F06584E9-E2E8-EB3B-51B4-ED66623C71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8688" y="2273758"/>
                <a:ext cx="524175" cy="291583"/>
              </a:xfrm>
              <a:custGeom>
                <a:avLst/>
                <a:gdLst>
                  <a:gd name="T0" fmla="*/ 1257 w 1369"/>
                  <a:gd name="T1" fmla="*/ 706 h 756"/>
                  <a:gd name="T2" fmla="*/ 1001 w 1369"/>
                  <a:gd name="T3" fmla="*/ 535 h 756"/>
                  <a:gd name="T4" fmla="*/ 912 w 1369"/>
                  <a:gd name="T5" fmla="*/ 292 h 756"/>
                  <a:gd name="T6" fmla="*/ 915 w 1369"/>
                  <a:gd name="T7" fmla="*/ 255 h 756"/>
                  <a:gd name="T8" fmla="*/ 848 w 1369"/>
                  <a:gd name="T9" fmla="*/ 248 h 756"/>
                  <a:gd name="T10" fmla="*/ 764 w 1369"/>
                  <a:gd name="T11" fmla="*/ 257 h 756"/>
                  <a:gd name="T12" fmla="*/ 420 w 1369"/>
                  <a:gd name="T13" fmla="*/ 354 h 756"/>
                  <a:gd name="T14" fmla="*/ 134 w 1369"/>
                  <a:gd name="T15" fmla="*/ 21 h 756"/>
                  <a:gd name="T16" fmla="*/ 115 w 1369"/>
                  <a:gd name="T17" fmla="*/ 0 h 756"/>
                  <a:gd name="T18" fmla="*/ 0 w 1369"/>
                  <a:gd name="T19" fmla="*/ 38 h 756"/>
                  <a:gd name="T20" fmla="*/ 84 w 1369"/>
                  <a:gd name="T21" fmla="*/ 169 h 756"/>
                  <a:gd name="T22" fmla="*/ 380 w 1369"/>
                  <a:gd name="T23" fmla="*/ 391 h 756"/>
                  <a:gd name="T24" fmla="*/ 768 w 1369"/>
                  <a:gd name="T25" fmla="*/ 359 h 756"/>
                  <a:gd name="T26" fmla="*/ 876 w 1369"/>
                  <a:gd name="T27" fmla="*/ 567 h 756"/>
                  <a:gd name="T28" fmla="*/ 1158 w 1369"/>
                  <a:gd name="T29" fmla="*/ 732 h 756"/>
                  <a:gd name="T30" fmla="*/ 1369 w 1369"/>
                  <a:gd name="T31" fmla="*/ 735 h 756"/>
                  <a:gd name="T32" fmla="*/ 1257 w 1369"/>
                  <a:gd name="T33" fmla="*/ 706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69" h="756">
                    <a:moveTo>
                      <a:pt x="1257" y="706"/>
                    </a:moveTo>
                    <a:cubicBezTo>
                      <a:pt x="1149" y="670"/>
                      <a:pt x="1061" y="610"/>
                      <a:pt x="1001" y="535"/>
                    </a:cubicBezTo>
                    <a:cubicBezTo>
                      <a:pt x="944" y="465"/>
                      <a:pt x="911" y="375"/>
                      <a:pt x="912" y="292"/>
                    </a:cubicBezTo>
                    <a:cubicBezTo>
                      <a:pt x="912" y="279"/>
                      <a:pt x="915" y="255"/>
                      <a:pt x="915" y="255"/>
                    </a:cubicBezTo>
                    <a:cubicBezTo>
                      <a:pt x="915" y="255"/>
                      <a:pt x="883" y="248"/>
                      <a:pt x="848" y="248"/>
                    </a:cubicBezTo>
                    <a:cubicBezTo>
                      <a:pt x="791" y="248"/>
                      <a:pt x="764" y="257"/>
                      <a:pt x="764" y="257"/>
                    </a:cubicBezTo>
                    <a:cubicBezTo>
                      <a:pt x="764" y="257"/>
                      <a:pt x="631" y="406"/>
                      <a:pt x="420" y="354"/>
                    </a:cubicBezTo>
                    <a:cubicBezTo>
                      <a:pt x="219" y="304"/>
                      <a:pt x="225" y="126"/>
                      <a:pt x="134" y="21"/>
                    </a:cubicBezTo>
                    <a:cubicBezTo>
                      <a:pt x="128" y="13"/>
                      <a:pt x="122" y="7"/>
                      <a:pt x="115" y="0"/>
                    </a:cubicBezTo>
                    <a:lnTo>
                      <a:pt x="0" y="38"/>
                    </a:lnTo>
                    <a:cubicBezTo>
                      <a:pt x="28" y="69"/>
                      <a:pt x="57" y="111"/>
                      <a:pt x="84" y="169"/>
                    </a:cubicBezTo>
                    <a:cubicBezTo>
                      <a:pt x="123" y="256"/>
                      <a:pt x="214" y="355"/>
                      <a:pt x="380" y="391"/>
                    </a:cubicBezTo>
                    <a:cubicBezTo>
                      <a:pt x="503" y="418"/>
                      <a:pt x="639" y="411"/>
                      <a:pt x="768" y="359"/>
                    </a:cubicBezTo>
                    <a:cubicBezTo>
                      <a:pt x="782" y="433"/>
                      <a:pt x="820" y="506"/>
                      <a:pt x="876" y="567"/>
                    </a:cubicBezTo>
                    <a:cubicBezTo>
                      <a:pt x="942" y="639"/>
                      <a:pt x="1048" y="699"/>
                      <a:pt x="1158" y="732"/>
                    </a:cubicBezTo>
                    <a:cubicBezTo>
                      <a:pt x="1239" y="756"/>
                      <a:pt x="1330" y="754"/>
                      <a:pt x="1369" y="735"/>
                    </a:cubicBezTo>
                    <a:cubicBezTo>
                      <a:pt x="1331" y="728"/>
                      <a:pt x="1293" y="718"/>
                      <a:pt x="1257" y="7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12">
                <a:extLst>
                  <a:ext uri="{FF2B5EF4-FFF2-40B4-BE49-F238E27FC236}">
                    <a16:creationId xmlns:a16="http://schemas.microsoft.com/office/drawing/2014/main" id="{E1970180-826C-3DC8-BCE5-C868E35C7A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678" y="2074875"/>
                <a:ext cx="372485" cy="353944"/>
              </a:xfrm>
              <a:custGeom>
                <a:avLst/>
                <a:gdLst>
                  <a:gd name="T0" fmla="*/ 714 w 973"/>
                  <a:gd name="T1" fmla="*/ 43 h 919"/>
                  <a:gd name="T2" fmla="*/ 246 w 973"/>
                  <a:gd name="T3" fmla="*/ 151 h 919"/>
                  <a:gd name="T4" fmla="*/ 208 w 973"/>
                  <a:gd name="T5" fmla="*/ 877 h 919"/>
                  <a:gd name="T6" fmla="*/ 240 w 973"/>
                  <a:gd name="T7" fmla="*/ 912 h 919"/>
                  <a:gd name="T8" fmla="*/ 314 w 973"/>
                  <a:gd name="T9" fmla="*/ 912 h 919"/>
                  <a:gd name="T10" fmla="*/ 396 w 973"/>
                  <a:gd name="T11" fmla="*/ 879 h 919"/>
                  <a:gd name="T12" fmla="*/ 209 w 973"/>
                  <a:gd name="T13" fmla="*/ 575 h 919"/>
                  <a:gd name="T14" fmla="*/ 688 w 973"/>
                  <a:gd name="T15" fmla="*/ 98 h 919"/>
                  <a:gd name="T16" fmla="*/ 772 w 973"/>
                  <a:gd name="T17" fmla="*/ 320 h 919"/>
                  <a:gd name="T18" fmla="*/ 578 w 973"/>
                  <a:gd name="T19" fmla="*/ 371 h 919"/>
                  <a:gd name="T20" fmla="*/ 683 w 973"/>
                  <a:gd name="T21" fmla="*/ 473 h 919"/>
                  <a:gd name="T22" fmla="*/ 898 w 973"/>
                  <a:gd name="T23" fmla="*/ 348 h 919"/>
                  <a:gd name="T24" fmla="*/ 714 w 973"/>
                  <a:gd name="T25" fmla="*/ 43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73" h="919">
                    <a:moveTo>
                      <a:pt x="714" y="43"/>
                    </a:moveTo>
                    <a:cubicBezTo>
                      <a:pt x="514" y="0"/>
                      <a:pt x="346" y="70"/>
                      <a:pt x="246" y="151"/>
                    </a:cubicBezTo>
                    <a:cubicBezTo>
                      <a:pt x="0" y="348"/>
                      <a:pt x="25" y="659"/>
                      <a:pt x="208" y="877"/>
                    </a:cubicBezTo>
                    <a:cubicBezTo>
                      <a:pt x="218" y="889"/>
                      <a:pt x="240" y="912"/>
                      <a:pt x="240" y="912"/>
                    </a:cubicBezTo>
                    <a:cubicBezTo>
                      <a:pt x="240" y="912"/>
                      <a:pt x="266" y="919"/>
                      <a:pt x="314" y="912"/>
                    </a:cubicBezTo>
                    <a:cubicBezTo>
                      <a:pt x="348" y="907"/>
                      <a:pt x="396" y="879"/>
                      <a:pt x="396" y="879"/>
                    </a:cubicBezTo>
                    <a:cubicBezTo>
                      <a:pt x="396" y="879"/>
                      <a:pt x="245" y="761"/>
                      <a:pt x="209" y="575"/>
                    </a:cubicBezTo>
                    <a:cubicBezTo>
                      <a:pt x="145" y="243"/>
                      <a:pt x="437" y="52"/>
                      <a:pt x="688" y="98"/>
                    </a:cubicBezTo>
                    <a:cubicBezTo>
                      <a:pt x="831" y="124"/>
                      <a:pt x="842" y="257"/>
                      <a:pt x="772" y="320"/>
                    </a:cubicBezTo>
                    <a:cubicBezTo>
                      <a:pt x="708" y="377"/>
                      <a:pt x="622" y="376"/>
                      <a:pt x="578" y="371"/>
                    </a:cubicBezTo>
                    <a:cubicBezTo>
                      <a:pt x="616" y="392"/>
                      <a:pt x="653" y="427"/>
                      <a:pt x="683" y="473"/>
                    </a:cubicBezTo>
                    <a:cubicBezTo>
                      <a:pt x="683" y="473"/>
                      <a:pt x="819" y="458"/>
                      <a:pt x="898" y="348"/>
                    </a:cubicBezTo>
                    <a:cubicBezTo>
                      <a:pt x="973" y="245"/>
                      <a:pt x="913" y="86"/>
                      <a:pt x="71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Rectangle 13">
                <a:extLst>
                  <a:ext uri="{FF2B5EF4-FFF2-40B4-BE49-F238E27FC236}">
                    <a16:creationId xmlns:a16="http://schemas.microsoft.com/office/drawing/2014/main" id="{42FF2604-7BBD-FE62-7E1E-3DAA3637466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89912" y="2632758"/>
                <a:ext cx="64047" cy="3219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14">
                <a:extLst>
                  <a:ext uri="{FF2B5EF4-FFF2-40B4-BE49-F238E27FC236}">
                    <a16:creationId xmlns:a16="http://schemas.microsoft.com/office/drawing/2014/main" id="{7EE7D506-C306-01D8-B67A-E888639CF7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4313" y="2632758"/>
                <a:ext cx="215738" cy="321921"/>
              </a:xfrm>
              <a:custGeom>
                <a:avLst/>
                <a:gdLst>
                  <a:gd name="T0" fmla="*/ 0 w 562"/>
                  <a:gd name="T1" fmla="*/ 839 h 839"/>
                  <a:gd name="T2" fmla="*/ 0 w 562"/>
                  <a:gd name="T3" fmla="*/ 0 h 839"/>
                  <a:gd name="T4" fmla="*/ 164 w 562"/>
                  <a:gd name="T5" fmla="*/ 0 h 839"/>
                  <a:gd name="T6" fmla="*/ 164 w 562"/>
                  <a:gd name="T7" fmla="*/ 756 h 839"/>
                  <a:gd name="T8" fmla="*/ 485 w 562"/>
                  <a:gd name="T9" fmla="*/ 756 h 839"/>
                  <a:gd name="T10" fmla="*/ 562 w 562"/>
                  <a:gd name="T11" fmla="*/ 839 h 839"/>
                  <a:gd name="T12" fmla="*/ 0 w 562"/>
                  <a:gd name="T13" fmla="*/ 839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2" h="839">
                    <a:moveTo>
                      <a:pt x="0" y="839"/>
                    </a:moveTo>
                    <a:lnTo>
                      <a:pt x="0" y="0"/>
                    </a:lnTo>
                    <a:lnTo>
                      <a:pt x="164" y="0"/>
                    </a:lnTo>
                    <a:lnTo>
                      <a:pt x="164" y="756"/>
                    </a:lnTo>
                    <a:lnTo>
                      <a:pt x="485" y="756"/>
                    </a:lnTo>
                    <a:lnTo>
                      <a:pt x="562" y="839"/>
                    </a:lnTo>
                    <a:lnTo>
                      <a:pt x="0" y="8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15">
                <a:extLst>
                  <a:ext uri="{FF2B5EF4-FFF2-40B4-BE49-F238E27FC236}">
                    <a16:creationId xmlns:a16="http://schemas.microsoft.com/office/drawing/2014/main" id="{A14B59A8-0E5B-B22C-5E16-DAD915D209F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30912" y="2629387"/>
                <a:ext cx="267987" cy="330348"/>
              </a:xfrm>
              <a:custGeom>
                <a:avLst/>
                <a:gdLst>
                  <a:gd name="T0" fmla="*/ 0 w 698"/>
                  <a:gd name="T1" fmla="*/ 856 h 856"/>
                  <a:gd name="T2" fmla="*/ 0 w 698"/>
                  <a:gd name="T3" fmla="*/ 0 h 856"/>
                  <a:gd name="T4" fmla="*/ 250 w 698"/>
                  <a:gd name="T5" fmla="*/ 0 h 856"/>
                  <a:gd name="T6" fmla="*/ 537 w 698"/>
                  <a:gd name="T7" fmla="*/ 45 h 856"/>
                  <a:gd name="T8" fmla="*/ 641 w 698"/>
                  <a:gd name="T9" fmla="*/ 197 h 856"/>
                  <a:gd name="T10" fmla="*/ 488 w 698"/>
                  <a:gd name="T11" fmla="*/ 379 h 856"/>
                  <a:gd name="T12" fmla="*/ 443 w 698"/>
                  <a:gd name="T13" fmla="*/ 394 h 856"/>
                  <a:gd name="T14" fmla="*/ 501 w 698"/>
                  <a:gd name="T15" fmla="*/ 414 h 856"/>
                  <a:gd name="T16" fmla="*/ 698 w 698"/>
                  <a:gd name="T17" fmla="*/ 630 h 856"/>
                  <a:gd name="T18" fmla="*/ 541 w 698"/>
                  <a:gd name="T19" fmla="*/ 822 h 856"/>
                  <a:gd name="T20" fmla="*/ 250 w 698"/>
                  <a:gd name="T21" fmla="*/ 856 h 856"/>
                  <a:gd name="T22" fmla="*/ 0 w 698"/>
                  <a:gd name="T23" fmla="*/ 856 h 856"/>
                  <a:gd name="T24" fmla="*/ 161 w 698"/>
                  <a:gd name="T25" fmla="*/ 712 h 856"/>
                  <a:gd name="T26" fmla="*/ 177 w 698"/>
                  <a:gd name="T27" fmla="*/ 763 h 856"/>
                  <a:gd name="T28" fmla="*/ 277 w 698"/>
                  <a:gd name="T29" fmla="*/ 785 h 856"/>
                  <a:gd name="T30" fmla="*/ 528 w 698"/>
                  <a:gd name="T31" fmla="*/ 619 h 856"/>
                  <a:gd name="T32" fmla="*/ 267 w 698"/>
                  <a:gd name="T33" fmla="*/ 435 h 856"/>
                  <a:gd name="T34" fmla="*/ 251 w 698"/>
                  <a:gd name="T35" fmla="*/ 435 h 856"/>
                  <a:gd name="T36" fmla="*/ 161 w 698"/>
                  <a:gd name="T37" fmla="*/ 435 h 856"/>
                  <a:gd name="T38" fmla="*/ 161 w 698"/>
                  <a:gd name="T39" fmla="*/ 712 h 856"/>
                  <a:gd name="T40" fmla="*/ 296 w 698"/>
                  <a:gd name="T41" fmla="*/ 374 h 856"/>
                  <a:gd name="T42" fmla="*/ 479 w 698"/>
                  <a:gd name="T43" fmla="*/ 222 h 856"/>
                  <a:gd name="T44" fmla="*/ 260 w 698"/>
                  <a:gd name="T45" fmla="*/ 65 h 856"/>
                  <a:gd name="T46" fmla="*/ 177 w 698"/>
                  <a:gd name="T47" fmla="*/ 70 h 856"/>
                  <a:gd name="T48" fmla="*/ 161 w 698"/>
                  <a:gd name="T49" fmla="*/ 72 h 856"/>
                  <a:gd name="T50" fmla="*/ 161 w 698"/>
                  <a:gd name="T51" fmla="*/ 374 h 856"/>
                  <a:gd name="T52" fmla="*/ 296 w 698"/>
                  <a:gd name="T53" fmla="*/ 37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8" h="856">
                    <a:moveTo>
                      <a:pt x="0" y="856"/>
                    </a:moveTo>
                    <a:lnTo>
                      <a:pt x="0" y="0"/>
                    </a:lnTo>
                    <a:lnTo>
                      <a:pt x="250" y="0"/>
                    </a:lnTo>
                    <a:cubicBezTo>
                      <a:pt x="342" y="0"/>
                      <a:pt x="457" y="5"/>
                      <a:pt x="537" y="45"/>
                    </a:cubicBezTo>
                    <a:cubicBezTo>
                      <a:pt x="605" y="80"/>
                      <a:pt x="641" y="132"/>
                      <a:pt x="641" y="197"/>
                    </a:cubicBezTo>
                    <a:cubicBezTo>
                      <a:pt x="641" y="289"/>
                      <a:pt x="562" y="352"/>
                      <a:pt x="488" y="379"/>
                    </a:cubicBezTo>
                    <a:cubicBezTo>
                      <a:pt x="468" y="386"/>
                      <a:pt x="454" y="391"/>
                      <a:pt x="443" y="394"/>
                    </a:cubicBezTo>
                    <a:cubicBezTo>
                      <a:pt x="459" y="399"/>
                      <a:pt x="481" y="406"/>
                      <a:pt x="501" y="414"/>
                    </a:cubicBezTo>
                    <a:cubicBezTo>
                      <a:pt x="673" y="480"/>
                      <a:pt x="698" y="578"/>
                      <a:pt x="698" y="630"/>
                    </a:cubicBezTo>
                    <a:cubicBezTo>
                      <a:pt x="698" y="740"/>
                      <a:pt x="612" y="795"/>
                      <a:pt x="541" y="822"/>
                    </a:cubicBezTo>
                    <a:cubicBezTo>
                      <a:pt x="471" y="845"/>
                      <a:pt x="381" y="856"/>
                      <a:pt x="250" y="856"/>
                    </a:cubicBezTo>
                    <a:lnTo>
                      <a:pt x="0" y="856"/>
                    </a:lnTo>
                    <a:close/>
                    <a:moveTo>
                      <a:pt x="161" y="712"/>
                    </a:moveTo>
                    <a:cubicBezTo>
                      <a:pt x="161" y="728"/>
                      <a:pt x="160" y="748"/>
                      <a:pt x="177" y="763"/>
                    </a:cubicBezTo>
                    <a:cubicBezTo>
                      <a:pt x="194" y="779"/>
                      <a:pt x="225" y="785"/>
                      <a:pt x="277" y="785"/>
                    </a:cubicBezTo>
                    <a:cubicBezTo>
                      <a:pt x="439" y="785"/>
                      <a:pt x="528" y="726"/>
                      <a:pt x="528" y="619"/>
                    </a:cubicBezTo>
                    <a:cubicBezTo>
                      <a:pt x="528" y="505"/>
                      <a:pt x="440" y="443"/>
                      <a:pt x="267" y="435"/>
                    </a:cubicBezTo>
                    <a:cubicBezTo>
                      <a:pt x="266" y="435"/>
                      <a:pt x="252" y="435"/>
                      <a:pt x="251" y="435"/>
                    </a:cubicBezTo>
                    <a:lnTo>
                      <a:pt x="161" y="435"/>
                    </a:lnTo>
                    <a:lnTo>
                      <a:pt x="161" y="712"/>
                    </a:lnTo>
                    <a:close/>
                    <a:moveTo>
                      <a:pt x="296" y="374"/>
                    </a:moveTo>
                    <a:cubicBezTo>
                      <a:pt x="425" y="374"/>
                      <a:pt x="479" y="265"/>
                      <a:pt x="479" y="222"/>
                    </a:cubicBezTo>
                    <a:cubicBezTo>
                      <a:pt x="479" y="122"/>
                      <a:pt x="399" y="65"/>
                      <a:pt x="260" y="65"/>
                    </a:cubicBezTo>
                    <a:cubicBezTo>
                      <a:pt x="228" y="65"/>
                      <a:pt x="209" y="67"/>
                      <a:pt x="177" y="70"/>
                    </a:cubicBezTo>
                    <a:lnTo>
                      <a:pt x="161" y="72"/>
                    </a:lnTo>
                    <a:lnTo>
                      <a:pt x="161" y="374"/>
                    </a:lnTo>
                    <a:lnTo>
                      <a:pt x="296" y="3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6">
                <a:extLst>
                  <a:ext uri="{FF2B5EF4-FFF2-40B4-BE49-F238E27FC236}">
                    <a16:creationId xmlns:a16="http://schemas.microsoft.com/office/drawing/2014/main" id="{6591EBF3-B261-1FD4-98E0-0F2AE8CE266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5086" y="2632758"/>
                <a:ext cx="276414" cy="321921"/>
              </a:xfrm>
              <a:custGeom>
                <a:avLst/>
                <a:gdLst>
                  <a:gd name="T0" fmla="*/ 558 w 723"/>
                  <a:gd name="T1" fmla="*/ 0 h 839"/>
                  <a:gd name="T2" fmla="*/ 558 w 723"/>
                  <a:gd name="T3" fmla="*/ 364 h 839"/>
                  <a:gd name="T4" fmla="*/ 165 w 723"/>
                  <a:gd name="T5" fmla="*/ 364 h 839"/>
                  <a:gd name="T6" fmla="*/ 165 w 723"/>
                  <a:gd name="T7" fmla="*/ 0 h 839"/>
                  <a:gd name="T8" fmla="*/ 0 w 723"/>
                  <a:gd name="T9" fmla="*/ 0 h 839"/>
                  <a:gd name="T10" fmla="*/ 0 w 723"/>
                  <a:gd name="T11" fmla="*/ 839 h 839"/>
                  <a:gd name="T12" fmla="*/ 165 w 723"/>
                  <a:gd name="T13" fmla="*/ 839 h 839"/>
                  <a:gd name="T14" fmla="*/ 165 w 723"/>
                  <a:gd name="T15" fmla="*/ 480 h 839"/>
                  <a:gd name="T16" fmla="*/ 212 w 723"/>
                  <a:gd name="T17" fmla="*/ 442 h 839"/>
                  <a:gd name="T18" fmla="*/ 512 w 723"/>
                  <a:gd name="T19" fmla="*/ 442 h 839"/>
                  <a:gd name="T20" fmla="*/ 558 w 723"/>
                  <a:gd name="T21" fmla="*/ 480 h 839"/>
                  <a:gd name="T22" fmla="*/ 558 w 723"/>
                  <a:gd name="T23" fmla="*/ 839 h 839"/>
                  <a:gd name="T24" fmla="*/ 723 w 723"/>
                  <a:gd name="T25" fmla="*/ 839 h 839"/>
                  <a:gd name="T26" fmla="*/ 723 w 723"/>
                  <a:gd name="T27" fmla="*/ 0 h 839"/>
                  <a:gd name="T28" fmla="*/ 558 w 723"/>
                  <a:gd name="T29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23" h="839">
                    <a:moveTo>
                      <a:pt x="558" y="0"/>
                    </a:moveTo>
                    <a:lnTo>
                      <a:pt x="558" y="364"/>
                    </a:lnTo>
                    <a:lnTo>
                      <a:pt x="165" y="364"/>
                    </a:lnTo>
                    <a:lnTo>
                      <a:pt x="165" y="0"/>
                    </a:lnTo>
                    <a:lnTo>
                      <a:pt x="0" y="0"/>
                    </a:lnTo>
                    <a:lnTo>
                      <a:pt x="0" y="839"/>
                    </a:lnTo>
                    <a:lnTo>
                      <a:pt x="165" y="839"/>
                    </a:lnTo>
                    <a:lnTo>
                      <a:pt x="165" y="480"/>
                    </a:lnTo>
                    <a:cubicBezTo>
                      <a:pt x="165" y="454"/>
                      <a:pt x="189" y="442"/>
                      <a:pt x="212" y="442"/>
                    </a:cubicBezTo>
                    <a:lnTo>
                      <a:pt x="512" y="442"/>
                    </a:lnTo>
                    <a:cubicBezTo>
                      <a:pt x="535" y="442"/>
                      <a:pt x="558" y="454"/>
                      <a:pt x="558" y="480"/>
                    </a:cubicBezTo>
                    <a:lnTo>
                      <a:pt x="558" y="839"/>
                    </a:lnTo>
                    <a:lnTo>
                      <a:pt x="723" y="839"/>
                    </a:lnTo>
                    <a:lnTo>
                      <a:pt x="723" y="0"/>
                    </a:lnTo>
                    <a:lnTo>
                      <a:pt x="55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83" name="Title 182">
            <a:extLst>
              <a:ext uri="{FF2B5EF4-FFF2-40B4-BE49-F238E27FC236}">
                <a16:creationId xmlns:a16="http://schemas.microsoft.com/office/drawing/2014/main" id="{A4CD6AF7-20E5-CD7A-27DC-FA86559BC4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39321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CC684487-180B-46EB-9A00-CB18D4E3934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15900" y="1366838"/>
            <a:ext cx="11758613" cy="4949825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1033B3D-C89B-45E6-93B3-B1C811BC4C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rot="5400000">
            <a:off x="807473" y="1241154"/>
            <a:ext cx="309562" cy="1428292"/>
          </a:xfrm>
        </p:spPr>
        <p:txBody>
          <a:bodyPr vert="vert270" wrap="none" lIns="0" tIns="180000" rIns="72000" bIns="0" anchor="b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2B0A1E-CDDD-413F-B0D9-1F9FFC2C36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04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5260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6" userDrawn="1">
          <p15:clr>
            <a:srgbClr val="FBAE40"/>
          </p15:clr>
        </p15:guide>
        <p15:guide id="2" pos="6624" userDrawn="1">
          <p15:clr>
            <a:srgbClr val="FBAE40"/>
          </p15:clr>
        </p15:guide>
        <p15:guide id="3" orient="horz" pos="1392" userDrawn="1">
          <p15:clr>
            <a:srgbClr val="FBAE40"/>
          </p15:clr>
        </p15:guide>
        <p15:guide id="4" orient="horz" pos="33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CC684487-180B-46EB-9A00-CB18D4E3934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15900" y="1366838"/>
            <a:ext cx="11758613" cy="4949825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1033B3D-C89B-45E6-93B3-B1C811BC4C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2829154"/>
            <a:ext cx="309562" cy="1428292"/>
          </a:xfrm>
        </p:spPr>
        <p:txBody>
          <a:bodyPr vert="vert270" wrap="none" lIns="0" tIns="180000" rIns="72000" bIns="0" anchor="b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2B0A1E-CDDD-413F-B0D9-1F9FFC2C36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04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3808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8" userDrawn="1">
          <p15:clr>
            <a:srgbClr val="FBAE40"/>
          </p15:clr>
        </p15:guide>
        <p15:guide id="2" pos="6912" userDrawn="1">
          <p15:clr>
            <a:srgbClr val="FBAE40"/>
          </p15:clr>
        </p15:guide>
        <p15:guide id="3" orient="horz" pos="1104" userDrawn="1">
          <p15:clr>
            <a:srgbClr val="FBAE40"/>
          </p15:clr>
        </p15:guide>
        <p15:guide id="4" orient="horz" pos="33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0037B2F-F50B-AAAA-2640-CB60E2C7135A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4DA0ABF-F073-452B-B07F-05F7C874D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021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4DA0ABF-F073-452B-B07F-05F7C874D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D3CFB20-3C71-4644-BAD2-9FA04D7E0F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AD64D1-4D2E-4D76-8801-1AA3A1D58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83557B7D-64A3-4402-95FC-77BBD6D314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5900" y="838199"/>
            <a:ext cx="9918700" cy="457201"/>
          </a:xfrm>
        </p:spPr>
        <p:txBody>
          <a:bodyPr anchor="ctr"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1033B3D-C89B-45E6-93B3-B1C811BC4C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2829154"/>
            <a:ext cx="309562" cy="1428292"/>
          </a:xfrm>
        </p:spPr>
        <p:txBody>
          <a:bodyPr vert="vert270" wrap="none" lIns="0" tIns="180000" rIns="72000" bIns="0" anchor="b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F4C774-5455-8A1D-B7E4-526F52B38D87}"/>
              </a:ext>
            </a:extLst>
          </p:cNvPr>
          <p:cNvSpPr/>
          <p:nvPr userDrawn="1"/>
        </p:nvSpPr>
        <p:spPr>
          <a:xfrm>
            <a:off x="0" y="1313468"/>
            <a:ext cx="12192000" cy="119176"/>
          </a:xfrm>
          <a:prstGeom prst="rect">
            <a:avLst/>
          </a:prstGeom>
          <a:solidFill>
            <a:srgbClr val="CAB9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CC684487-180B-46EB-9A00-CB18D4E39344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215900" y="1366838"/>
            <a:ext cx="11758613" cy="4949825"/>
          </a:xfrm>
        </p:spPr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2B0A1E-CDDD-413F-B0D9-1F9FFC2C363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0400" y="1366838"/>
            <a:ext cx="5789613" cy="381000"/>
          </a:xfrm>
        </p:spPr>
        <p:txBody>
          <a:bodyPr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5653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8" userDrawn="1">
          <p15:clr>
            <a:srgbClr val="FBAE40"/>
          </p15:clr>
        </p15:guide>
        <p15:guide id="2" pos="6912" userDrawn="1">
          <p15:clr>
            <a:srgbClr val="FBAE40"/>
          </p15:clr>
        </p15:guide>
        <p15:guide id="3" orient="horz" pos="1104" userDrawn="1">
          <p15:clr>
            <a:srgbClr val="FBAE40"/>
          </p15:clr>
        </p15:guide>
        <p15:guide id="4" orient="horz" pos="33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5135F08-9B23-8E0C-B264-D984930A7BC1}"/>
              </a:ext>
            </a:extLst>
          </p:cNvPr>
          <p:cNvSpPr/>
          <p:nvPr userDrawn="1"/>
        </p:nvSpPr>
        <p:spPr>
          <a:xfrm>
            <a:off x="0" y="1313468"/>
            <a:ext cx="12192000" cy="5087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B70518A9-C04E-484D-B5F2-112CC8EA6D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2216017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360" imgH="360" progId="TCLayout.ActiveDocument.1">
                  <p:embed/>
                </p:oleObj>
              </mc:Choice>
              <mc:Fallback>
                <p:oleObj name="think-cell Slide" r:id="rId46" imgW="360" imgH="360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B70518A9-C04E-484D-B5F2-112CC8EA6D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42C87E1E-87ED-478C-8D27-4A4AF911F71A}"/>
              </a:ext>
            </a:extLst>
          </p:cNvPr>
          <p:cNvGrpSpPr/>
          <p:nvPr userDrawn="1"/>
        </p:nvGrpSpPr>
        <p:grpSpPr>
          <a:xfrm>
            <a:off x="10279756" y="150829"/>
            <a:ext cx="1682860" cy="838987"/>
            <a:chOff x="623888" y="300038"/>
            <a:chExt cx="2735263" cy="1363663"/>
          </a:xfrm>
          <a:solidFill>
            <a:schemeClr val="bg1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37C731C1-9E17-40AB-A2F3-0247B2B3B4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443163" y="1054100"/>
              <a:ext cx="314325" cy="311150"/>
            </a:xfrm>
            <a:custGeom>
              <a:avLst/>
              <a:gdLst>
                <a:gd name="T0" fmla="*/ 864 w 870"/>
                <a:gd name="T1" fmla="*/ 406 h 856"/>
                <a:gd name="T2" fmla="*/ 435 w 870"/>
                <a:gd name="T3" fmla="*/ 0 h 856"/>
                <a:gd name="T4" fmla="*/ 0 w 870"/>
                <a:gd name="T5" fmla="*/ 430 h 856"/>
                <a:gd name="T6" fmla="*/ 432 w 870"/>
                <a:gd name="T7" fmla="*/ 856 h 856"/>
                <a:gd name="T8" fmla="*/ 735 w 870"/>
                <a:gd name="T9" fmla="*/ 744 h 856"/>
                <a:gd name="T10" fmla="*/ 864 w 870"/>
                <a:gd name="T11" fmla="*/ 406 h 856"/>
                <a:gd name="T12" fmla="*/ 665 w 870"/>
                <a:gd name="T13" fmla="*/ 684 h 856"/>
                <a:gd name="T14" fmla="*/ 434 w 870"/>
                <a:gd name="T15" fmla="*/ 808 h 856"/>
                <a:gd name="T16" fmla="*/ 148 w 870"/>
                <a:gd name="T17" fmla="*/ 553 h 856"/>
                <a:gd name="T18" fmla="*/ 136 w 870"/>
                <a:gd name="T19" fmla="*/ 422 h 856"/>
                <a:gd name="T20" fmla="*/ 304 w 870"/>
                <a:gd name="T21" fmla="*/ 77 h 856"/>
                <a:gd name="T22" fmla="*/ 431 w 870"/>
                <a:gd name="T23" fmla="*/ 48 h 856"/>
                <a:gd name="T24" fmla="*/ 655 w 870"/>
                <a:gd name="T25" fmla="*/ 159 h 856"/>
                <a:gd name="T26" fmla="*/ 727 w 870"/>
                <a:gd name="T27" fmla="*/ 412 h 856"/>
                <a:gd name="T28" fmla="*/ 665 w 870"/>
                <a:gd name="T29" fmla="*/ 684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0" h="856">
                  <a:moveTo>
                    <a:pt x="864" y="406"/>
                  </a:moveTo>
                  <a:cubicBezTo>
                    <a:pt x="854" y="204"/>
                    <a:pt x="717" y="0"/>
                    <a:pt x="435" y="0"/>
                  </a:cubicBezTo>
                  <a:cubicBezTo>
                    <a:pt x="175" y="0"/>
                    <a:pt x="0" y="173"/>
                    <a:pt x="0" y="430"/>
                  </a:cubicBezTo>
                  <a:cubicBezTo>
                    <a:pt x="0" y="724"/>
                    <a:pt x="217" y="856"/>
                    <a:pt x="432" y="856"/>
                  </a:cubicBezTo>
                  <a:cubicBezTo>
                    <a:pt x="552" y="856"/>
                    <a:pt x="657" y="817"/>
                    <a:pt x="735" y="744"/>
                  </a:cubicBezTo>
                  <a:cubicBezTo>
                    <a:pt x="825" y="661"/>
                    <a:pt x="870" y="541"/>
                    <a:pt x="864" y="406"/>
                  </a:cubicBezTo>
                  <a:close/>
                  <a:moveTo>
                    <a:pt x="665" y="684"/>
                  </a:moveTo>
                  <a:cubicBezTo>
                    <a:pt x="590" y="796"/>
                    <a:pt x="478" y="808"/>
                    <a:pt x="434" y="808"/>
                  </a:cubicBezTo>
                  <a:cubicBezTo>
                    <a:pt x="395" y="808"/>
                    <a:pt x="199" y="796"/>
                    <a:pt x="148" y="553"/>
                  </a:cubicBezTo>
                  <a:cubicBezTo>
                    <a:pt x="140" y="514"/>
                    <a:pt x="136" y="471"/>
                    <a:pt x="136" y="422"/>
                  </a:cubicBezTo>
                  <a:cubicBezTo>
                    <a:pt x="136" y="249"/>
                    <a:pt x="193" y="133"/>
                    <a:pt x="304" y="77"/>
                  </a:cubicBezTo>
                  <a:cubicBezTo>
                    <a:pt x="341" y="58"/>
                    <a:pt x="386" y="48"/>
                    <a:pt x="431" y="48"/>
                  </a:cubicBezTo>
                  <a:cubicBezTo>
                    <a:pt x="546" y="48"/>
                    <a:pt x="617" y="109"/>
                    <a:pt x="655" y="159"/>
                  </a:cubicBezTo>
                  <a:cubicBezTo>
                    <a:pt x="717" y="243"/>
                    <a:pt x="726" y="344"/>
                    <a:pt x="727" y="412"/>
                  </a:cubicBezTo>
                  <a:cubicBezTo>
                    <a:pt x="729" y="526"/>
                    <a:pt x="708" y="617"/>
                    <a:pt x="665" y="6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CABDD817-E9C8-4E75-BF04-B56CEDAF16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135313" y="1057275"/>
              <a:ext cx="223838" cy="303213"/>
            </a:xfrm>
            <a:custGeom>
              <a:avLst/>
              <a:gdLst>
                <a:gd name="T0" fmla="*/ 0 w 619"/>
                <a:gd name="T1" fmla="*/ 839 h 839"/>
                <a:gd name="T2" fmla="*/ 0 w 619"/>
                <a:gd name="T3" fmla="*/ 0 h 839"/>
                <a:gd name="T4" fmla="*/ 239 w 619"/>
                <a:gd name="T5" fmla="*/ 0 h 839"/>
                <a:gd name="T6" fmla="*/ 619 w 619"/>
                <a:gd name="T7" fmla="*/ 230 h 839"/>
                <a:gd name="T8" fmla="*/ 243 w 619"/>
                <a:gd name="T9" fmla="*/ 461 h 839"/>
                <a:gd name="T10" fmla="*/ 122 w 619"/>
                <a:gd name="T11" fmla="*/ 461 h 839"/>
                <a:gd name="T12" fmla="*/ 122 w 619"/>
                <a:gd name="T13" fmla="*/ 839 h 839"/>
                <a:gd name="T14" fmla="*/ 0 w 619"/>
                <a:gd name="T15" fmla="*/ 839 h 839"/>
                <a:gd name="T16" fmla="*/ 227 w 619"/>
                <a:gd name="T17" fmla="*/ 40 h 839"/>
                <a:gd name="T18" fmla="*/ 122 w 619"/>
                <a:gd name="T19" fmla="*/ 49 h 839"/>
                <a:gd name="T20" fmla="*/ 122 w 619"/>
                <a:gd name="T21" fmla="*/ 412 h 839"/>
                <a:gd name="T22" fmla="*/ 218 w 619"/>
                <a:gd name="T23" fmla="*/ 412 h 839"/>
                <a:gd name="T24" fmla="*/ 487 w 619"/>
                <a:gd name="T25" fmla="*/ 231 h 839"/>
                <a:gd name="T26" fmla="*/ 227 w 619"/>
                <a:gd name="T27" fmla="*/ 4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9" h="839">
                  <a:moveTo>
                    <a:pt x="0" y="839"/>
                  </a:moveTo>
                  <a:lnTo>
                    <a:pt x="0" y="0"/>
                  </a:lnTo>
                  <a:lnTo>
                    <a:pt x="239" y="0"/>
                  </a:lnTo>
                  <a:cubicBezTo>
                    <a:pt x="494" y="0"/>
                    <a:pt x="619" y="76"/>
                    <a:pt x="619" y="230"/>
                  </a:cubicBezTo>
                  <a:cubicBezTo>
                    <a:pt x="619" y="446"/>
                    <a:pt x="356" y="461"/>
                    <a:pt x="243" y="461"/>
                  </a:cubicBezTo>
                  <a:lnTo>
                    <a:pt x="122" y="461"/>
                  </a:lnTo>
                  <a:lnTo>
                    <a:pt x="122" y="839"/>
                  </a:lnTo>
                  <a:lnTo>
                    <a:pt x="0" y="839"/>
                  </a:lnTo>
                  <a:close/>
                  <a:moveTo>
                    <a:pt x="227" y="40"/>
                  </a:moveTo>
                  <a:cubicBezTo>
                    <a:pt x="165" y="40"/>
                    <a:pt x="122" y="49"/>
                    <a:pt x="122" y="49"/>
                  </a:cubicBezTo>
                  <a:lnTo>
                    <a:pt x="122" y="412"/>
                  </a:lnTo>
                  <a:lnTo>
                    <a:pt x="218" y="412"/>
                  </a:lnTo>
                  <a:cubicBezTo>
                    <a:pt x="397" y="412"/>
                    <a:pt x="487" y="368"/>
                    <a:pt x="487" y="231"/>
                  </a:cubicBezTo>
                  <a:cubicBezTo>
                    <a:pt x="487" y="140"/>
                    <a:pt x="442" y="40"/>
                    <a:pt x="227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3AA8470-FD71-405D-9EC5-01843766D5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27338" y="1057275"/>
              <a:ext cx="228600" cy="307975"/>
            </a:xfrm>
            <a:custGeom>
              <a:avLst/>
              <a:gdLst>
                <a:gd name="T0" fmla="*/ 336 w 631"/>
                <a:gd name="T1" fmla="*/ 848 h 848"/>
                <a:gd name="T2" fmla="*/ 29 w 631"/>
                <a:gd name="T3" fmla="*/ 729 h 848"/>
                <a:gd name="T4" fmla="*/ 0 w 631"/>
                <a:gd name="T5" fmla="*/ 593 h 848"/>
                <a:gd name="T6" fmla="*/ 0 w 631"/>
                <a:gd name="T7" fmla="*/ 0 h 848"/>
                <a:gd name="T8" fmla="*/ 122 w 631"/>
                <a:gd name="T9" fmla="*/ 0 h 848"/>
                <a:gd name="T10" fmla="*/ 122 w 631"/>
                <a:gd name="T11" fmla="*/ 588 h 848"/>
                <a:gd name="T12" fmla="*/ 336 w 631"/>
                <a:gd name="T13" fmla="*/ 800 h 848"/>
                <a:gd name="T14" fmla="*/ 545 w 631"/>
                <a:gd name="T15" fmla="*/ 601 h 848"/>
                <a:gd name="T16" fmla="*/ 545 w 631"/>
                <a:gd name="T17" fmla="*/ 0 h 848"/>
                <a:gd name="T18" fmla="*/ 631 w 631"/>
                <a:gd name="T19" fmla="*/ 0 h 848"/>
                <a:gd name="T20" fmla="*/ 631 w 631"/>
                <a:gd name="T21" fmla="*/ 609 h 848"/>
                <a:gd name="T22" fmla="*/ 604 w 631"/>
                <a:gd name="T23" fmla="*/ 726 h 848"/>
                <a:gd name="T24" fmla="*/ 336 w 631"/>
                <a:gd name="T25" fmla="*/ 848 h 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1" h="848">
                  <a:moveTo>
                    <a:pt x="336" y="848"/>
                  </a:moveTo>
                  <a:cubicBezTo>
                    <a:pt x="236" y="848"/>
                    <a:pt x="88" y="835"/>
                    <a:pt x="29" y="729"/>
                  </a:cubicBezTo>
                  <a:cubicBezTo>
                    <a:pt x="11" y="697"/>
                    <a:pt x="0" y="651"/>
                    <a:pt x="0" y="593"/>
                  </a:cubicBezTo>
                  <a:lnTo>
                    <a:pt x="0" y="0"/>
                  </a:lnTo>
                  <a:lnTo>
                    <a:pt x="122" y="0"/>
                  </a:lnTo>
                  <a:lnTo>
                    <a:pt x="122" y="588"/>
                  </a:lnTo>
                  <a:cubicBezTo>
                    <a:pt x="123" y="641"/>
                    <a:pt x="128" y="800"/>
                    <a:pt x="336" y="800"/>
                  </a:cubicBezTo>
                  <a:cubicBezTo>
                    <a:pt x="399" y="800"/>
                    <a:pt x="545" y="780"/>
                    <a:pt x="545" y="601"/>
                  </a:cubicBezTo>
                  <a:lnTo>
                    <a:pt x="545" y="0"/>
                  </a:lnTo>
                  <a:lnTo>
                    <a:pt x="631" y="0"/>
                  </a:lnTo>
                  <a:lnTo>
                    <a:pt x="631" y="609"/>
                  </a:lnTo>
                  <a:cubicBezTo>
                    <a:pt x="629" y="645"/>
                    <a:pt x="628" y="686"/>
                    <a:pt x="604" y="726"/>
                  </a:cubicBezTo>
                  <a:cubicBezTo>
                    <a:pt x="579" y="771"/>
                    <a:pt x="529" y="848"/>
                    <a:pt x="336" y="8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ADBAA4B1-52E1-41C3-AC75-95B1111677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03400" y="1054100"/>
              <a:ext cx="277813" cy="311150"/>
            </a:xfrm>
            <a:custGeom>
              <a:avLst/>
              <a:gdLst>
                <a:gd name="T0" fmla="*/ 457 w 767"/>
                <a:gd name="T1" fmla="*/ 856 h 856"/>
                <a:gd name="T2" fmla="*/ 0 w 767"/>
                <a:gd name="T3" fmla="*/ 428 h 856"/>
                <a:gd name="T4" fmla="*/ 443 w 767"/>
                <a:gd name="T5" fmla="*/ 0 h 856"/>
                <a:gd name="T6" fmla="*/ 767 w 767"/>
                <a:gd name="T7" fmla="*/ 156 h 856"/>
                <a:gd name="T8" fmla="*/ 717 w 767"/>
                <a:gd name="T9" fmla="*/ 208 h 856"/>
                <a:gd name="T10" fmla="*/ 651 w 767"/>
                <a:gd name="T11" fmla="*/ 163 h 856"/>
                <a:gd name="T12" fmla="*/ 441 w 767"/>
                <a:gd name="T13" fmla="*/ 48 h 856"/>
                <a:gd name="T14" fmla="*/ 142 w 767"/>
                <a:gd name="T15" fmla="*/ 407 h 856"/>
                <a:gd name="T16" fmla="*/ 471 w 767"/>
                <a:gd name="T17" fmla="*/ 808 h 856"/>
                <a:gd name="T18" fmla="*/ 600 w 767"/>
                <a:gd name="T19" fmla="*/ 779 h 856"/>
                <a:gd name="T20" fmla="*/ 650 w 767"/>
                <a:gd name="T21" fmla="*/ 668 h 856"/>
                <a:gd name="T22" fmla="*/ 650 w 767"/>
                <a:gd name="T23" fmla="*/ 469 h 856"/>
                <a:gd name="T24" fmla="*/ 543 w 767"/>
                <a:gd name="T25" fmla="*/ 469 h 856"/>
                <a:gd name="T26" fmla="*/ 585 w 767"/>
                <a:gd name="T27" fmla="*/ 420 h 856"/>
                <a:gd name="T28" fmla="*/ 766 w 767"/>
                <a:gd name="T29" fmla="*/ 420 h 856"/>
                <a:gd name="T30" fmla="*/ 766 w 767"/>
                <a:gd name="T31" fmla="*/ 746 h 856"/>
                <a:gd name="T32" fmla="*/ 721 w 767"/>
                <a:gd name="T33" fmla="*/ 788 h 856"/>
                <a:gd name="T34" fmla="*/ 457 w 767"/>
                <a:gd name="T35" fmla="*/ 85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7" h="856">
                  <a:moveTo>
                    <a:pt x="457" y="856"/>
                  </a:moveTo>
                  <a:cubicBezTo>
                    <a:pt x="33" y="856"/>
                    <a:pt x="0" y="529"/>
                    <a:pt x="0" y="428"/>
                  </a:cubicBezTo>
                  <a:cubicBezTo>
                    <a:pt x="0" y="172"/>
                    <a:pt x="178" y="0"/>
                    <a:pt x="443" y="0"/>
                  </a:cubicBezTo>
                  <a:cubicBezTo>
                    <a:pt x="671" y="0"/>
                    <a:pt x="767" y="112"/>
                    <a:pt x="767" y="156"/>
                  </a:cubicBezTo>
                  <a:cubicBezTo>
                    <a:pt x="767" y="182"/>
                    <a:pt x="741" y="208"/>
                    <a:pt x="717" y="208"/>
                  </a:cubicBezTo>
                  <a:cubicBezTo>
                    <a:pt x="686" y="208"/>
                    <a:pt x="673" y="193"/>
                    <a:pt x="651" y="163"/>
                  </a:cubicBezTo>
                  <a:cubicBezTo>
                    <a:pt x="619" y="120"/>
                    <a:pt x="565" y="48"/>
                    <a:pt x="441" y="48"/>
                  </a:cubicBezTo>
                  <a:cubicBezTo>
                    <a:pt x="259" y="48"/>
                    <a:pt x="142" y="182"/>
                    <a:pt x="142" y="407"/>
                  </a:cubicBezTo>
                  <a:cubicBezTo>
                    <a:pt x="142" y="654"/>
                    <a:pt x="268" y="808"/>
                    <a:pt x="471" y="808"/>
                  </a:cubicBezTo>
                  <a:cubicBezTo>
                    <a:pt x="521" y="808"/>
                    <a:pt x="569" y="797"/>
                    <a:pt x="600" y="779"/>
                  </a:cubicBezTo>
                  <a:cubicBezTo>
                    <a:pt x="650" y="748"/>
                    <a:pt x="650" y="706"/>
                    <a:pt x="650" y="668"/>
                  </a:cubicBezTo>
                  <a:lnTo>
                    <a:pt x="650" y="469"/>
                  </a:lnTo>
                  <a:lnTo>
                    <a:pt x="543" y="469"/>
                  </a:lnTo>
                  <a:lnTo>
                    <a:pt x="585" y="420"/>
                  </a:lnTo>
                  <a:lnTo>
                    <a:pt x="766" y="420"/>
                  </a:lnTo>
                  <a:lnTo>
                    <a:pt x="766" y="746"/>
                  </a:lnTo>
                  <a:cubicBezTo>
                    <a:pt x="756" y="759"/>
                    <a:pt x="741" y="773"/>
                    <a:pt x="721" y="788"/>
                  </a:cubicBezTo>
                  <a:cubicBezTo>
                    <a:pt x="682" y="817"/>
                    <a:pt x="613" y="856"/>
                    <a:pt x="457" y="8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B8B8FFFC-7D8F-4971-96FD-7AD0D750681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168525" y="1057275"/>
              <a:ext cx="233363" cy="303213"/>
            </a:xfrm>
            <a:custGeom>
              <a:avLst/>
              <a:gdLst>
                <a:gd name="T0" fmla="*/ 646 w 646"/>
                <a:gd name="T1" fmla="*/ 839 h 839"/>
                <a:gd name="T2" fmla="*/ 358 w 646"/>
                <a:gd name="T3" fmla="*/ 451 h 839"/>
                <a:gd name="T4" fmla="*/ 410 w 646"/>
                <a:gd name="T5" fmla="*/ 440 h 839"/>
                <a:gd name="T6" fmla="*/ 601 w 646"/>
                <a:gd name="T7" fmla="*/ 230 h 839"/>
                <a:gd name="T8" fmla="*/ 514 w 646"/>
                <a:gd name="T9" fmla="*/ 58 h 839"/>
                <a:gd name="T10" fmla="*/ 231 w 646"/>
                <a:gd name="T11" fmla="*/ 0 h 839"/>
                <a:gd name="T12" fmla="*/ 0 w 646"/>
                <a:gd name="T13" fmla="*/ 0 h 839"/>
                <a:gd name="T14" fmla="*/ 0 w 646"/>
                <a:gd name="T15" fmla="*/ 839 h 839"/>
                <a:gd name="T16" fmla="*/ 121 w 646"/>
                <a:gd name="T17" fmla="*/ 839 h 839"/>
                <a:gd name="T18" fmla="*/ 121 w 646"/>
                <a:gd name="T19" fmla="*/ 527 h 839"/>
                <a:gd name="T20" fmla="*/ 196 w 646"/>
                <a:gd name="T21" fmla="*/ 461 h 839"/>
                <a:gd name="T22" fmla="*/ 279 w 646"/>
                <a:gd name="T23" fmla="*/ 508 h 839"/>
                <a:gd name="T24" fmla="*/ 513 w 646"/>
                <a:gd name="T25" fmla="*/ 839 h 839"/>
                <a:gd name="T26" fmla="*/ 646 w 646"/>
                <a:gd name="T27" fmla="*/ 839 h 839"/>
                <a:gd name="T28" fmla="*/ 258 w 646"/>
                <a:gd name="T29" fmla="*/ 410 h 839"/>
                <a:gd name="T30" fmla="*/ 210 w 646"/>
                <a:gd name="T31" fmla="*/ 412 h 839"/>
                <a:gd name="T32" fmla="*/ 121 w 646"/>
                <a:gd name="T33" fmla="*/ 412 h 839"/>
                <a:gd name="T34" fmla="*/ 121 w 646"/>
                <a:gd name="T35" fmla="*/ 49 h 839"/>
                <a:gd name="T36" fmla="*/ 224 w 646"/>
                <a:gd name="T37" fmla="*/ 40 h 839"/>
                <a:gd name="T38" fmla="*/ 469 w 646"/>
                <a:gd name="T39" fmla="*/ 234 h 839"/>
                <a:gd name="T40" fmla="*/ 258 w 646"/>
                <a:gd name="T41" fmla="*/ 41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6" h="839">
                  <a:moveTo>
                    <a:pt x="646" y="839"/>
                  </a:moveTo>
                  <a:lnTo>
                    <a:pt x="358" y="451"/>
                  </a:lnTo>
                  <a:cubicBezTo>
                    <a:pt x="358" y="451"/>
                    <a:pt x="398" y="443"/>
                    <a:pt x="410" y="440"/>
                  </a:cubicBezTo>
                  <a:cubicBezTo>
                    <a:pt x="458" y="427"/>
                    <a:pt x="601" y="390"/>
                    <a:pt x="601" y="230"/>
                  </a:cubicBezTo>
                  <a:cubicBezTo>
                    <a:pt x="601" y="153"/>
                    <a:pt x="566" y="94"/>
                    <a:pt x="514" y="58"/>
                  </a:cubicBezTo>
                  <a:cubicBezTo>
                    <a:pt x="440" y="8"/>
                    <a:pt x="330" y="0"/>
                    <a:pt x="231" y="0"/>
                  </a:cubicBezTo>
                  <a:lnTo>
                    <a:pt x="0" y="0"/>
                  </a:lnTo>
                  <a:lnTo>
                    <a:pt x="0" y="839"/>
                  </a:lnTo>
                  <a:lnTo>
                    <a:pt x="121" y="839"/>
                  </a:lnTo>
                  <a:lnTo>
                    <a:pt x="121" y="527"/>
                  </a:lnTo>
                  <a:cubicBezTo>
                    <a:pt x="121" y="474"/>
                    <a:pt x="153" y="461"/>
                    <a:pt x="196" y="461"/>
                  </a:cubicBezTo>
                  <a:cubicBezTo>
                    <a:pt x="220" y="461"/>
                    <a:pt x="254" y="469"/>
                    <a:pt x="279" y="508"/>
                  </a:cubicBezTo>
                  <a:lnTo>
                    <a:pt x="513" y="839"/>
                  </a:lnTo>
                  <a:lnTo>
                    <a:pt x="646" y="839"/>
                  </a:lnTo>
                  <a:close/>
                  <a:moveTo>
                    <a:pt x="258" y="410"/>
                  </a:moveTo>
                  <a:cubicBezTo>
                    <a:pt x="242" y="412"/>
                    <a:pt x="229" y="412"/>
                    <a:pt x="210" y="412"/>
                  </a:cubicBezTo>
                  <a:lnTo>
                    <a:pt x="121" y="412"/>
                  </a:lnTo>
                  <a:lnTo>
                    <a:pt x="121" y="49"/>
                  </a:lnTo>
                  <a:cubicBezTo>
                    <a:pt x="121" y="49"/>
                    <a:pt x="163" y="40"/>
                    <a:pt x="224" y="40"/>
                  </a:cubicBezTo>
                  <a:cubicBezTo>
                    <a:pt x="387" y="40"/>
                    <a:pt x="469" y="110"/>
                    <a:pt x="469" y="234"/>
                  </a:cubicBezTo>
                  <a:cubicBezTo>
                    <a:pt x="469" y="359"/>
                    <a:pt x="390" y="397"/>
                    <a:pt x="258" y="4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E8B52FC3-0D36-47BD-A77F-C675A092A9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7388" y="300038"/>
              <a:ext cx="1247775" cy="538163"/>
            </a:xfrm>
            <a:custGeom>
              <a:avLst/>
              <a:gdLst>
                <a:gd name="T0" fmla="*/ 3369 w 3451"/>
                <a:gd name="T1" fmla="*/ 1140 h 1483"/>
                <a:gd name="T2" fmla="*/ 3309 w 3451"/>
                <a:gd name="T3" fmla="*/ 1133 h 1483"/>
                <a:gd name="T4" fmla="*/ 3226 w 3451"/>
                <a:gd name="T5" fmla="*/ 1142 h 1483"/>
                <a:gd name="T6" fmla="*/ 3249 w 3451"/>
                <a:gd name="T7" fmla="*/ 1310 h 1483"/>
                <a:gd name="T8" fmla="*/ 2720 w 3451"/>
                <a:gd name="T9" fmla="*/ 1296 h 1483"/>
                <a:gd name="T10" fmla="*/ 1915 w 3451"/>
                <a:gd name="T11" fmla="*/ 339 h 1483"/>
                <a:gd name="T12" fmla="*/ 920 w 3451"/>
                <a:gd name="T13" fmla="*/ 132 h 1483"/>
                <a:gd name="T14" fmla="*/ 629 w 3451"/>
                <a:gd name="T15" fmla="*/ 1140 h 1483"/>
                <a:gd name="T16" fmla="*/ 477 w 3451"/>
                <a:gd name="T17" fmla="*/ 602 h 1483"/>
                <a:gd name="T18" fmla="*/ 432 w 3451"/>
                <a:gd name="T19" fmla="*/ 614 h 1483"/>
                <a:gd name="T20" fmla="*/ 1 w 3451"/>
                <a:gd name="T21" fmla="*/ 502 h 1483"/>
                <a:gd name="T22" fmla="*/ 1 w 3451"/>
                <a:gd name="T23" fmla="*/ 508 h 1483"/>
                <a:gd name="T24" fmla="*/ 318 w 3451"/>
                <a:gd name="T25" fmla="*/ 709 h 1483"/>
                <a:gd name="T26" fmla="*/ 783 w 3451"/>
                <a:gd name="T27" fmla="*/ 1225 h 1483"/>
                <a:gd name="T28" fmla="*/ 721 w 3451"/>
                <a:gd name="T29" fmla="*/ 716 h 1483"/>
                <a:gd name="T30" fmla="*/ 1302 w 3451"/>
                <a:gd name="T31" fmla="*/ 155 h 1483"/>
                <a:gd name="T32" fmla="*/ 2060 w 3451"/>
                <a:gd name="T33" fmla="*/ 739 h 1483"/>
                <a:gd name="T34" fmla="*/ 2831 w 3451"/>
                <a:gd name="T35" fmla="*/ 1417 h 1483"/>
                <a:gd name="T36" fmla="*/ 3332 w 3451"/>
                <a:gd name="T37" fmla="*/ 1403 h 1483"/>
                <a:gd name="T38" fmla="*/ 3369 w 3451"/>
                <a:gd name="T39" fmla="*/ 1140 h 1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51" h="1483">
                  <a:moveTo>
                    <a:pt x="3369" y="1140"/>
                  </a:moveTo>
                  <a:cubicBezTo>
                    <a:pt x="3355" y="1137"/>
                    <a:pt x="3325" y="1134"/>
                    <a:pt x="3309" y="1133"/>
                  </a:cubicBezTo>
                  <a:cubicBezTo>
                    <a:pt x="3280" y="1132"/>
                    <a:pt x="3252" y="1136"/>
                    <a:pt x="3226" y="1142"/>
                  </a:cubicBezTo>
                  <a:cubicBezTo>
                    <a:pt x="3279" y="1188"/>
                    <a:pt x="3277" y="1256"/>
                    <a:pt x="3249" y="1310"/>
                  </a:cubicBezTo>
                  <a:cubicBezTo>
                    <a:pt x="3166" y="1476"/>
                    <a:pt x="2841" y="1377"/>
                    <a:pt x="2720" y="1296"/>
                  </a:cubicBezTo>
                  <a:cubicBezTo>
                    <a:pt x="2348" y="1048"/>
                    <a:pt x="2126" y="577"/>
                    <a:pt x="1915" y="339"/>
                  </a:cubicBezTo>
                  <a:cubicBezTo>
                    <a:pt x="1619" y="7"/>
                    <a:pt x="1185" y="0"/>
                    <a:pt x="920" y="132"/>
                  </a:cubicBezTo>
                  <a:cubicBezTo>
                    <a:pt x="590" y="296"/>
                    <a:pt x="509" y="754"/>
                    <a:pt x="629" y="1140"/>
                  </a:cubicBezTo>
                  <a:cubicBezTo>
                    <a:pt x="469" y="1092"/>
                    <a:pt x="401" y="783"/>
                    <a:pt x="477" y="602"/>
                  </a:cubicBezTo>
                  <a:cubicBezTo>
                    <a:pt x="463" y="606"/>
                    <a:pt x="448" y="610"/>
                    <a:pt x="432" y="614"/>
                  </a:cubicBezTo>
                  <a:cubicBezTo>
                    <a:pt x="262" y="653"/>
                    <a:pt x="95" y="605"/>
                    <a:pt x="1" y="502"/>
                  </a:cubicBezTo>
                  <a:cubicBezTo>
                    <a:pt x="0" y="504"/>
                    <a:pt x="0" y="506"/>
                    <a:pt x="1" y="508"/>
                  </a:cubicBezTo>
                  <a:cubicBezTo>
                    <a:pt x="54" y="629"/>
                    <a:pt x="163" y="706"/>
                    <a:pt x="318" y="709"/>
                  </a:cubicBezTo>
                  <a:cubicBezTo>
                    <a:pt x="308" y="1119"/>
                    <a:pt x="539" y="1245"/>
                    <a:pt x="783" y="1225"/>
                  </a:cubicBezTo>
                  <a:cubicBezTo>
                    <a:pt x="716" y="1100"/>
                    <a:pt x="698" y="880"/>
                    <a:pt x="721" y="716"/>
                  </a:cubicBezTo>
                  <a:cubicBezTo>
                    <a:pt x="743" y="563"/>
                    <a:pt x="878" y="167"/>
                    <a:pt x="1302" y="155"/>
                  </a:cubicBezTo>
                  <a:cubicBezTo>
                    <a:pt x="1710" y="143"/>
                    <a:pt x="1863" y="492"/>
                    <a:pt x="2060" y="739"/>
                  </a:cubicBezTo>
                  <a:cubicBezTo>
                    <a:pt x="2230" y="952"/>
                    <a:pt x="2501" y="1307"/>
                    <a:pt x="2831" y="1417"/>
                  </a:cubicBezTo>
                  <a:cubicBezTo>
                    <a:pt x="2984" y="1468"/>
                    <a:pt x="3195" y="1483"/>
                    <a:pt x="3332" y="1403"/>
                  </a:cubicBezTo>
                  <a:cubicBezTo>
                    <a:pt x="3417" y="1354"/>
                    <a:pt x="3451" y="1217"/>
                    <a:pt x="3369" y="1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AE054B4-2E87-4F03-9002-B9C728AD2F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1113" y="719138"/>
              <a:ext cx="493713" cy="274638"/>
            </a:xfrm>
            <a:custGeom>
              <a:avLst/>
              <a:gdLst>
                <a:gd name="T0" fmla="*/ 1257 w 1369"/>
                <a:gd name="T1" fmla="*/ 706 h 756"/>
                <a:gd name="T2" fmla="*/ 1001 w 1369"/>
                <a:gd name="T3" fmla="*/ 535 h 756"/>
                <a:gd name="T4" fmla="*/ 912 w 1369"/>
                <a:gd name="T5" fmla="*/ 292 h 756"/>
                <a:gd name="T6" fmla="*/ 915 w 1369"/>
                <a:gd name="T7" fmla="*/ 255 h 756"/>
                <a:gd name="T8" fmla="*/ 848 w 1369"/>
                <a:gd name="T9" fmla="*/ 248 h 756"/>
                <a:gd name="T10" fmla="*/ 764 w 1369"/>
                <a:gd name="T11" fmla="*/ 257 h 756"/>
                <a:gd name="T12" fmla="*/ 420 w 1369"/>
                <a:gd name="T13" fmla="*/ 354 h 756"/>
                <a:gd name="T14" fmla="*/ 134 w 1369"/>
                <a:gd name="T15" fmla="*/ 21 h 756"/>
                <a:gd name="T16" fmla="*/ 115 w 1369"/>
                <a:gd name="T17" fmla="*/ 0 h 756"/>
                <a:gd name="T18" fmla="*/ 0 w 1369"/>
                <a:gd name="T19" fmla="*/ 38 h 756"/>
                <a:gd name="T20" fmla="*/ 84 w 1369"/>
                <a:gd name="T21" fmla="*/ 169 h 756"/>
                <a:gd name="T22" fmla="*/ 380 w 1369"/>
                <a:gd name="T23" fmla="*/ 391 h 756"/>
                <a:gd name="T24" fmla="*/ 768 w 1369"/>
                <a:gd name="T25" fmla="*/ 359 h 756"/>
                <a:gd name="T26" fmla="*/ 876 w 1369"/>
                <a:gd name="T27" fmla="*/ 567 h 756"/>
                <a:gd name="T28" fmla="*/ 1158 w 1369"/>
                <a:gd name="T29" fmla="*/ 732 h 756"/>
                <a:gd name="T30" fmla="*/ 1369 w 1369"/>
                <a:gd name="T31" fmla="*/ 735 h 756"/>
                <a:gd name="T32" fmla="*/ 1257 w 1369"/>
                <a:gd name="T33" fmla="*/ 706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9" h="756">
                  <a:moveTo>
                    <a:pt x="1257" y="706"/>
                  </a:moveTo>
                  <a:cubicBezTo>
                    <a:pt x="1149" y="670"/>
                    <a:pt x="1061" y="610"/>
                    <a:pt x="1001" y="535"/>
                  </a:cubicBezTo>
                  <a:cubicBezTo>
                    <a:pt x="944" y="465"/>
                    <a:pt x="911" y="375"/>
                    <a:pt x="912" y="292"/>
                  </a:cubicBezTo>
                  <a:cubicBezTo>
                    <a:pt x="912" y="279"/>
                    <a:pt x="915" y="255"/>
                    <a:pt x="915" y="255"/>
                  </a:cubicBezTo>
                  <a:cubicBezTo>
                    <a:pt x="915" y="255"/>
                    <a:pt x="883" y="248"/>
                    <a:pt x="848" y="248"/>
                  </a:cubicBezTo>
                  <a:cubicBezTo>
                    <a:pt x="791" y="248"/>
                    <a:pt x="764" y="257"/>
                    <a:pt x="764" y="257"/>
                  </a:cubicBezTo>
                  <a:cubicBezTo>
                    <a:pt x="764" y="257"/>
                    <a:pt x="631" y="406"/>
                    <a:pt x="420" y="354"/>
                  </a:cubicBezTo>
                  <a:cubicBezTo>
                    <a:pt x="219" y="304"/>
                    <a:pt x="225" y="126"/>
                    <a:pt x="134" y="21"/>
                  </a:cubicBezTo>
                  <a:cubicBezTo>
                    <a:pt x="128" y="13"/>
                    <a:pt x="122" y="7"/>
                    <a:pt x="115" y="0"/>
                  </a:cubicBezTo>
                  <a:lnTo>
                    <a:pt x="0" y="38"/>
                  </a:lnTo>
                  <a:cubicBezTo>
                    <a:pt x="28" y="69"/>
                    <a:pt x="57" y="111"/>
                    <a:pt x="84" y="169"/>
                  </a:cubicBezTo>
                  <a:cubicBezTo>
                    <a:pt x="123" y="256"/>
                    <a:pt x="214" y="355"/>
                    <a:pt x="380" y="391"/>
                  </a:cubicBezTo>
                  <a:cubicBezTo>
                    <a:pt x="503" y="418"/>
                    <a:pt x="639" y="411"/>
                    <a:pt x="768" y="359"/>
                  </a:cubicBezTo>
                  <a:cubicBezTo>
                    <a:pt x="782" y="433"/>
                    <a:pt x="820" y="506"/>
                    <a:pt x="876" y="567"/>
                  </a:cubicBezTo>
                  <a:cubicBezTo>
                    <a:pt x="942" y="639"/>
                    <a:pt x="1048" y="699"/>
                    <a:pt x="1158" y="732"/>
                  </a:cubicBezTo>
                  <a:cubicBezTo>
                    <a:pt x="1239" y="756"/>
                    <a:pt x="1330" y="754"/>
                    <a:pt x="1369" y="735"/>
                  </a:cubicBezTo>
                  <a:cubicBezTo>
                    <a:pt x="1331" y="728"/>
                    <a:pt x="1293" y="718"/>
                    <a:pt x="1257" y="7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E375C32E-7CE9-40A8-B5AA-0820395295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8538" y="531813"/>
              <a:ext cx="350838" cy="333375"/>
            </a:xfrm>
            <a:custGeom>
              <a:avLst/>
              <a:gdLst>
                <a:gd name="T0" fmla="*/ 714 w 973"/>
                <a:gd name="T1" fmla="*/ 43 h 919"/>
                <a:gd name="T2" fmla="*/ 246 w 973"/>
                <a:gd name="T3" fmla="*/ 151 h 919"/>
                <a:gd name="T4" fmla="*/ 208 w 973"/>
                <a:gd name="T5" fmla="*/ 877 h 919"/>
                <a:gd name="T6" fmla="*/ 240 w 973"/>
                <a:gd name="T7" fmla="*/ 912 h 919"/>
                <a:gd name="T8" fmla="*/ 314 w 973"/>
                <a:gd name="T9" fmla="*/ 912 h 919"/>
                <a:gd name="T10" fmla="*/ 396 w 973"/>
                <a:gd name="T11" fmla="*/ 879 h 919"/>
                <a:gd name="T12" fmla="*/ 209 w 973"/>
                <a:gd name="T13" fmla="*/ 575 h 919"/>
                <a:gd name="T14" fmla="*/ 688 w 973"/>
                <a:gd name="T15" fmla="*/ 98 h 919"/>
                <a:gd name="T16" fmla="*/ 772 w 973"/>
                <a:gd name="T17" fmla="*/ 320 h 919"/>
                <a:gd name="T18" fmla="*/ 578 w 973"/>
                <a:gd name="T19" fmla="*/ 371 h 919"/>
                <a:gd name="T20" fmla="*/ 683 w 973"/>
                <a:gd name="T21" fmla="*/ 473 h 919"/>
                <a:gd name="T22" fmla="*/ 898 w 973"/>
                <a:gd name="T23" fmla="*/ 348 h 919"/>
                <a:gd name="T24" fmla="*/ 714 w 973"/>
                <a:gd name="T25" fmla="*/ 43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3" h="919">
                  <a:moveTo>
                    <a:pt x="714" y="43"/>
                  </a:moveTo>
                  <a:cubicBezTo>
                    <a:pt x="514" y="0"/>
                    <a:pt x="346" y="70"/>
                    <a:pt x="246" y="151"/>
                  </a:cubicBezTo>
                  <a:cubicBezTo>
                    <a:pt x="0" y="348"/>
                    <a:pt x="25" y="659"/>
                    <a:pt x="208" y="877"/>
                  </a:cubicBezTo>
                  <a:cubicBezTo>
                    <a:pt x="218" y="889"/>
                    <a:pt x="240" y="912"/>
                    <a:pt x="240" y="912"/>
                  </a:cubicBezTo>
                  <a:cubicBezTo>
                    <a:pt x="240" y="912"/>
                    <a:pt x="266" y="919"/>
                    <a:pt x="314" y="912"/>
                  </a:cubicBezTo>
                  <a:cubicBezTo>
                    <a:pt x="348" y="907"/>
                    <a:pt x="396" y="879"/>
                    <a:pt x="396" y="879"/>
                  </a:cubicBezTo>
                  <a:cubicBezTo>
                    <a:pt x="396" y="879"/>
                    <a:pt x="245" y="761"/>
                    <a:pt x="209" y="575"/>
                  </a:cubicBezTo>
                  <a:cubicBezTo>
                    <a:pt x="145" y="243"/>
                    <a:pt x="437" y="52"/>
                    <a:pt x="688" y="98"/>
                  </a:cubicBezTo>
                  <a:cubicBezTo>
                    <a:pt x="831" y="124"/>
                    <a:pt x="842" y="257"/>
                    <a:pt x="772" y="320"/>
                  </a:cubicBezTo>
                  <a:cubicBezTo>
                    <a:pt x="708" y="377"/>
                    <a:pt x="622" y="376"/>
                    <a:pt x="578" y="371"/>
                  </a:cubicBezTo>
                  <a:cubicBezTo>
                    <a:pt x="616" y="392"/>
                    <a:pt x="653" y="427"/>
                    <a:pt x="683" y="473"/>
                  </a:cubicBezTo>
                  <a:cubicBezTo>
                    <a:pt x="683" y="473"/>
                    <a:pt x="819" y="458"/>
                    <a:pt x="898" y="348"/>
                  </a:cubicBezTo>
                  <a:cubicBezTo>
                    <a:pt x="973" y="245"/>
                    <a:pt x="913" y="86"/>
                    <a:pt x="71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Rectangle 13">
              <a:extLst>
                <a:ext uri="{FF2B5EF4-FFF2-40B4-BE49-F238E27FC236}">
                  <a16:creationId xmlns:a16="http://schemas.microsoft.com/office/drawing/2014/main" id="{077282E3-1BCF-48DB-B43F-9D83B4B5D7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62025" y="1057275"/>
              <a:ext cx="60325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8A81A94E-48E1-4ECF-9753-7BA2FCF4CC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4788" y="1057275"/>
              <a:ext cx="203200" cy="303213"/>
            </a:xfrm>
            <a:custGeom>
              <a:avLst/>
              <a:gdLst>
                <a:gd name="T0" fmla="*/ 0 w 562"/>
                <a:gd name="T1" fmla="*/ 839 h 839"/>
                <a:gd name="T2" fmla="*/ 0 w 562"/>
                <a:gd name="T3" fmla="*/ 0 h 839"/>
                <a:gd name="T4" fmla="*/ 164 w 562"/>
                <a:gd name="T5" fmla="*/ 0 h 839"/>
                <a:gd name="T6" fmla="*/ 164 w 562"/>
                <a:gd name="T7" fmla="*/ 756 h 839"/>
                <a:gd name="T8" fmla="*/ 485 w 562"/>
                <a:gd name="T9" fmla="*/ 756 h 839"/>
                <a:gd name="T10" fmla="*/ 562 w 562"/>
                <a:gd name="T11" fmla="*/ 839 h 839"/>
                <a:gd name="T12" fmla="*/ 0 w 562"/>
                <a:gd name="T13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2" h="839">
                  <a:moveTo>
                    <a:pt x="0" y="839"/>
                  </a:moveTo>
                  <a:lnTo>
                    <a:pt x="0" y="0"/>
                  </a:lnTo>
                  <a:lnTo>
                    <a:pt x="164" y="0"/>
                  </a:lnTo>
                  <a:lnTo>
                    <a:pt x="164" y="756"/>
                  </a:lnTo>
                  <a:lnTo>
                    <a:pt x="485" y="756"/>
                  </a:lnTo>
                  <a:lnTo>
                    <a:pt x="562" y="839"/>
                  </a:lnTo>
                  <a:lnTo>
                    <a:pt x="0" y="8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4D943943-4EFC-45AC-86DD-4207B512B7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3888" y="1054100"/>
              <a:ext cx="252413" cy="311150"/>
            </a:xfrm>
            <a:custGeom>
              <a:avLst/>
              <a:gdLst>
                <a:gd name="T0" fmla="*/ 0 w 698"/>
                <a:gd name="T1" fmla="*/ 856 h 856"/>
                <a:gd name="T2" fmla="*/ 0 w 698"/>
                <a:gd name="T3" fmla="*/ 0 h 856"/>
                <a:gd name="T4" fmla="*/ 250 w 698"/>
                <a:gd name="T5" fmla="*/ 0 h 856"/>
                <a:gd name="T6" fmla="*/ 537 w 698"/>
                <a:gd name="T7" fmla="*/ 45 h 856"/>
                <a:gd name="T8" fmla="*/ 641 w 698"/>
                <a:gd name="T9" fmla="*/ 197 h 856"/>
                <a:gd name="T10" fmla="*/ 488 w 698"/>
                <a:gd name="T11" fmla="*/ 379 h 856"/>
                <a:gd name="T12" fmla="*/ 443 w 698"/>
                <a:gd name="T13" fmla="*/ 394 h 856"/>
                <a:gd name="T14" fmla="*/ 501 w 698"/>
                <a:gd name="T15" fmla="*/ 414 h 856"/>
                <a:gd name="T16" fmla="*/ 698 w 698"/>
                <a:gd name="T17" fmla="*/ 630 h 856"/>
                <a:gd name="T18" fmla="*/ 541 w 698"/>
                <a:gd name="T19" fmla="*/ 822 h 856"/>
                <a:gd name="T20" fmla="*/ 250 w 698"/>
                <a:gd name="T21" fmla="*/ 856 h 856"/>
                <a:gd name="T22" fmla="*/ 0 w 698"/>
                <a:gd name="T23" fmla="*/ 856 h 856"/>
                <a:gd name="T24" fmla="*/ 161 w 698"/>
                <a:gd name="T25" fmla="*/ 712 h 856"/>
                <a:gd name="T26" fmla="*/ 177 w 698"/>
                <a:gd name="T27" fmla="*/ 763 h 856"/>
                <a:gd name="T28" fmla="*/ 277 w 698"/>
                <a:gd name="T29" fmla="*/ 785 h 856"/>
                <a:gd name="T30" fmla="*/ 528 w 698"/>
                <a:gd name="T31" fmla="*/ 619 h 856"/>
                <a:gd name="T32" fmla="*/ 267 w 698"/>
                <a:gd name="T33" fmla="*/ 435 h 856"/>
                <a:gd name="T34" fmla="*/ 251 w 698"/>
                <a:gd name="T35" fmla="*/ 435 h 856"/>
                <a:gd name="T36" fmla="*/ 161 w 698"/>
                <a:gd name="T37" fmla="*/ 435 h 856"/>
                <a:gd name="T38" fmla="*/ 161 w 698"/>
                <a:gd name="T39" fmla="*/ 712 h 856"/>
                <a:gd name="T40" fmla="*/ 296 w 698"/>
                <a:gd name="T41" fmla="*/ 374 h 856"/>
                <a:gd name="T42" fmla="*/ 479 w 698"/>
                <a:gd name="T43" fmla="*/ 222 h 856"/>
                <a:gd name="T44" fmla="*/ 260 w 698"/>
                <a:gd name="T45" fmla="*/ 65 h 856"/>
                <a:gd name="T46" fmla="*/ 177 w 698"/>
                <a:gd name="T47" fmla="*/ 70 h 856"/>
                <a:gd name="T48" fmla="*/ 161 w 698"/>
                <a:gd name="T49" fmla="*/ 72 h 856"/>
                <a:gd name="T50" fmla="*/ 161 w 698"/>
                <a:gd name="T51" fmla="*/ 374 h 856"/>
                <a:gd name="T52" fmla="*/ 296 w 698"/>
                <a:gd name="T53" fmla="*/ 374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98" h="856">
                  <a:moveTo>
                    <a:pt x="0" y="856"/>
                  </a:moveTo>
                  <a:lnTo>
                    <a:pt x="0" y="0"/>
                  </a:lnTo>
                  <a:lnTo>
                    <a:pt x="250" y="0"/>
                  </a:lnTo>
                  <a:cubicBezTo>
                    <a:pt x="342" y="0"/>
                    <a:pt x="457" y="5"/>
                    <a:pt x="537" y="45"/>
                  </a:cubicBezTo>
                  <a:cubicBezTo>
                    <a:pt x="605" y="80"/>
                    <a:pt x="641" y="132"/>
                    <a:pt x="641" y="197"/>
                  </a:cubicBezTo>
                  <a:cubicBezTo>
                    <a:pt x="641" y="289"/>
                    <a:pt x="562" y="352"/>
                    <a:pt x="488" y="379"/>
                  </a:cubicBezTo>
                  <a:cubicBezTo>
                    <a:pt x="468" y="386"/>
                    <a:pt x="454" y="391"/>
                    <a:pt x="443" y="394"/>
                  </a:cubicBezTo>
                  <a:cubicBezTo>
                    <a:pt x="459" y="399"/>
                    <a:pt x="481" y="406"/>
                    <a:pt x="501" y="414"/>
                  </a:cubicBezTo>
                  <a:cubicBezTo>
                    <a:pt x="673" y="480"/>
                    <a:pt x="698" y="578"/>
                    <a:pt x="698" y="630"/>
                  </a:cubicBezTo>
                  <a:cubicBezTo>
                    <a:pt x="698" y="740"/>
                    <a:pt x="612" y="795"/>
                    <a:pt x="541" y="822"/>
                  </a:cubicBezTo>
                  <a:cubicBezTo>
                    <a:pt x="471" y="845"/>
                    <a:pt x="381" y="856"/>
                    <a:pt x="250" y="856"/>
                  </a:cubicBezTo>
                  <a:lnTo>
                    <a:pt x="0" y="856"/>
                  </a:lnTo>
                  <a:close/>
                  <a:moveTo>
                    <a:pt x="161" y="712"/>
                  </a:moveTo>
                  <a:cubicBezTo>
                    <a:pt x="161" y="728"/>
                    <a:pt x="160" y="748"/>
                    <a:pt x="177" y="763"/>
                  </a:cubicBezTo>
                  <a:cubicBezTo>
                    <a:pt x="194" y="779"/>
                    <a:pt x="225" y="785"/>
                    <a:pt x="277" y="785"/>
                  </a:cubicBezTo>
                  <a:cubicBezTo>
                    <a:pt x="439" y="785"/>
                    <a:pt x="528" y="726"/>
                    <a:pt x="528" y="619"/>
                  </a:cubicBezTo>
                  <a:cubicBezTo>
                    <a:pt x="528" y="505"/>
                    <a:pt x="440" y="443"/>
                    <a:pt x="267" y="435"/>
                  </a:cubicBezTo>
                  <a:cubicBezTo>
                    <a:pt x="266" y="435"/>
                    <a:pt x="252" y="435"/>
                    <a:pt x="251" y="435"/>
                  </a:cubicBezTo>
                  <a:lnTo>
                    <a:pt x="161" y="435"/>
                  </a:lnTo>
                  <a:lnTo>
                    <a:pt x="161" y="712"/>
                  </a:lnTo>
                  <a:close/>
                  <a:moveTo>
                    <a:pt x="296" y="374"/>
                  </a:moveTo>
                  <a:cubicBezTo>
                    <a:pt x="425" y="374"/>
                    <a:pt x="479" y="265"/>
                    <a:pt x="479" y="222"/>
                  </a:cubicBezTo>
                  <a:cubicBezTo>
                    <a:pt x="479" y="122"/>
                    <a:pt x="399" y="65"/>
                    <a:pt x="260" y="65"/>
                  </a:cubicBezTo>
                  <a:cubicBezTo>
                    <a:pt x="228" y="65"/>
                    <a:pt x="209" y="67"/>
                    <a:pt x="177" y="70"/>
                  </a:cubicBezTo>
                  <a:lnTo>
                    <a:pt x="161" y="72"/>
                  </a:lnTo>
                  <a:lnTo>
                    <a:pt x="161" y="374"/>
                  </a:lnTo>
                  <a:lnTo>
                    <a:pt x="296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5497A3CE-DDE3-4E27-B293-17F0B04850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600" y="1057275"/>
              <a:ext cx="260350" cy="303213"/>
            </a:xfrm>
            <a:custGeom>
              <a:avLst/>
              <a:gdLst>
                <a:gd name="T0" fmla="*/ 558 w 723"/>
                <a:gd name="T1" fmla="*/ 0 h 839"/>
                <a:gd name="T2" fmla="*/ 558 w 723"/>
                <a:gd name="T3" fmla="*/ 364 h 839"/>
                <a:gd name="T4" fmla="*/ 165 w 723"/>
                <a:gd name="T5" fmla="*/ 364 h 839"/>
                <a:gd name="T6" fmla="*/ 165 w 723"/>
                <a:gd name="T7" fmla="*/ 0 h 839"/>
                <a:gd name="T8" fmla="*/ 0 w 723"/>
                <a:gd name="T9" fmla="*/ 0 h 839"/>
                <a:gd name="T10" fmla="*/ 0 w 723"/>
                <a:gd name="T11" fmla="*/ 839 h 839"/>
                <a:gd name="T12" fmla="*/ 165 w 723"/>
                <a:gd name="T13" fmla="*/ 839 h 839"/>
                <a:gd name="T14" fmla="*/ 165 w 723"/>
                <a:gd name="T15" fmla="*/ 480 h 839"/>
                <a:gd name="T16" fmla="*/ 212 w 723"/>
                <a:gd name="T17" fmla="*/ 442 h 839"/>
                <a:gd name="T18" fmla="*/ 512 w 723"/>
                <a:gd name="T19" fmla="*/ 442 h 839"/>
                <a:gd name="T20" fmla="*/ 558 w 723"/>
                <a:gd name="T21" fmla="*/ 480 h 839"/>
                <a:gd name="T22" fmla="*/ 558 w 723"/>
                <a:gd name="T23" fmla="*/ 839 h 839"/>
                <a:gd name="T24" fmla="*/ 723 w 723"/>
                <a:gd name="T25" fmla="*/ 839 h 839"/>
                <a:gd name="T26" fmla="*/ 723 w 723"/>
                <a:gd name="T27" fmla="*/ 0 h 839"/>
                <a:gd name="T28" fmla="*/ 558 w 723"/>
                <a:gd name="T29" fmla="*/ 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3" h="839">
                  <a:moveTo>
                    <a:pt x="558" y="0"/>
                  </a:moveTo>
                  <a:lnTo>
                    <a:pt x="558" y="364"/>
                  </a:lnTo>
                  <a:lnTo>
                    <a:pt x="165" y="364"/>
                  </a:lnTo>
                  <a:lnTo>
                    <a:pt x="165" y="0"/>
                  </a:lnTo>
                  <a:lnTo>
                    <a:pt x="0" y="0"/>
                  </a:lnTo>
                  <a:lnTo>
                    <a:pt x="0" y="839"/>
                  </a:lnTo>
                  <a:lnTo>
                    <a:pt x="165" y="839"/>
                  </a:lnTo>
                  <a:lnTo>
                    <a:pt x="165" y="480"/>
                  </a:lnTo>
                  <a:cubicBezTo>
                    <a:pt x="165" y="454"/>
                    <a:pt x="189" y="442"/>
                    <a:pt x="212" y="442"/>
                  </a:cubicBezTo>
                  <a:lnTo>
                    <a:pt x="512" y="442"/>
                  </a:lnTo>
                  <a:cubicBezTo>
                    <a:pt x="535" y="442"/>
                    <a:pt x="558" y="454"/>
                    <a:pt x="558" y="480"/>
                  </a:cubicBezTo>
                  <a:lnTo>
                    <a:pt x="558" y="839"/>
                  </a:lnTo>
                  <a:lnTo>
                    <a:pt x="723" y="839"/>
                  </a:lnTo>
                  <a:lnTo>
                    <a:pt x="723" y="0"/>
                  </a:lnTo>
                  <a:lnTo>
                    <a:pt x="55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2CDF6CE4-0362-4B4B-B84D-3EF94CE3AB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23888" y="1557338"/>
              <a:ext cx="2735263" cy="106363"/>
            </a:xfrm>
            <a:custGeom>
              <a:avLst/>
              <a:gdLst>
                <a:gd name="T0" fmla="*/ 7350 w 7569"/>
                <a:gd name="T1" fmla="*/ 285 h 292"/>
                <a:gd name="T2" fmla="*/ 7273 w 7569"/>
                <a:gd name="T3" fmla="*/ 149 h 292"/>
                <a:gd name="T4" fmla="*/ 7144 w 7569"/>
                <a:gd name="T5" fmla="*/ 7 h 292"/>
                <a:gd name="T6" fmla="*/ 7175 w 7569"/>
                <a:gd name="T7" fmla="*/ 152 h 292"/>
                <a:gd name="T8" fmla="*/ 6990 w 7569"/>
                <a:gd name="T9" fmla="*/ 278 h 292"/>
                <a:gd name="T10" fmla="*/ 6845 w 7569"/>
                <a:gd name="T11" fmla="*/ 15 h 292"/>
                <a:gd name="T12" fmla="*/ 6775 w 7569"/>
                <a:gd name="T13" fmla="*/ 279 h 292"/>
                <a:gd name="T14" fmla="*/ 6513 w 7569"/>
                <a:gd name="T15" fmla="*/ 14 h 292"/>
                <a:gd name="T16" fmla="*/ 6738 w 7569"/>
                <a:gd name="T17" fmla="*/ 65 h 292"/>
                <a:gd name="T18" fmla="*/ 6444 w 7569"/>
                <a:gd name="T19" fmla="*/ 278 h 292"/>
                <a:gd name="T20" fmla="*/ 6365 w 7569"/>
                <a:gd name="T21" fmla="*/ 282 h 292"/>
                <a:gd name="T22" fmla="*/ 6044 w 7569"/>
                <a:gd name="T23" fmla="*/ 67 h 292"/>
                <a:gd name="T24" fmla="*/ 5915 w 7569"/>
                <a:gd name="T25" fmla="*/ 213 h 292"/>
                <a:gd name="T26" fmla="*/ 5663 w 7569"/>
                <a:gd name="T27" fmla="*/ 140 h 292"/>
                <a:gd name="T28" fmla="*/ 5852 w 7569"/>
                <a:gd name="T29" fmla="*/ 238 h 292"/>
                <a:gd name="T30" fmla="*/ 5390 w 7569"/>
                <a:gd name="T31" fmla="*/ 13 h 292"/>
                <a:gd name="T32" fmla="*/ 5540 w 7569"/>
                <a:gd name="T33" fmla="*/ 280 h 292"/>
                <a:gd name="T34" fmla="*/ 5390 w 7569"/>
                <a:gd name="T35" fmla="*/ 13 h 292"/>
                <a:gd name="T36" fmla="*/ 5281 w 7569"/>
                <a:gd name="T37" fmla="*/ 14 h 292"/>
                <a:gd name="T38" fmla="*/ 4974 w 7569"/>
                <a:gd name="T39" fmla="*/ 285 h 292"/>
                <a:gd name="T40" fmla="*/ 4809 w 7569"/>
                <a:gd name="T41" fmla="*/ 7 h 292"/>
                <a:gd name="T42" fmla="*/ 4816 w 7569"/>
                <a:gd name="T43" fmla="*/ 260 h 292"/>
                <a:gd name="T44" fmla="*/ 4687 w 7569"/>
                <a:gd name="T45" fmla="*/ 139 h 292"/>
                <a:gd name="T46" fmla="*/ 4425 w 7569"/>
                <a:gd name="T47" fmla="*/ 279 h 292"/>
                <a:gd name="T48" fmla="*/ 4236 w 7569"/>
                <a:gd name="T49" fmla="*/ 7 h 292"/>
                <a:gd name="T50" fmla="*/ 4068 w 7569"/>
                <a:gd name="T51" fmla="*/ 152 h 292"/>
                <a:gd name="T52" fmla="*/ 4085 w 7569"/>
                <a:gd name="T53" fmla="*/ 7 h 292"/>
                <a:gd name="T54" fmla="*/ 3977 w 7569"/>
                <a:gd name="T55" fmla="*/ 260 h 292"/>
                <a:gd name="T56" fmla="*/ 3893 w 7569"/>
                <a:gd name="T57" fmla="*/ 248 h 292"/>
                <a:gd name="T58" fmla="*/ 3414 w 7569"/>
                <a:gd name="T59" fmla="*/ 7 h 292"/>
                <a:gd name="T60" fmla="*/ 3621 w 7569"/>
                <a:gd name="T61" fmla="*/ 286 h 292"/>
                <a:gd name="T62" fmla="*/ 3247 w 7569"/>
                <a:gd name="T63" fmla="*/ 59 h 292"/>
                <a:gd name="T64" fmla="*/ 3261 w 7569"/>
                <a:gd name="T65" fmla="*/ 7 h 292"/>
                <a:gd name="T66" fmla="*/ 3289 w 7569"/>
                <a:gd name="T67" fmla="*/ 176 h 292"/>
                <a:gd name="T68" fmla="*/ 2941 w 7569"/>
                <a:gd name="T69" fmla="*/ 286 h 292"/>
                <a:gd name="T70" fmla="*/ 3116 w 7569"/>
                <a:gd name="T71" fmla="*/ 282 h 292"/>
                <a:gd name="T72" fmla="*/ 2868 w 7569"/>
                <a:gd name="T73" fmla="*/ 14 h 292"/>
                <a:gd name="T74" fmla="*/ 2713 w 7569"/>
                <a:gd name="T75" fmla="*/ 7 h 292"/>
                <a:gd name="T76" fmla="*/ 2552 w 7569"/>
                <a:gd name="T77" fmla="*/ 122 h 292"/>
                <a:gd name="T78" fmla="*/ 2538 w 7569"/>
                <a:gd name="T79" fmla="*/ 159 h 292"/>
                <a:gd name="T80" fmla="*/ 2552 w 7569"/>
                <a:gd name="T81" fmla="*/ 122 h 292"/>
                <a:gd name="T82" fmla="*/ 2217 w 7569"/>
                <a:gd name="T83" fmla="*/ 61 h 292"/>
                <a:gd name="T84" fmla="*/ 2376 w 7569"/>
                <a:gd name="T85" fmla="*/ 219 h 292"/>
                <a:gd name="T86" fmla="*/ 2116 w 7569"/>
                <a:gd name="T87" fmla="*/ 278 h 292"/>
                <a:gd name="T88" fmla="*/ 1951 w 7569"/>
                <a:gd name="T89" fmla="*/ 282 h 292"/>
                <a:gd name="T90" fmla="*/ 1736 w 7569"/>
                <a:gd name="T91" fmla="*/ 286 h 292"/>
                <a:gd name="T92" fmla="*/ 1455 w 7569"/>
                <a:gd name="T93" fmla="*/ 278 h 292"/>
                <a:gd name="T94" fmla="*/ 1676 w 7569"/>
                <a:gd name="T95" fmla="*/ 14 h 292"/>
                <a:gd name="T96" fmla="*/ 1260 w 7569"/>
                <a:gd name="T97" fmla="*/ 153 h 292"/>
                <a:gd name="T98" fmla="*/ 1284 w 7569"/>
                <a:gd name="T99" fmla="*/ 13 h 292"/>
                <a:gd name="T100" fmla="*/ 1101 w 7569"/>
                <a:gd name="T101" fmla="*/ 280 h 292"/>
                <a:gd name="T102" fmla="*/ 1114 w 7569"/>
                <a:gd name="T103" fmla="*/ 216 h 292"/>
                <a:gd name="T104" fmla="*/ 863 w 7569"/>
                <a:gd name="T105" fmla="*/ 12 h 292"/>
                <a:gd name="T106" fmla="*/ 763 w 7569"/>
                <a:gd name="T107" fmla="*/ 24 h 292"/>
                <a:gd name="T108" fmla="*/ 770 w 7569"/>
                <a:gd name="T109" fmla="*/ 267 h 292"/>
                <a:gd name="T110" fmla="*/ 669 w 7569"/>
                <a:gd name="T111" fmla="*/ 25 h 292"/>
                <a:gd name="T112" fmla="*/ 591 w 7569"/>
                <a:gd name="T113" fmla="*/ 278 h 292"/>
                <a:gd name="T114" fmla="*/ 347 w 7569"/>
                <a:gd name="T115" fmla="*/ 24 h 292"/>
                <a:gd name="T116" fmla="*/ 133 w 7569"/>
                <a:gd name="T117" fmla="*/ 171 h 292"/>
                <a:gd name="T118" fmla="*/ 39 w 7569"/>
                <a:gd name="T119" fmla="*/ 129 h 292"/>
                <a:gd name="T120" fmla="*/ 170 w 7569"/>
                <a:gd name="T121" fmla="*/ 71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69" h="292">
                  <a:moveTo>
                    <a:pt x="7383" y="30"/>
                  </a:moveTo>
                  <a:cubicBezTo>
                    <a:pt x="7390" y="29"/>
                    <a:pt x="7396" y="28"/>
                    <a:pt x="7408" y="28"/>
                  </a:cubicBezTo>
                  <a:cubicBezTo>
                    <a:pt x="7445" y="28"/>
                    <a:pt x="7476" y="37"/>
                    <a:pt x="7498" y="62"/>
                  </a:cubicBezTo>
                  <a:cubicBezTo>
                    <a:pt x="7519" y="85"/>
                    <a:pt x="7526" y="115"/>
                    <a:pt x="7526" y="145"/>
                  </a:cubicBezTo>
                  <a:cubicBezTo>
                    <a:pt x="7526" y="216"/>
                    <a:pt x="7488" y="264"/>
                    <a:pt x="7404" y="264"/>
                  </a:cubicBezTo>
                  <a:cubicBezTo>
                    <a:pt x="7394" y="264"/>
                    <a:pt x="7388" y="263"/>
                    <a:pt x="7383" y="262"/>
                  </a:cubicBezTo>
                  <a:lnTo>
                    <a:pt x="7383" y="30"/>
                  </a:lnTo>
                  <a:close/>
                  <a:moveTo>
                    <a:pt x="7343" y="275"/>
                  </a:moveTo>
                  <a:cubicBezTo>
                    <a:pt x="7343" y="280"/>
                    <a:pt x="7344" y="283"/>
                    <a:pt x="7350" y="285"/>
                  </a:cubicBezTo>
                  <a:cubicBezTo>
                    <a:pt x="7361" y="287"/>
                    <a:pt x="7389" y="288"/>
                    <a:pt x="7403" y="288"/>
                  </a:cubicBezTo>
                  <a:cubicBezTo>
                    <a:pt x="7447" y="288"/>
                    <a:pt x="7492" y="279"/>
                    <a:pt x="7526" y="250"/>
                  </a:cubicBezTo>
                  <a:cubicBezTo>
                    <a:pt x="7541" y="236"/>
                    <a:pt x="7569" y="204"/>
                    <a:pt x="7569" y="147"/>
                  </a:cubicBezTo>
                  <a:cubicBezTo>
                    <a:pt x="7569" y="82"/>
                    <a:pt x="7530" y="4"/>
                    <a:pt x="7413" y="4"/>
                  </a:cubicBezTo>
                  <a:cubicBezTo>
                    <a:pt x="7389" y="4"/>
                    <a:pt x="7359" y="7"/>
                    <a:pt x="7349" y="11"/>
                  </a:cubicBezTo>
                  <a:cubicBezTo>
                    <a:pt x="7345" y="12"/>
                    <a:pt x="7343" y="13"/>
                    <a:pt x="7343" y="22"/>
                  </a:cubicBezTo>
                  <a:lnTo>
                    <a:pt x="7343" y="275"/>
                  </a:lnTo>
                  <a:close/>
                  <a:moveTo>
                    <a:pt x="7266" y="152"/>
                  </a:moveTo>
                  <a:cubicBezTo>
                    <a:pt x="7270" y="152"/>
                    <a:pt x="7272" y="152"/>
                    <a:pt x="7273" y="149"/>
                  </a:cubicBezTo>
                  <a:cubicBezTo>
                    <a:pt x="7273" y="147"/>
                    <a:pt x="7273" y="138"/>
                    <a:pt x="7273" y="133"/>
                  </a:cubicBezTo>
                  <a:cubicBezTo>
                    <a:pt x="7273" y="127"/>
                    <a:pt x="7270" y="127"/>
                    <a:pt x="7266" y="127"/>
                  </a:cubicBezTo>
                  <a:lnTo>
                    <a:pt x="7175" y="127"/>
                  </a:lnTo>
                  <a:lnTo>
                    <a:pt x="7175" y="32"/>
                  </a:lnTo>
                  <a:lnTo>
                    <a:pt x="7282" y="32"/>
                  </a:lnTo>
                  <a:cubicBezTo>
                    <a:pt x="7288" y="32"/>
                    <a:pt x="7289" y="31"/>
                    <a:pt x="7290" y="28"/>
                  </a:cubicBezTo>
                  <a:cubicBezTo>
                    <a:pt x="7290" y="26"/>
                    <a:pt x="7290" y="18"/>
                    <a:pt x="7290" y="13"/>
                  </a:cubicBezTo>
                  <a:cubicBezTo>
                    <a:pt x="7290" y="7"/>
                    <a:pt x="7287" y="7"/>
                    <a:pt x="7282" y="7"/>
                  </a:cubicBezTo>
                  <a:lnTo>
                    <a:pt x="7144" y="7"/>
                  </a:lnTo>
                  <a:cubicBezTo>
                    <a:pt x="7137" y="7"/>
                    <a:pt x="7136" y="9"/>
                    <a:pt x="7136" y="16"/>
                  </a:cubicBezTo>
                  <a:lnTo>
                    <a:pt x="7136" y="279"/>
                  </a:lnTo>
                  <a:cubicBezTo>
                    <a:pt x="7136" y="285"/>
                    <a:pt x="7138" y="286"/>
                    <a:pt x="7144" y="286"/>
                  </a:cubicBezTo>
                  <a:lnTo>
                    <a:pt x="7282" y="286"/>
                  </a:lnTo>
                  <a:cubicBezTo>
                    <a:pt x="7287" y="286"/>
                    <a:pt x="7290" y="285"/>
                    <a:pt x="7290" y="279"/>
                  </a:cubicBezTo>
                  <a:lnTo>
                    <a:pt x="7290" y="267"/>
                  </a:lnTo>
                  <a:cubicBezTo>
                    <a:pt x="7290" y="260"/>
                    <a:pt x="7288" y="260"/>
                    <a:pt x="7282" y="260"/>
                  </a:cubicBezTo>
                  <a:lnTo>
                    <a:pt x="7175" y="260"/>
                  </a:lnTo>
                  <a:lnTo>
                    <a:pt x="7175" y="152"/>
                  </a:lnTo>
                  <a:lnTo>
                    <a:pt x="7266" y="152"/>
                  </a:lnTo>
                  <a:close/>
                  <a:moveTo>
                    <a:pt x="7099" y="32"/>
                  </a:moveTo>
                  <a:cubicBezTo>
                    <a:pt x="7105" y="32"/>
                    <a:pt x="7107" y="30"/>
                    <a:pt x="7107" y="25"/>
                  </a:cubicBezTo>
                  <a:cubicBezTo>
                    <a:pt x="7107" y="8"/>
                    <a:pt x="7107" y="7"/>
                    <a:pt x="7099" y="7"/>
                  </a:cubicBezTo>
                  <a:lnTo>
                    <a:pt x="6921" y="7"/>
                  </a:lnTo>
                  <a:cubicBezTo>
                    <a:pt x="6913" y="7"/>
                    <a:pt x="6913" y="9"/>
                    <a:pt x="6913" y="24"/>
                  </a:cubicBezTo>
                  <a:cubicBezTo>
                    <a:pt x="6913" y="30"/>
                    <a:pt x="6915" y="32"/>
                    <a:pt x="6921" y="32"/>
                  </a:cubicBezTo>
                  <a:lnTo>
                    <a:pt x="6990" y="32"/>
                  </a:lnTo>
                  <a:lnTo>
                    <a:pt x="6990" y="278"/>
                  </a:lnTo>
                  <a:cubicBezTo>
                    <a:pt x="6991" y="285"/>
                    <a:pt x="6993" y="286"/>
                    <a:pt x="6999" y="286"/>
                  </a:cubicBezTo>
                  <a:lnTo>
                    <a:pt x="7022" y="286"/>
                  </a:lnTo>
                  <a:cubicBezTo>
                    <a:pt x="7029" y="286"/>
                    <a:pt x="7029" y="284"/>
                    <a:pt x="7029" y="278"/>
                  </a:cubicBezTo>
                  <a:lnTo>
                    <a:pt x="7029" y="32"/>
                  </a:lnTo>
                  <a:lnTo>
                    <a:pt x="7099" y="32"/>
                  </a:lnTo>
                  <a:close/>
                  <a:moveTo>
                    <a:pt x="6884" y="14"/>
                  </a:moveTo>
                  <a:cubicBezTo>
                    <a:pt x="6884" y="7"/>
                    <a:pt x="6882" y="7"/>
                    <a:pt x="6876" y="7"/>
                  </a:cubicBezTo>
                  <a:lnTo>
                    <a:pt x="6852" y="7"/>
                  </a:lnTo>
                  <a:cubicBezTo>
                    <a:pt x="6846" y="6"/>
                    <a:pt x="6845" y="8"/>
                    <a:pt x="6845" y="15"/>
                  </a:cubicBezTo>
                  <a:lnTo>
                    <a:pt x="6845" y="278"/>
                  </a:lnTo>
                  <a:cubicBezTo>
                    <a:pt x="6845" y="285"/>
                    <a:pt x="6848" y="286"/>
                    <a:pt x="6852" y="286"/>
                  </a:cubicBezTo>
                  <a:lnTo>
                    <a:pt x="6876" y="286"/>
                  </a:lnTo>
                  <a:cubicBezTo>
                    <a:pt x="6882" y="286"/>
                    <a:pt x="6884" y="285"/>
                    <a:pt x="6884" y="278"/>
                  </a:cubicBezTo>
                  <a:lnTo>
                    <a:pt x="6884" y="14"/>
                  </a:lnTo>
                  <a:close/>
                  <a:moveTo>
                    <a:pt x="6738" y="278"/>
                  </a:moveTo>
                  <a:cubicBezTo>
                    <a:pt x="6738" y="285"/>
                    <a:pt x="6739" y="286"/>
                    <a:pt x="6745" y="286"/>
                  </a:cubicBezTo>
                  <a:lnTo>
                    <a:pt x="6767" y="286"/>
                  </a:lnTo>
                  <a:cubicBezTo>
                    <a:pt x="6774" y="286"/>
                    <a:pt x="6775" y="285"/>
                    <a:pt x="6775" y="279"/>
                  </a:cubicBezTo>
                  <a:lnTo>
                    <a:pt x="6775" y="13"/>
                  </a:lnTo>
                  <a:cubicBezTo>
                    <a:pt x="6775" y="7"/>
                    <a:pt x="6773" y="7"/>
                    <a:pt x="6767" y="7"/>
                  </a:cubicBezTo>
                  <a:lnTo>
                    <a:pt x="6740" y="7"/>
                  </a:lnTo>
                  <a:cubicBezTo>
                    <a:pt x="6733" y="7"/>
                    <a:pt x="6733" y="7"/>
                    <a:pt x="6730" y="15"/>
                  </a:cubicBezTo>
                  <a:lnTo>
                    <a:pt x="6645" y="219"/>
                  </a:lnTo>
                  <a:lnTo>
                    <a:pt x="6557" y="14"/>
                  </a:lnTo>
                  <a:cubicBezTo>
                    <a:pt x="6554" y="7"/>
                    <a:pt x="6553" y="7"/>
                    <a:pt x="6547" y="7"/>
                  </a:cubicBezTo>
                  <a:lnTo>
                    <a:pt x="6520" y="7"/>
                  </a:lnTo>
                  <a:cubicBezTo>
                    <a:pt x="6514" y="7"/>
                    <a:pt x="6513" y="8"/>
                    <a:pt x="6513" y="14"/>
                  </a:cubicBezTo>
                  <a:lnTo>
                    <a:pt x="6513" y="278"/>
                  </a:lnTo>
                  <a:cubicBezTo>
                    <a:pt x="6513" y="283"/>
                    <a:pt x="6513" y="285"/>
                    <a:pt x="6517" y="286"/>
                  </a:cubicBezTo>
                  <a:lnTo>
                    <a:pt x="6536" y="286"/>
                  </a:lnTo>
                  <a:cubicBezTo>
                    <a:pt x="6541" y="286"/>
                    <a:pt x="6543" y="285"/>
                    <a:pt x="6543" y="279"/>
                  </a:cubicBezTo>
                  <a:lnTo>
                    <a:pt x="6543" y="65"/>
                  </a:lnTo>
                  <a:lnTo>
                    <a:pt x="6633" y="278"/>
                  </a:lnTo>
                  <a:cubicBezTo>
                    <a:pt x="6636" y="285"/>
                    <a:pt x="6637" y="287"/>
                    <a:pt x="6642" y="287"/>
                  </a:cubicBezTo>
                  <a:cubicBezTo>
                    <a:pt x="6646" y="287"/>
                    <a:pt x="6646" y="286"/>
                    <a:pt x="6650" y="278"/>
                  </a:cubicBezTo>
                  <a:lnTo>
                    <a:pt x="6738" y="65"/>
                  </a:lnTo>
                  <a:lnTo>
                    <a:pt x="6738" y="278"/>
                  </a:lnTo>
                  <a:close/>
                  <a:moveTo>
                    <a:pt x="6444" y="14"/>
                  </a:moveTo>
                  <a:cubicBezTo>
                    <a:pt x="6444" y="7"/>
                    <a:pt x="6441" y="7"/>
                    <a:pt x="6436" y="7"/>
                  </a:cubicBezTo>
                  <a:lnTo>
                    <a:pt x="6412" y="7"/>
                  </a:lnTo>
                  <a:cubicBezTo>
                    <a:pt x="6406" y="6"/>
                    <a:pt x="6404" y="8"/>
                    <a:pt x="6404" y="15"/>
                  </a:cubicBezTo>
                  <a:lnTo>
                    <a:pt x="6404" y="278"/>
                  </a:lnTo>
                  <a:cubicBezTo>
                    <a:pt x="6404" y="285"/>
                    <a:pt x="6407" y="286"/>
                    <a:pt x="6412" y="286"/>
                  </a:cubicBezTo>
                  <a:lnTo>
                    <a:pt x="6436" y="286"/>
                  </a:lnTo>
                  <a:cubicBezTo>
                    <a:pt x="6442" y="286"/>
                    <a:pt x="6444" y="285"/>
                    <a:pt x="6444" y="278"/>
                  </a:cubicBezTo>
                  <a:lnTo>
                    <a:pt x="6444" y="14"/>
                  </a:lnTo>
                  <a:close/>
                  <a:moveTo>
                    <a:pt x="6253" y="14"/>
                  </a:moveTo>
                  <a:cubicBezTo>
                    <a:pt x="6253" y="8"/>
                    <a:pt x="6252" y="7"/>
                    <a:pt x="6246" y="7"/>
                  </a:cubicBezTo>
                  <a:lnTo>
                    <a:pt x="6221" y="7"/>
                  </a:lnTo>
                  <a:cubicBezTo>
                    <a:pt x="6216" y="7"/>
                    <a:pt x="6214" y="7"/>
                    <a:pt x="6214" y="14"/>
                  </a:cubicBezTo>
                  <a:lnTo>
                    <a:pt x="6214" y="279"/>
                  </a:lnTo>
                  <a:cubicBezTo>
                    <a:pt x="6214" y="283"/>
                    <a:pt x="6215" y="286"/>
                    <a:pt x="6221" y="286"/>
                  </a:cubicBezTo>
                  <a:lnTo>
                    <a:pt x="6358" y="286"/>
                  </a:lnTo>
                  <a:cubicBezTo>
                    <a:pt x="6361" y="286"/>
                    <a:pt x="6364" y="286"/>
                    <a:pt x="6365" y="282"/>
                  </a:cubicBezTo>
                  <a:lnTo>
                    <a:pt x="6365" y="267"/>
                  </a:lnTo>
                  <a:cubicBezTo>
                    <a:pt x="6365" y="262"/>
                    <a:pt x="6364" y="260"/>
                    <a:pt x="6358" y="260"/>
                  </a:cubicBezTo>
                  <a:lnTo>
                    <a:pt x="6253" y="260"/>
                  </a:lnTo>
                  <a:lnTo>
                    <a:pt x="6253" y="14"/>
                  </a:lnTo>
                  <a:close/>
                  <a:moveTo>
                    <a:pt x="5991" y="122"/>
                  </a:moveTo>
                  <a:cubicBezTo>
                    <a:pt x="5960" y="109"/>
                    <a:pt x="5936" y="98"/>
                    <a:pt x="5936" y="67"/>
                  </a:cubicBezTo>
                  <a:cubicBezTo>
                    <a:pt x="5936" y="44"/>
                    <a:pt x="5954" y="24"/>
                    <a:pt x="5980" y="24"/>
                  </a:cubicBezTo>
                  <a:cubicBezTo>
                    <a:pt x="6005" y="24"/>
                    <a:pt x="6017" y="41"/>
                    <a:pt x="6025" y="53"/>
                  </a:cubicBezTo>
                  <a:cubicBezTo>
                    <a:pt x="6029" y="60"/>
                    <a:pt x="6034" y="67"/>
                    <a:pt x="6044" y="67"/>
                  </a:cubicBezTo>
                  <a:cubicBezTo>
                    <a:pt x="6054" y="67"/>
                    <a:pt x="6061" y="59"/>
                    <a:pt x="6061" y="49"/>
                  </a:cubicBezTo>
                  <a:cubicBezTo>
                    <a:pt x="6061" y="29"/>
                    <a:pt x="6029" y="1"/>
                    <a:pt x="5982" y="1"/>
                  </a:cubicBezTo>
                  <a:cubicBezTo>
                    <a:pt x="5931" y="1"/>
                    <a:pt x="5899" y="33"/>
                    <a:pt x="5899" y="75"/>
                  </a:cubicBezTo>
                  <a:cubicBezTo>
                    <a:pt x="5899" y="122"/>
                    <a:pt x="5940" y="141"/>
                    <a:pt x="5956" y="149"/>
                  </a:cubicBezTo>
                  <a:lnTo>
                    <a:pt x="5977" y="159"/>
                  </a:lnTo>
                  <a:cubicBezTo>
                    <a:pt x="6008" y="173"/>
                    <a:pt x="6035" y="187"/>
                    <a:pt x="6035" y="221"/>
                  </a:cubicBezTo>
                  <a:cubicBezTo>
                    <a:pt x="6035" y="246"/>
                    <a:pt x="6017" y="267"/>
                    <a:pt x="5987" y="267"/>
                  </a:cubicBezTo>
                  <a:cubicBezTo>
                    <a:pt x="5954" y="267"/>
                    <a:pt x="5941" y="242"/>
                    <a:pt x="5935" y="230"/>
                  </a:cubicBezTo>
                  <a:cubicBezTo>
                    <a:pt x="5931" y="221"/>
                    <a:pt x="5926" y="213"/>
                    <a:pt x="5915" y="213"/>
                  </a:cubicBezTo>
                  <a:cubicBezTo>
                    <a:pt x="5905" y="213"/>
                    <a:pt x="5896" y="219"/>
                    <a:pt x="5896" y="232"/>
                  </a:cubicBezTo>
                  <a:cubicBezTo>
                    <a:pt x="5896" y="249"/>
                    <a:pt x="5920" y="292"/>
                    <a:pt x="5984" y="292"/>
                  </a:cubicBezTo>
                  <a:cubicBezTo>
                    <a:pt x="6036" y="292"/>
                    <a:pt x="6072" y="259"/>
                    <a:pt x="6072" y="212"/>
                  </a:cubicBezTo>
                  <a:cubicBezTo>
                    <a:pt x="6072" y="162"/>
                    <a:pt x="6031" y="142"/>
                    <a:pt x="6011" y="132"/>
                  </a:cubicBezTo>
                  <a:lnTo>
                    <a:pt x="5991" y="122"/>
                  </a:lnTo>
                  <a:close/>
                  <a:moveTo>
                    <a:pt x="5814" y="228"/>
                  </a:moveTo>
                  <a:cubicBezTo>
                    <a:pt x="5814" y="241"/>
                    <a:pt x="5813" y="249"/>
                    <a:pt x="5803" y="256"/>
                  </a:cubicBezTo>
                  <a:cubicBezTo>
                    <a:pt x="5793" y="263"/>
                    <a:pt x="5777" y="266"/>
                    <a:pt x="5762" y="266"/>
                  </a:cubicBezTo>
                  <a:cubicBezTo>
                    <a:pt x="5699" y="266"/>
                    <a:pt x="5663" y="210"/>
                    <a:pt x="5663" y="140"/>
                  </a:cubicBezTo>
                  <a:cubicBezTo>
                    <a:pt x="5663" y="62"/>
                    <a:pt x="5707" y="25"/>
                    <a:pt x="5752" y="25"/>
                  </a:cubicBezTo>
                  <a:cubicBezTo>
                    <a:pt x="5787" y="25"/>
                    <a:pt x="5803" y="47"/>
                    <a:pt x="5811" y="59"/>
                  </a:cubicBezTo>
                  <a:cubicBezTo>
                    <a:pt x="5819" y="71"/>
                    <a:pt x="5824" y="79"/>
                    <a:pt x="5834" y="79"/>
                  </a:cubicBezTo>
                  <a:cubicBezTo>
                    <a:pt x="5843" y="79"/>
                    <a:pt x="5853" y="72"/>
                    <a:pt x="5853" y="60"/>
                  </a:cubicBezTo>
                  <a:cubicBezTo>
                    <a:pt x="5853" y="41"/>
                    <a:pt x="5819" y="1"/>
                    <a:pt x="5753" y="1"/>
                  </a:cubicBezTo>
                  <a:cubicBezTo>
                    <a:pt x="5673" y="1"/>
                    <a:pt x="5621" y="61"/>
                    <a:pt x="5621" y="146"/>
                  </a:cubicBezTo>
                  <a:cubicBezTo>
                    <a:pt x="5621" y="223"/>
                    <a:pt x="5662" y="292"/>
                    <a:pt x="5759" y="292"/>
                  </a:cubicBezTo>
                  <a:cubicBezTo>
                    <a:pt x="5802" y="292"/>
                    <a:pt x="5834" y="277"/>
                    <a:pt x="5847" y="260"/>
                  </a:cubicBezTo>
                  <a:cubicBezTo>
                    <a:pt x="5852" y="254"/>
                    <a:pt x="5852" y="252"/>
                    <a:pt x="5852" y="238"/>
                  </a:cubicBezTo>
                  <a:lnTo>
                    <a:pt x="5852" y="155"/>
                  </a:lnTo>
                  <a:cubicBezTo>
                    <a:pt x="5852" y="150"/>
                    <a:pt x="5852" y="147"/>
                    <a:pt x="5845" y="147"/>
                  </a:cubicBezTo>
                  <a:lnTo>
                    <a:pt x="5760" y="147"/>
                  </a:lnTo>
                  <a:cubicBezTo>
                    <a:pt x="5756" y="147"/>
                    <a:pt x="5753" y="147"/>
                    <a:pt x="5752" y="151"/>
                  </a:cubicBezTo>
                  <a:lnTo>
                    <a:pt x="5752" y="163"/>
                  </a:lnTo>
                  <a:cubicBezTo>
                    <a:pt x="5752" y="170"/>
                    <a:pt x="5753" y="170"/>
                    <a:pt x="5760" y="170"/>
                  </a:cubicBezTo>
                  <a:lnTo>
                    <a:pt x="5814" y="170"/>
                  </a:lnTo>
                  <a:lnTo>
                    <a:pt x="5814" y="228"/>
                  </a:lnTo>
                  <a:close/>
                  <a:moveTo>
                    <a:pt x="5390" y="13"/>
                  </a:moveTo>
                  <a:cubicBezTo>
                    <a:pt x="5386" y="7"/>
                    <a:pt x="5386" y="7"/>
                    <a:pt x="5381" y="7"/>
                  </a:cubicBezTo>
                  <a:lnTo>
                    <a:pt x="5358" y="7"/>
                  </a:lnTo>
                  <a:cubicBezTo>
                    <a:pt x="5351" y="7"/>
                    <a:pt x="5350" y="8"/>
                    <a:pt x="5350" y="14"/>
                  </a:cubicBezTo>
                  <a:lnTo>
                    <a:pt x="5350" y="278"/>
                  </a:lnTo>
                  <a:cubicBezTo>
                    <a:pt x="5350" y="284"/>
                    <a:pt x="5351" y="286"/>
                    <a:pt x="5357" y="286"/>
                  </a:cubicBezTo>
                  <a:cubicBezTo>
                    <a:pt x="5364" y="286"/>
                    <a:pt x="5377" y="286"/>
                    <a:pt x="5378" y="285"/>
                  </a:cubicBezTo>
                  <a:cubicBezTo>
                    <a:pt x="5381" y="285"/>
                    <a:pt x="5381" y="283"/>
                    <a:pt x="5381" y="278"/>
                  </a:cubicBezTo>
                  <a:lnTo>
                    <a:pt x="5381" y="61"/>
                  </a:lnTo>
                  <a:lnTo>
                    <a:pt x="5540" y="280"/>
                  </a:lnTo>
                  <a:cubicBezTo>
                    <a:pt x="5544" y="285"/>
                    <a:pt x="5545" y="285"/>
                    <a:pt x="5549" y="286"/>
                  </a:cubicBezTo>
                  <a:lnTo>
                    <a:pt x="5564" y="286"/>
                  </a:lnTo>
                  <a:cubicBezTo>
                    <a:pt x="5569" y="286"/>
                    <a:pt x="5571" y="285"/>
                    <a:pt x="5571" y="279"/>
                  </a:cubicBezTo>
                  <a:lnTo>
                    <a:pt x="5571" y="14"/>
                  </a:lnTo>
                  <a:cubicBezTo>
                    <a:pt x="5571" y="8"/>
                    <a:pt x="5570" y="7"/>
                    <a:pt x="5565" y="7"/>
                  </a:cubicBezTo>
                  <a:lnTo>
                    <a:pt x="5544" y="7"/>
                  </a:lnTo>
                  <a:cubicBezTo>
                    <a:pt x="5541" y="7"/>
                    <a:pt x="5540" y="9"/>
                    <a:pt x="5540" y="14"/>
                  </a:cubicBezTo>
                  <a:lnTo>
                    <a:pt x="5540" y="219"/>
                  </a:lnTo>
                  <a:lnTo>
                    <a:pt x="5390" y="13"/>
                  </a:lnTo>
                  <a:close/>
                  <a:moveTo>
                    <a:pt x="5281" y="14"/>
                  </a:moveTo>
                  <a:cubicBezTo>
                    <a:pt x="5281" y="7"/>
                    <a:pt x="5278" y="7"/>
                    <a:pt x="5273" y="7"/>
                  </a:cubicBezTo>
                  <a:lnTo>
                    <a:pt x="5249" y="7"/>
                  </a:lnTo>
                  <a:cubicBezTo>
                    <a:pt x="5243" y="6"/>
                    <a:pt x="5242" y="8"/>
                    <a:pt x="5242" y="15"/>
                  </a:cubicBezTo>
                  <a:lnTo>
                    <a:pt x="5242" y="278"/>
                  </a:lnTo>
                  <a:cubicBezTo>
                    <a:pt x="5242" y="285"/>
                    <a:pt x="5244" y="286"/>
                    <a:pt x="5249" y="286"/>
                  </a:cubicBezTo>
                  <a:lnTo>
                    <a:pt x="5273" y="286"/>
                  </a:lnTo>
                  <a:cubicBezTo>
                    <a:pt x="5279" y="286"/>
                    <a:pt x="5281" y="285"/>
                    <a:pt x="5281" y="278"/>
                  </a:cubicBezTo>
                  <a:lnTo>
                    <a:pt x="5281" y="14"/>
                  </a:lnTo>
                  <a:close/>
                  <a:moveTo>
                    <a:pt x="5007" y="30"/>
                  </a:moveTo>
                  <a:cubicBezTo>
                    <a:pt x="5014" y="29"/>
                    <a:pt x="5021" y="28"/>
                    <a:pt x="5032" y="28"/>
                  </a:cubicBezTo>
                  <a:cubicBezTo>
                    <a:pt x="5069" y="28"/>
                    <a:pt x="5100" y="37"/>
                    <a:pt x="5123" y="62"/>
                  </a:cubicBezTo>
                  <a:cubicBezTo>
                    <a:pt x="5143" y="85"/>
                    <a:pt x="5151" y="115"/>
                    <a:pt x="5151" y="145"/>
                  </a:cubicBezTo>
                  <a:cubicBezTo>
                    <a:pt x="5151" y="216"/>
                    <a:pt x="5113" y="264"/>
                    <a:pt x="5028" y="264"/>
                  </a:cubicBezTo>
                  <a:cubicBezTo>
                    <a:pt x="5019" y="264"/>
                    <a:pt x="5012" y="263"/>
                    <a:pt x="5007" y="262"/>
                  </a:cubicBezTo>
                  <a:lnTo>
                    <a:pt x="5007" y="30"/>
                  </a:lnTo>
                  <a:close/>
                  <a:moveTo>
                    <a:pt x="4968" y="275"/>
                  </a:moveTo>
                  <a:cubicBezTo>
                    <a:pt x="4968" y="280"/>
                    <a:pt x="4968" y="283"/>
                    <a:pt x="4974" y="285"/>
                  </a:cubicBezTo>
                  <a:cubicBezTo>
                    <a:pt x="4985" y="287"/>
                    <a:pt x="5013" y="288"/>
                    <a:pt x="5027" y="288"/>
                  </a:cubicBezTo>
                  <a:cubicBezTo>
                    <a:pt x="5072" y="288"/>
                    <a:pt x="5117" y="279"/>
                    <a:pt x="5150" y="250"/>
                  </a:cubicBezTo>
                  <a:cubicBezTo>
                    <a:pt x="5165" y="236"/>
                    <a:pt x="5193" y="204"/>
                    <a:pt x="5193" y="147"/>
                  </a:cubicBezTo>
                  <a:cubicBezTo>
                    <a:pt x="5193" y="82"/>
                    <a:pt x="5154" y="4"/>
                    <a:pt x="5037" y="4"/>
                  </a:cubicBezTo>
                  <a:cubicBezTo>
                    <a:pt x="5013" y="4"/>
                    <a:pt x="4984" y="7"/>
                    <a:pt x="4974" y="11"/>
                  </a:cubicBezTo>
                  <a:cubicBezTo>
                    <a:pt x="4969" y="12"/>
                    <a:pt x="4968" y="13"/>
                    <a:pt x="4968" y="22"/>
                  </a:cubicBezTo>
                  <a:lnTo>
                    <a:pt x="4968" y="275"/>
                  </a:lnTo>
                  <a:close/>
                  <a:moveTo>
                    <a:pt x="4816" y="14"/>
                  </a:moveTo>
                  <a:cubicBezTo>
                    <a:pt x="4816" y="8"/>
                    <a:pt x="4815" y="7"/>
                    <a:pt x="4809" y="7"/>
                  </a:cubicBezTo>
                  <a:lnTo>
                    <a:pt x="4784" y="7"/>
                  </a:lnTo>
                  <a:cubicBezTo>
                    <a:pt x="4779" y="7"/>
                    <a:pt x="4777" y="7"/>
                    <a:pt x="4777" y="14"/>
                  </a:cubicBezTo>
                  <a:lnTo>
                    <a:pt x="4777" y="279"/>
                  </a:lnTo>
                  <a:cubicBezTo>
                    <a:pt x="4777" y="283"/>
                    <a:pt x="4778" y="286"/>
                    <a:pt x="4784" y="286"/>
                  </a:cubicBezTo>
                  <a:lnTo>
                    <a:pt x="4921" y="286"/>
                  </a:lnTo>
                  <a:cubicBezTo>
                    <a:pt x="4924" y="286"/>
                    <a:pt x="4927" y="286"/>
                    <a:pt x="4928" y="282"/>
                  </a:cubicBezTo>
                  <a:lnTo>
                    <a:pt x="4928" y="267"/>
                  </a:lnTo>
                  <a:cubicBezTo>
                    <a:pt x="4928" y="262"/>
                    <a:pt x="4927" y="260"/>
                    <a:pt x="4921" y="260"/>
                  </a:cubicBezTo>
                  <a:lnTo>
                    <a:pt x="4816" y="260"/>
                  </a:lnTo>
                  <a:lnTo>
                    <a:pt x="4816" y="14"/>
                  </a:lnTo>
                  <a:close/>
                  <a:moveTo>
                    <a:pt x="4687" y="139"/>
                  </a:moveTo>
                  <a:cubicBezTo>
                    <a:pt x="4687" y="161"/>
                    <a:pt x="4686" y="198"/>
                    <a:pt x="4667" y="227"/>
                  </a:cubicBezTo>
                  <a:cubicBezTo>
                    <a:pt x="4650" y="254"/>
                    <a:pt x="4624" y="265"/>
                    <a:pt x="4601" y="265"/>
                  </a:cubicBezTo>
                  <a:cubicBezTo>
                    <a:pt x="4565" y="265"/>
                    <a:pt x="4530" y="238"/>
                    <a:pt x="4519" y="185"/>
                  </a:cubicBezTo>
                  <a:cubicBezTo>
                    <a:pt x="4516" y="173"/>
                    <a:pt x="4515" y="159"/>
                    <a:pt x="4515" y="144"/>
                  </a:cubicBezTo>
                  <a:cubicBezTo>
                    <a:pt x="4515" y="98"/>
                    <a:pt x="4527" y="55"/>
                    <a:pt x="4564" y="34"/>
                  </a:cubicBezTo>
                  <a:cubicBezTo>
                    <a:pt x="4575" y="28"/>
                    <a:pt x="4588" y="24"/>
                    <a:pt x="4601" y="24"/>
                  </a:cubicBezTo>
                  <a:cubicBezTo>
                    <a:pt x="4630" y="24"/>
                    <a:pt x="4684" y="46"/>
                    <a:pt x="4687" y="139"/>
                  </a:cubicBezTo>
                  <a:close/>
                  <a:moveTo>
                    <a:pt x="4728" y="138"/>
                  </a:moveTo>
                  <a:cubicBezTo>
                    <a:pt x="4725" y="69"/>
                    <a:pt x="4683" y="0"/>
                    <a:pt x="4602" y="0"/>
                  </a:cubicBezTo>
                  <a:cubicBezTo>
                    <a:pt x="4514" y="0"/>
                    <a:pt x="4474" y="76"/>
                    <a:pt x="4474" y="146"/>
                  </a:cubicBezTo>
                  <a:cubicBezTo>
                    <a:pt x="4474" y="232"/>
                    <a:pt x="4529" y="292"/>
                    <a:pt x="4602" y="292"/>
                  </a:cubicBezTo>
                  <a:cubicBezTo>
                    <a:pt x="4678" y="292"/>
                    <a:pt x="4732" y="224"/>
                    <a:pt x="4728" y="138"/>
                  </a:cubicBezTo>
                  <a:close/>
                  <a:moveTo>
                    <a:pt x="4386" y="278"/>
                  </a:moveTo>
                  <a:cubicBezTo>
                    <a:pt x="4386" y="285"/>
                    <a:pt x="4387" y="286"/>
                    <a:pt x="4393" y="286"/>
                  </a:cubicBezTo>
                  <a:lnTo>
                    <a:pt x="4418" y="286"/>
                  </a:lnTo>
                  <a:cubicBezTo>
                    <a:pt x="4423" y="286"/>
                    <a:pt x="4425" y="286"/>
                    <a:pt x="4425" y="279"/>
                  </a:cubicBezTo>
                  <a:lnTo>
                    <a:pt x="4425" y="13"/>
                  </a:lnTo>
                  <a:cubicBezTo>
                    <a:pt x="4425" y="7"/>
                    <a:pt x="4424" y="7"/>
                    <a:pt x="4418" y="7"/>
                  </a:cubicBezTo>
                  <a:lnTo>
                    <a:pt x="4393" y="7"/>
                  </a:lnTo>
                  <a:cubicBezTo>
                    <a:pt x="4386" y="6"/>
                    <a:pt x="4386" y="9"/>
                    <a:pt x="4386" y="15"/>
                  </a:cubicBezTo>
                  <a:lnTo>
                    <a:pt x="4386" y="127"/>
                  </a:lnTo>
                  <a:lnTo>
                    <a:pt x="4268" y="127"/>
                  </a:lnTo>
                  <a:lnTo>
                    <a:pt x="4268" y="13"/>
                  </a:lnTo>
                  <a:cubicBezTo>
                    <a:pt x="4268" y="7"/>
                    <a:pt x="4266" y="6"/>
                    <a:pt x="4261" y="7"/>
                  </a:cubicBezTo>
                  <a:lnTo>
                    <a:pt x="4236" y="7"/>
                  </a:lnTo>
                  <a:cubicBezTo>
                    <a:pt x="4231" y="7"/>
                    <a:pt x="4229" y="8"/>
                    <a:pt x="4229" y="13"/>
                  </a:cubicBezTo>
                  <a:lnTo>
                    <a:pt x="4229" y="278"/>
                  </a:lnTo>
                  <a:cubicBezTo>
                    <a:pt x="4229" y="285"/>
                    <a:pt x="4231" y="286"/>
                    <a:pt x="4236" y="286"/>
                  </a:cubicBezTo>
                  <a:lnTo>
                    <a:pt x="4261" y="286"/>
                  </a:lnTo>
                  <a:cubicBezTo>
                    <a:pt x="4266" y="286"/>
                    <a:pt x="4268" y="285"/>
                    <a:pt x="4268" y="278"/>
                  </a:cubicBezTo>
                  <a:lnTo>
                    <a:pt x="4268" y="152"/>
                  </a:lnTo>
                  <a:lnTo>
                    <a:pt x="4386" y="152"/>
                  </a:lnTo>
                  <a:lnTo>
                    <a:pt x="4386" y="278"/>
                  </a:lnTo>
                  <a:close/>
                  <a:moveTo>
                    <a:pt x="4068" y="152"/>
                  </a:moveTo>
                  <a:cubicBezTo>
                    <a:pt x="4072" y="152"/>
                    <a:pt x="4074" y="152"/>
                    <a:pt x="4075" y="149"/>
                  </a:cubicBezTo>
                  <a:cubicBezTo>
                    <a:pt x="4076" y="147"/>
                    <a:pt x="4076" y="138"/>
                    <a:pt x="4076" y="133"/>
                  </a:cubicBezTo>
                  <a:cubicBezTo>
                    <a:pt x="4076" y="127"/>
                    <a:pt x="4072" y="127"/>
                    <a:pt x="4068" y="127"/>
                  </a:cubicBezTo>
                  <a:lnTo>
                    <a:pt x="3977" y="127"/>
                  </a:lnTo>
                  <a:lnTo>
                    <a:pt x="3977" y="32"/>
                  </a:lnTo>
                  <a:lnTo>
                    <a:pt x="4085" y="32"/>
                  </a:lnTo>
                  <a:cubicBezTo>
                    <a:pt x="4090" y="32"/>
                    <a:pt x="4092" y="31"/>
                    <a:pt x="4092" y="28"/>
                  </a:cubicBezTo>
                  <a:cubicBezTo>
                    <a:pt x="4092" y="26"/>
                    <a:pt x="4092" y="18"/>
                    <a:pt x="4092" y="13"/>
                  </a:cubicBezTo>
                  <a:cubicBezTo>
                    <a:pt x="4092" y="7"/>
                    <a:pt x="4089" y="7"/>
                    <a:pt x="4085" y="7"/>
                  </a:cubicBezTo>
                  <a:lnTo>
                    <a:pt x="3946" y="7"/>
                  </a:lnTo>
                  <a:cubicBezTo>
                    <a:pt x="3939" y="7"/>
                    <a:pt x="3938" y="9"/>
                    <a:pt x="3938" y="16"/>
                  </a:cubicBezTo>
                  <a:lnTo>
                    <a:pt x="3938" y="279"/>
                  </a:lnTo>
                  <a:cubicBezTo>
                    <a:pt x="3938" y="285"/>
                    <a:pt x="3940" y="286"/>
                    <a:pt x="3946" y="286"/>
                  </a:cubicBezTo>
                  <a:lnTo>
                    <a:pt x="4085" y="286"/>
                  </a:lnTo>
                  <a:cubicBezTo>
                    <a:pt x="4090" y="286"/>
                    <a:pt x="4092" y="285"/>
                    <a:pt x="4092" y="279"/>
                  </a:cubicBezTo>
                  <a:lnTo>
                    <a:pt x="4092" y="267"/>
                  </a:lnTo>
                  <a:cubicBezTo>
                    <a:pt x="4092" y="260"/>
                    <a:pt x="4090" y="260"/>
                    <a:pt x="4085" y="260"/>
                  </a:cubicBezTo>
                  <a:lnTo>
                    <a:pt x="3977" y="260"/>
                  </a:lnTo>
                  <a:lnTo>
                    <a:pt x="3977" y="152"/>
                  </a:lnTo>
                  <a:lnTo>
                    <a:pt x="4068" y="152"/>
                  </a:lnTo>
                  <a:close/>
                  <a:moveTo>
                    <a:pt x="3861" y="64"/>
                  </a:moveTo>
                  <a:cubicBezTo>
                    <a:pt x="3867" y="73"/>
                    <a:pt x="3874" y="74"/>
                    <a:pt x="3879" y="74"/>
                  </a:cubicBezTo>
                  <a:cubicBezTo>
                    <a:pt x="3888" y="74"/>
                    <a:pt x="3897" y="67"/>
                    <a:pt x="3897" y="56"/>
                  </a:cubicBezTo>
                  <a:cubicBezTo>
                    <a:pt x="3897" y="35"/>
                    <a:pt x="3864" y="1"/>
                    <a:pt x="3805" y="1"/>
                  </a:cubicBezTo>
                  <a:cubicBezTo>
                    <a:pt x="3713" y="1"/>
                    <a:pt x="3677" y="77"/>
                    <a:pt x="3677" y="144"/>
                  </a:cubicBezTo>
                  <a:cubicBezTo>
                    <a:pt x="3677" y="222"/>
                    <a:pt x="3720" y="292"/>
                    <a:pt x="3807" y="292"/>
                  </a:cubicBezTo>
                  <a:cubicBezTo>
                    <a:pt x="3858" y="292"/>
                    <a:pt x="3893" y="262"/>
                    <a:pt x="3893" y="248"/>
                  </a:cubicBezTo>
                  <a:cubicBezTo>
                    <a:pt x="3893" y="243"/>
                    <a:pt x="3889" y="239"/>
                    <a:pt x="3884" y="239"/>
                  </a:cubicBezTo>
                  <a:cubicBezTo>
                    <a:pt x="3880" y="239"/>
                    <a:pt x="3877" y="241"/>
                    <a:pt x="3870" y="245"/>
                  </a:cubicBezTo>
                  <a:cubicBezTo>
                    <a:pt x="3853" y="257"/>
                    <a:pt x="3835" y="263"/>
                    <a:pt x="3815" y="263"/>
                  </a:cubicBezTo>
                  <a:cubicBezTo>
                    <a:pt x="3758" y="263"/>
                    <a:pt x="3718" y="209"/>
                    <a:pt x="3718" y="136"/>
                  </a:cubicBezTo>
                  <a:cubicBezTo>
                    <a:pt x="3718" y="67"/>
                    <a:pt x="3755" y="25"/>
                    <a:pt x="3801" y="25"/>
                  </a:cubicBezTo>
                  <a:cubicBezTo>
                    <a:pt x="3838" y="25"/>
                    <a:pt x="3854" y="52"/>
                    <a:pt x="3861" y="64"/>
                  </a:cubicBezTo>
                  <a:close/>
                  <a:moveTo>
                    <a:pt x="3447" y="13"/>
                  </a:moveTo>
                  <a:cubicBezTo>
                    <a:pt x="3443" y="7"/>
                    <a:pt x="3443" y="7"/>
                    <a:pt x="3438" y="7"/>
                  </a:cubicBezTo>
                  <a:lnTo>
                    <a:pt x="3414" y="7"/>
                  </a:lnTo>
                  <a:cubicBezTo>
                    <a:pt x="3408" y="7"/>
                    <a:pt x="3407" y="8"/>
                    <a:pt x="3407" y="14"/>
                  </a:cubicBezTo>
                  <a:lnTo>
                    <a:pt x="3407" y="278"/>
                  </a:lnTo>
                  <a:cubicBezTo>
                    <a:pt x="3407" y="284"/>
                    <a:pt x="3408" y="286"/>
                    <a:pt x="3414" y="286"/>
                  </a:cubicBezTo>
                  <a:cubicBezTo>
                    <a:pt x="3420" y="286"/>
                    <a:pt x="3434" y="286"/>
                    <a:pt x="3434" y="285"/>
                  </a:cubicBezTo>
                  <a:cubicBezTo>
                    <a:pt x="3438" y="285"/>
                    <a:pt x="3438" y="283"/>
                    <a:pt x="3438" y="278"/>
                  </a:cubicBezTo>
                  <a:lnTo>
                    <a:pt x="3438" y="61"/>
                  </a:lnTo>
                  <a:lnTo>
                    <a:pt x="3597" y="280"/>
                  </a:lnTo>
                  <a:cubicBezTo>
                    <a:pt x="3601" y="285"/>
                    <a:pt x="3602" y="285"/>
                    <a:pt x="3606" y="286"/>
                  </a:cubicBezTo>
                  <a:lnTo>
                    <a:pt x="3621" y="286"/>
                  </a:lnTo>
                  <a:cubicBezTo>
                    <a:pt x="3626" y="286"/>
                    <a:pt x="3628" y="285"/>
                    <a:pt x="3628" y="279"/>
                  </a:cubicBezTo>
                  <a:lnTo>
                    <a:pt x="3628" y="14"/>
                  </a:lnTo>
                  <a:cubicBezTo>
                    <a:pt x="3628" y="8"/>
                    <a:pt x="3627" y="7"/>
                    <a:pt x="3622" y="7"/>
                  </a:cubicBezTo>
                  <a:lnTo>
                    <a:pt x="3601" y="7"/>
                  </a:lnTo>
                  <a:cubicBezTo>
                    <a:pt x="3598" y="7"/>
                    <a:pt x="3597" y="9"/>
                    <a:pt x="3597" y="14"/>
                  </a:cubicBezTo>
                  <a:lnTo>
                    <a:pt x="3597" y="219"/>
                  </a:lnTo>
                  <a:lnTo>
                    <a:pt x="3447" y="13"/>
                  </a:lnTo>
                  <a:close/>
                  <a:moveTo>
                    <a:pt x="3212" y="153"/>
                  </a:moveTo>
                  <a:lnTo>
                    <a:pt x="3247" y="59"/>
                  </a:lnTo>
                  <a:lnTo>
                    <a:pt x="3281" y="153"/>
                  </a:lnTo>
                  <a:lnTo>
                    <a:pt x="3212" y="153"/>
                  </a:lnTo>
                  <a:close/>
                  <a:moveTo>
                    <a:pt x="3329" y="280"/>
                  </a:moveTo>
                  <a:cubicBezTo>
                    <a:pt x="3331" y="286"/>
                    <a:pt x="3332" y="286"/>
                    <a:pt x="3339" y="286"/>
                  </a:cubicBezTo>
                  <a:lnTo>
                    <a:pt x="3366" y="286"/>
                  </a:lnTo>
                  <a:cubicBezTo>
                    <a:pt x="3369" y="286"/>
                    <a:pt x="3372" y="286"/>
                    <a:pt x="3372" y="282"/>
                  </a:cubicBezTo>
                  <a:cubicBezTo>
                    <a:pt x="3372" y="280"/>
                    <a:pt x="3371" y="278"/>
                    <a:pt x="3370" y="276"/>
                  </a:cubicBezTo>
                  <a:lnTo>
                    <a:pt x="3267" y="12"/>
                  </a:lnTo>
                  <a:cubicBezTo>
                    <a:pt x="3265" y="7"/>
                    <a:pt x="3264" y="7"/>
                    <a:pt x="3261" y="7"/>
                  </a:cubicBezTo>
                  <a:lnTo>
                    <a:pt x="3244" y="7"/>
                  </a:lnTo>
                  <a:cubicBezTo>
                    <a:pt x="3239" y="7"/>
                    <a:pt x="3238" y="7"/>
                    <a:pt x="3236" y="13"/>
                  </a:cubicBezTo>
                  <a:lnTo>
                    <a:pt x="3133" y="276"/>
                  </a:lnTo>
                  <a:cubicBezTo>
                    <a:pt x="3133" y="277"/>
                    <a:pt x="3131" y="282"/>
                    <a:pt x="3131" y="282"/>
                  </a:cubicBezTo>
                  <a:cubicBezTo>
                    <a:pt x="3131" y="286"/>
                    <a:pt x="3135" y="286"/>
                    <a:pt x="3137" y="286"/>
                  </a:cubicBezTo>
                  <a:lnTo>
                    <a:pt x="3156" y="286"/>
                  </a:lnTo>
                  <a:cubicBezTo>
                    <a:pt x="3161" y="286"/>
                    <a:pt x="3163" y="286"/>
                    <a:pt x="3165" y="279"/>
                  </a:cubicBezTo>
                  <a:lnTo>
                    <a:pt x="3204" y="176"/>
                  </a:lnTo>
                  <a:lnTo>
                    <a:pt x="3289" y="176"/>
                  </a:lnTo>
                  <a:lnTo>
                    <a:pt x="3329" y="280"/>
                  </a:lnTo>
                  <a:close/>
                  <a:moveTo>
                    <a:pt x="2972" y="28"/>
                  </a:moveTo>
                  <a:cubicBezTo>
                    <a:pt x="2980" y="27"/>
                    <a:pt x="2986" y="26"/>
                    <a:pt x="2997" y="26"/>
                  </a:cubicBezTo>
                  <a:cubicBezTo>
                    <a:pt x="3014" y="26"/>
                    <a:pt x="3063" y="26"/>
                    <a:pt x="3063" y="83"/>
                  </a:cubicBezTo>
                  <a:cubicBezTo>
                    <a:pt x="3063" y="119"/>
                    <a:pt x="3038" y="138"/>
                    <a:pt x="3004" y="141"/>
                  </a:cubicBezTo>
                  <a:cubicBezTo>
                    <a:pt x="2998" y="142"/>
                    <a:pt x="2995" y="142"/>
                    <a:pt x="2972" y="141"/>
                  </a:cubicBezTo>
                  <a:lnTo>
                    <a:pt x="2972" y="28"/>
                  </a:lnTo>
                  <a:close/>
                  <a:moveTo>
                    <a:pt x="2933" y="279"/>
                  </a:moveTo>
                  <a:cubicBezTo>
                    <a:pt x="2933" y="285"/>
                    <a:pt x="2935" y="286"/>
                    <a:pt x="2941" y="286"/>
                  </a:cubicBezTo>
                  <a:lnTo>
                    <a:pt x="2964" y="286"/>
                  </a:lnTo>
                  <a:cubicBezTo>
                    <a:pt x="2970" y="286"/>
                    <a:pt x="2972" y="284"/>
                    <a:pt x="2972" y="277"/>
                  </a:cubicBezTo>
                  <a:lnTo>
                    <a:pt x="2972" y="173"/>
                  </a:lnTo>
                  <a:cubicBezTo>
                    <a:pt x="2972" y="169"/>
                    <a:pt x="2971" y="159"/>
                    <a:pt x="2982" y="159"/>
                  </a:cubicBezTo>
                  <a:cubicBezTo>
                    <a:pt x="2993" y="159"/>
                    <a:pt x="3000" y="168"/>
                    <a:pt x="3003" y="174"/>
                  </a:cubicBezTo>
                  <a:lnTo>
                    <a:pt x="3070" y="279"/>
                  </a:lnTo>
                  <a:cubicBezTo>
                    <a:pt x="3074" y="286"/>
                    <a:pt x="3074" y="286"/>
                    <a:pt x="3081" y="286"/>
                  </a:cubicBezTo>
                  <a:lnTo>
                    <a:pt x="3110" y="286"/>
                  </a:lnTo>
                  <a:cubicBezTo>
                    <a:pt x="3112" y="286"/>
                    <a:pt x="3116" y="286"/>
                    <a:pt x="3116" y="282"/>
                  </a:cubicBezTo>
                  <a:cubicBezTo>
                    <a:pt x="3116" y="279"/>
                    <a:pt x="3115" y="277"/>
                    <a:pt x="3114" y="275"/>
                  </a:cubicBezTo>
                  <a:lnTo>
                    <a:pt x="3033" y="154"/>
                  </a:lnTo>
                  <a:cubicBezTo>
                    <a:pt x="3077" y="143"/>
                    <a:pt x="3102" y="116"/>
                    <a:pt x="3102" y="79"/>
                  </a:cubicBezTo>
                  <a:cubicBezTo>
                    <a:pt x="3102" y="43"/>
                    <a:pt x="3082" y="27"/>
                    <a:pt x="3078" y="24"/>
                  </a:cubicBezTo>
                  <a:cubicBezTo>
                    <a:pt x="3057" y="5"/>
                    <a:pt x="3023" y="4"/>
                    <a:pt x="3002" y="4"/>
                  </a:cubicBezTo>
                  <a:cubicBezTo>
                    <a:pt x="2981" y="4"/>
                    <a:pt x="2949" y="6"/>
                    <a:pt x="2940" y="9"/>
                  </a:cubicBezTo>
                  <a:cubicBezTo>
                    <a:pt x="2935" y="11"/>
                    <a:pt x="2933" y="13"/>
                    <a:pt x="2933" y="22"/>
                  </a:cubicBezTo>
                  <a:lnTo>
                    <a:pt x="2933" y="279"/>
                  </a:lnTo>
                  <a:close/>
                  <a:moveTo>
                    <a:pt x="2868" y="14"/>
                  </a:moveTo>
                  <a:cubicBezTo>
                    <a:pt x="2868" y="9"/>
                    <a:pt x="2866" y="7"/>
                    <a:pt x="2863" y="7"/>
                  </a:cubicBezTo>
                  <a:cubicBezTo>
                    <a:pt x="2862" y="7"/>
                    <a:pt x="2850" y="7"/>
                    <a:pt x="2843" y="7"/>
                  </a:cubicBezTo>
                  <a:cubicBezTo>
                    <a:pt x="2838" y="7"/>
                    <a:pt x="2837" y="9"/>
                    <a:pt x="2837" y="14"/>
                  </a:cubicBezTo>
                  <a:lnTo>
                    <a:pt x="2837" y="199"/>
                  </a:lnTo>
                  <a:cubicBezTo>
                    <a:pt x="2837" y="214"/>
                    <a:pt x="2837" y="226"/>
                    <a:pt x="2828" y="239"/>
                  </a:cubicBezTo>
                  <a:cubicBezTo>
                    <a:pt x="2817" y="255"/>
                    <a:pt x="2798" y="262"/>
                    <a:pt x="2778" y="262"/>
                  </a:cubicBezTo>
                  <a:cubicBezTo>
                    <a:pt x="2721" y="262"/>
                    <a:pt x="2720" y="210"/>
                    <a:pt x="2720" y="191"/>
                  </a:cubicBezTo>
                  <a:lnTo>
                    <a:pt x="2720" y="14"/>
                  </a:lnTo>
                  <a:cubicBezTo>
                    <a:pt x="2720" y="7"/>
                    <a:pt x="2719" y="7"/>
                    <a:pt x="2713" y="7"/>
                  </a:cubicBezTo>
                  <a:lnTo>
                    <a:pt x="2688" y="7"/>
                  </a:lnTo>
                  <a:cubicBezTo>
                    <a:pt x="2682" y="7"/>
                    <a:pt x="2680" y="7"/>
                    <a:pt x="2680" y="14"/>
                  </a:cubicBezTo>
                  <a:lnTo>
                    <a:pt x="2680" y="197"/>
                  </a:lnTo>
                  <a:cubicBezTo>
                    <a:pt x="2680" y="213"/>
                    <a:pt x="2681" y="233"/>
                    <a:pt x="2691" y="251"/>
                  </a:cubicBezTo>
                  <a:cubicBezTo>
                    <a:pt x="2697" y="262"/>
                    <a:pt x="2717" y="292"/>
                    <a:pt x="2775" y="292"/>
                  </a:cubicBezTo>
                  <a:cubicBezTo>
                    <a:pt x="2811" y="292"/>
                    <a:pt x="2840" y="281"/>
                    <a:pt x="2856" y="253"/>
                  </a:cubicBezTo>
                  <a:cubicBezTo>
                    <a:pt x="2867" y="236"/>
                    <a:pt x="2867" y="219"/>
                    <a:pt x="2868" y="203"/>
                  </a:cubicBezTo>
                  <a:lnTo>
                    <a:pt x="2868" y="14"/>
                  </a:lnTo>
                  <a:close/>
                  <a:moveTo>
                    <a:pt x="2552" y="122"/>
                  </a:moveTo>
                  <a:cubicBezTo>
                    <a:pt x="2522" y="109"/>
                    <a:pt x="2497" y="98"/>
                    <a:pt x="2497" y="67"/>
                  </a:cubicBezTo>
                  <a:cubicBezTo>
                    <a:pt x="2497" y="44"/>
                    <a:pt x="2515" y="24"/>
                    <a:pt x="2541" y="24"/>
                  </a:cubicBezTo>
                  <a:cubicBezTo>
                    <a:pt x="2567" y="24"/>
                    <a:pt x="2578" y="41"/>
                    <a:pt x="2586" y="53"/>
                  </a:cubicBezTo>
                  <a:cubicBezTo>
                    <a:pt x="2590" y="60"/>
                    <a:pt x="2595" y="67"/>
                    <a:pt x="2605" y="67"/>
                  </a:cubicBezTo>
                  <a:cubicBezTo>
                    <a:pt x="2615" y="67"/>
                    <a:pt x="2622" y="59"/>
                    <a:pt x="2622" y="49"/>
                  </a:cubicBezTo>
                  <a:cubicBezTo>
                    <a:pt x="2622" y="29"/>
                    <a:pt x="2591" y="1"/>
                    <a:pt x="2543" y="1"/>
                  </a:cubicBezTo>
                  <a:cubicBezTo>
                    <a:pt x="2493" y="1"/>
                    <a:pt x="2461" y="33"/>
                    <a:pt x="2461" y="75"/>
                  </a:cubicBezTo>
                  <a:cubicBezTo>
                    <a:pt x="2461" y="122"/>
                    <a:pt x="2501" y="141"/>
                    <a:pt x="2517" y="149"/>
                  </a:cubicBezTo>
                  <a:lnTo>
                    <a:pt x="2538" y="159"/>
                  </a:lnTo>
                  <a:cubicBezTo>
                    <a:pt x="2569" y="173"/>
                    <a:pt x="2597" y="187"/>
                    <a:pt x="2597" y="221"/>
                  </a:cubicBezTo>
                  <a:cubicBezTo>
                    <a:pt x="2597" y="246"/>
                    <a:pt x="2578" y="267"/>
                    <a:pt x="2548" y="267"/>
                  </a:cubicBezTo>
                  <a:cubicBezTo>
                    <a:pt x="2515" y="267"/>
                    <a:pt x="2503" y="242"/>
                    <a:pt x="2497" y="230"/>
                  </a:cubicBezTo>
                  <a:cubicBezTo>
                    <a:pt x="2492" y="221"/>
                    <a:pt x="2487" y="213"/>
                    <a:pt x="2476" y="213"/>
                  </a:cubicBezTo>
                  <a:cubicBezTo>
                    <a:pt x="2467" y="213"/>
                    <a:pt x="2457" y="219"/>
                    <a:pt x="2457" y="232"/>
                  </a:cubicBezTo>
                  <a:cubicBezTo>
                    <a:pt x="2457" y="249"/>
                    <a:pt x="2481" y="292"/>
                    <a:pt x="2546" y="292"/>
                  </a:cubicBezTo>
                  <a:cubicBezTo>
                    <a:pt x="2597" y="292"/>
                    <a:pt x="2634" y="259"/>
                    <a:pt x="2634" y="212"/>
                  </a:cubicBezTo>
                  <a:cubicBezTo>
                    <a:pt x="2634" y="162"/>
                    <a:pt x="2593" y="142"/>
                    <a:pt x="2573" y="132"/>
                  </a:cubicBezTo>
                  <a:lnTo>
                    <a:pt x="2552" y="122"/>
                  </a:lnTo>
                  <a:close/>
                  <a:moveTo>
                    <a:pt x="2226" y="13"/>
                  </a:moveTo>
                  <a:cubicBezTo>
                    <a:pt x="2222" y="7"/>
                    <a:pt x="2222" y="7"/>
                    <a:pt x="2216" y="7"/>
                  </a:cubicBezTo>
                  <a:lnTo>
                    <a:pt x="2193" y="7"/>
                  </a:lnTo>
                  <a:cubicBezTo>
                    <a:pt x="2187" y="7"/>
                    <a:pt x="2186" y="8"/>
                    <a:pt x="2186" y="14"/>
                  </a:cubicBezTo>
                  <a:lnTo>
                    <a:pt x="2186" y="278"/>
                  </a:lnTo>
                  <a:cubicBezTo>
                    <a:pt x="2186" y="284"/>
                    <a:pt x="2187" y="286"/>
                    <a:pt x="2193" y="286"/>
                  </a:cubicBezTo>
                  <a:cubicBezTo>
                    <a:pt x="2199" y="286"/>
                    <a:pt x="2212" y="286"/>
                    <a:pt x="2213" y="285"/>
                  </a:cubicBezTo>
                  <a:cubicBezTo>
                    <a:pt x="2216" y="285"/>
                    <a:pt x="2217" y="283"/>
                    <a:pt x="2217" y="278"/>
                  </a:cubicBezTo>
                  <a:lnTo>
                    <a:pt x="2217" y="61"/>
                  </a:lnTo>
                  <a:lnTo>
                    <a:pt x="2376" y="280"/>
                  </a:lnTo>
                  <a:cubicBezTo>
                    <a:pt x="2379" y="285"/>
                    <a:pt x="2381" y="285"/>
                    <a:pt x="2385" y="286"/>
                  </a:cubicBezTo>
                  <a:lnTo>
                    <a:pt x="2400" y="286"/>
                  </a:lnTo>
                  <a:cubicBezTo>
                    <a:pt x="2405" y="286"/>
                    <a:pt x="2407" y="285"/>
                    <a:pt x="2407" y="279"/>
                  </a:cubicBezTo>
                  <a:lnTo>
                    <a:pt x="2407" y="14"/>
                  </a:lnTo>
                  <a:cubicBezTo>
                    <a:pt x="2407" y="8"/>
                    <a:pt x="2406" y="7"/>
                    <a:pt x="2401" y="7"/>
                  </a:cubicBezTo>
                  <a:lnTo>
                    <a:pt x="2380" y="7"/>
                  </a:lnTo>
                  <a:cubicBezTo>
                    <a:pt x="2377" y="7"/>
                    <a:pt x="2376" y="9"/>
                    <a:pt x="2376" y="14"/>
                  </a:cubicBezTo>
                  <a:lnTo>
                    <a:pt x="2376" y="219"/>
                  </a:lnTo>
                  <a:lnTo>
                    <a:pt x="2226" y="13"/>
                  </a:lnTo>
                  <a:close/>
                  <a:moveTo>
                    <a:pt x="2116" y="14"/>
                  </a:moveTo>
                  <a:cubicBezTo>
                    <a:pt x="2116" y="7"/>
                    <a:pt x="2114" y="7"/>
                    <a:pt x="2108" y="7"/>
                  </a:cubicBezTo>
                  <a:lnTo>
                    <a:pt x="2084" y="7"/>
                  </a:lnTo>
                  <a:cubicBezTo>
                    <a:pt x="2079" y="6"/>
                    <a:pt x="2077" y="8"/>
                    <a:pt x="2077" y="15"/>
                  </a:cubicBezTo>
                  <a:lnTo>
                    <a:pt x="2077" y="278"/>
                  </a:lnTo>
                  <a:cubicBezTo>
                    <a:pt x="2077" y="285"/>
                    <a:pt x="2080" y="286"/>
                    <a:pt x="2084" y="286"/>
                  </a:cubicBezTo>
                  <a:lnTo>
                    <a:pt x="2108" y="286"/>
                  </a:lnTo>
                  <a:cubicBezTo>
                    <a:pt x="2114" y="286"/>
                    <a:pt x="2116" y="285"/>
                    <a:pt x="2116" y="278"/>
                  </a:cubicBezTo>
                  <a:lnTo>
                    <a:pt x="2116" y="14"/>
                  </a:lnTo>
                  <a:close/>
                  <a:moveTo>
                    <a:pt x="1792" y="153"/>
                  </a:moveTo>
                  <a:lnTo>
                    <a:pt x="1826" y="59"/>
                  </a:lnTo>
                  <a:lnTo>
                    <a:pt x="1860" y="153"/>
                  </a:lnTo>
                  <a:lnTo>
                    <a:pt x="1792" y="153"/>
                  </a:lnTo>
                  <a:close/>
                  <a:moveTo>
                    <a:pt x="1908" y="280"/>
                  </a:moveTo>
                  <a:cubicBezTo>
                    <a:pt x="1911" y="286"/>
                    <a:pt x="1911" y="286"/>
                    <a:pt x="1918" y="286"/>
                  </a:cubicBezTo>
                  <a:lnTo>
                    <a:pt x="1946" y="286"/>
                  </a:lnTo>
                  <a:cubicBezTo>
                    <a:pt x="1949" y="286"/>
                    <a:pt x="1951" y="286"/>
                    <a:pt x="1951" y="282"/>
                  </a:cubicBezTo>
                  <a:cubicBezTo>
                    <a:pt x="1951" y="280"/>
                    <a:pt x="1951" y="278"/>
                    <a:pt x="1950" y="276"/>
                  </a:cubicBezTo>
                  <a:lnTo>
                    <a:pt x="1846" y="12"/>
                  </a:lnTo>
                  <a:cubicBezTo>
                    <a:pt x="1844" y="7"/>
                    <a:pt x="1843" y="7"/>
                    <a:pt x="1841" y="7"/>
                  </a:cubicBezTo>
                  <a:lnTo>
                    <a:pt x="1823" y="7"/>
                  </a:lnTo>
                  <a:cubicBezTo>
                    <a:pt x="1819" y="7"/>
                    <a:pt x="1818" y="7"/>
                    <a:pt x="1816" y="13"/>
                  </a:cubicBezTo>
                  <a:lnTo>
                    <a:pt x="1713" y="276"/>
                  </a:lnTo>
                  <a:cubicBezTo>
                    <a:pt x="1713" y="277"/>
                    <a:pt x="1711" y="282"/>
                    <a:pt x="1711" y="282"/>
                  </a:cubicBezTo>
                  <a:cubicBezTo>
                    <a:pt x="1711" y="286"/>
                    <a:pt x="1714" y="286"/>
                    <a:pt x="1717" y="286"/>
                  </a:cubicBezTo>
                  <a:lnTo>
                    <a:pt x="1736" y="286"/>
                  </a:lnTo>
                  <a:cubicBezTo>
                    <a:pt x="1741" y="286"/>
                    <a:pt x="1742" y="286"/>
                    <a:pt x="1745" y="279"/>
                  </a:cubicBezTo>
                  <a:lnTo>
                    <a:pt x="1783" y="176"/>
                  </a:lnTo>
                  <a:lnTo>
                    <a:pt x="1869" y="176"/>
                  </a:lnTo>
                  <a:lnTo>
                    <a:pt x="1908" y="280"/>
                  </a:lnTo>
                  <a:close/>
                  <a:moveTo>
                    <a:pt x="1495" y="13"/>
                  </a:moveTo>
                  <a:cubicBezTo>
                    <a:pt x="1491" y="7"/>
                    <a:pt x="1491" y="7"/>
                    <a:pt x="1485" y="7"/>
                  </a:cubicBezTo>
                  <a:lnTo>
                    <a:pt x="1462" y="7"/>
                  </a:lnTo>
                  <a:cubicBezTo>
                    <a:pt x="1456" y="7"/>
                    <a:pt x="1455" y="8"/>
                    <a:pt x="1455" y="14"/>
                  </a:cubicBezTo>
                  <a:lnTo>
                    <a:pt x="1455" y="278"/>
                  </a:lnTo>
                  <a:cubicBezTo>
                    <a:pt x="1455" y="284"/>
                    <a:pt x="1456" y="286"/>
                    <a:pt x="1462" y="286"/>
                  </a:cubicBezTo>
                  <a:cubicBezTo>
                    <a:pt x="1468" y="286"/>
                    <a:pt x="1481" y="286"/>
                    <a:pt x="1482" y="285"/>
                  </a:cubicBezTo>
                  <a:cubicBezTo>
                    <a:pt x="1485" y="285"/>
                    <a:pt x="1486" y="283"/>
                    <a:pt x="1486" y="278"/>
                  </a:cubicBezTo>
                  <a:lnTo>
                    <a:pt x="1486" y="61"/>
                  </a:lnTo>
                  <a:lnTo>
                    <a:pt x="1645" y="280"/>
                  </a:lnTo>
                  <a:cubicBezTo>
                    <a:pt x="1649" y="285"/>
                    <a:pt x="1650" y="285"/>
                    <a:pt x="1654" y="286"/>
                  </a:cubicBezTo>
                  <a:lnTo>
                    <a:pt x="1669" y="286"/>
                  </a:lnTo>
                  <a:cubicBezTo>
                    <a:pt x="1674" y="286"/>
                    <a:pt x="1676" y="285"/>
                    <a:pt x="1676" y="279"/>
                  </a:cubicBezTo>
                  <a:lnTo>
                    <a:pt x="1676" y="14"/>
                  </a:lnTo>
                  <a:cubicBezTo>
                    <a:pt x="1676" y="8"/>
                    <a:pt x="1675" y="7"/>
                    <a:pt x="1670" y="7"/>
                  </a:cubicBezTo>
                  <a:lnTo>
                    <a:pt x="1649" y="7"/>
                  </a:lnTo>
                  <a:cubicBezTo>
                    <a:pt x="1646" y="7"/>
                    <a:pt x="1645" y="9"/>
                    <a:pt x="1645" y="14"/>
                  </a:cubicBezTo>
                  <a:lnTo>
                    <a:pt x="1645" y="219"/>
                  </a:lnTo>
                  <a:lnTo>
                    <a:pt x="1495" y="13"/>
                  </a:lnTo>
                  <a:close/>
                  <a:moveTo>
                    <a:pt x="1260" y="153"/>
                  </a:moveTo>
                  <a:lnTo>
                    <a:pt x="1295" y="59"/>
                  </a:lnTo>
                  <a:lnTo>
                    <a:pt x="1329" y="153"/>
                  </a:lnTo>
                  <a:lnTo>
                    <a:pt x="1260" y="153"/>
                  </a:lnTo>
                  <a:close/>
                  <a:moveTo>
                    <a:pt x="1377" y="280"/>
                  </a:moveTo>
                  <a:cubicBezTo>
                    <a:pt x="1379" y="286"/>
                    <a:pt x="1380" y="286"/>
                    <a:pt x="1387" y="286"/>
                  </a:cubicBezTo>
                  <a:lnTo>
                    <a:pt x="1414" y="286"/>
                  </a:lnTo>
                  <a:cubicBezTo>
                    <a:pt x="1417" y="286"/>
                    <a:pt x="1420" y="286"/>
                    <a:pt x="1420" y="282"/>
                  </a:cubicBezTo>
                  <a:cubicBezTo>
                    <a:pt x="1420" y="280"/>
                    <a:pt x="1419" y="278"/>
                    <a:pt x="1418" y="276"/>
                  </a:cubicBezTo>
                  <a:lnTo>
                    <a:pt x="1314" y="12"/>
                  </a:lnTo>
                  <a:cubicBezTo>
                    <a:pt x="1312" y="7"/>
                    <a:pt x="1312" y="7"/>
                    <a:pt x="1309" y="7"/>
                  </a:cubicBezTo>
                  <a:lnTo>
                    <a:pt x="1292" y="7"/>
                  </a:lnTo>
                  <a:cubicBezTo>
                    <a:pt x="1287" y="7"/>
                    <a:pt x="1286" y="7"/>
                    <a:pt x="1284" y="13"/>
                  </a:cubicBezTo>
                  <a:lnTo>
                    <a:pt x="1181" y="276"/>
                  </a:lnTo>
                  <a:cubicBezTo>
                    <a:pt x="1181" y="277"/>
                    <a:pt x="1179" y="282"/>
                    <a:pt x="1179" y="282"/>
                  </a:cubicBezTo>
                  <a:cubicBezTo>
                    <a:pt x="1179" y="286"/>
                    <a:pt x="1183" y="286"/>
                    <a:pt x="1185" y="286"/>
                  </a:cubicBezTo>
                  <a:lnTo>
                    <a:pt x="1204" y="286"/>
                  </a:lnTo>
                  <a:cubicBezTo>
                    <a:pt x="1209" y="286"/>
                    <a:pt x="1210" y="286"/>
                    <a:pt x="1213" y="279"/>
                  </a:cubicBezTo>
                  <a:lnTo>
                    <a:pt x="1252" y="176"/>
                  </a:lnTo>
                  <a:lnTo>
                    <a:pt x="1337" y="176"/>
                  </a:lnTo>
                  <a:lnTo>
                    <a:pt x="1377" y="280"/>
                  </a:lnTo>
                  <a:close/>
                  <a:moveTo>
                    <a:pt x="1101" y="280"/>
                  </a:moveTo>
                  <a:cubicBezTo>
                    <a:pt x="1102" y="284"/>
                    <a:pt x="1104" y="285"/>
                    <a:pt x="1106" y="286"/>
                  </a:cubicBezTo>
                  <a:lnTo>
                    <a:pt x="1118" y="286"/>
                  </a:lnTo>
                  <a:cubicBezTo>
                    <a:pt x="1122" y="286"/>
                    <a:pt x="1123" y="285"/>
                    <a:pt x="1125" y="279"/>
                  </a:cubicBezTo>
                  <a:lnTo>
                    <a:pt x="1202" y="19"/>
                  </a:lnTo>
                  <a:cubicBezTo>
                    <a:pt x="1204" y="13"/>
                    <a:pt x="1204" y="13"/>
                    <a:pt x="1204" y="11"/>
                  </a:cubicBezTo>
                  <a:cubicBezTo>
                    <a:pt x="1204" y="7"/>
                    <a:pt x="1201" y="7"/>
                    <a:pt x="1199" y="7"/>
                  </a:cubicBezTo>
                  <a:lnTo>
                    <a:pt x="1178" y="7"/>
                  </a:lnTo>
                  <a:cubicBezTo>
                    <a:pt x="1173" y="7"/>
                    <a:pt x="1172" y="8"/>
                    <a:pt x="1170" y="14"/>
                  </a:cubicBezTo>
                  <a:lnTo>
                    <a:pt x="1114" y="216"/>
                  </a:lnTo>
                  <a:lnTo>
                    <a:pt x="1045" y="14"/>
                  </a:lnTo>
                  <a:cubicBezTo>
                    <a:pt x="1043" y="8"/>
                    <a:pt x="1043" y="7"/>
                    <a:pt x="1041" y="7"/>
                  </a:cubicBezTo>
                  <a:lnTo>
                    <a:pt x="1031" y="7"/>
                  </a:lnTo>
                  <a:cubicBezTo>
                    <a:pt x="1028" y="7"/>
                    <a:pt x="1028" y="7"/>
                    <a:pt x="1025" y="16"/>
                  </a:cubicBezTo>
                  <a:lnTo>
                    <a:pt x="959" y="216"/>
                  </a:lnTo>
                  <a:lnTo>
                    <a:pt x="904" y="15"/>
                  </a:lnTo>
                  <a:cubicBezTo>
                    <a:pt x="903" y="7"/>
                    <a:pt x="901" y="6"/>
                    <a:pt x="895" y="7"/>
                  </a:cubicBezTo>
                  <a:lnTo>
                    <a:pt x="870" y="7"/>
                  </a:lnTo>
                  <a:cubicBezTo>
                    <a:pt x="866" y="7"/>
                    <a:pt x="863" y="8"/>
                    <a:pt x="863" y="12"/>
                  </a:cubicBezTo>
                  <a:cubicBezTo>
                    <a:pt x="863" y="13"/>
                    <a:pt x="863" y="13"/>
                    <a:pt x="865" y="19"/>
                  </a:cubicBezTo>
                  <a:lnTo>
                    <a:pt x="942" y="279"/>
                  </a:lnTo>
                  <a:cubicBezTo>
                    <a:pt x="945" y="286"/>
                    <a:pt x="946" y="286"/>
                    <a:pt x="959" y="286"/>
                  </a:cubicBezTo>
                  <a:cubicBezTo>
                    <a:pt x="965" y="286"/>
                    <a:pt x="965" y="285"/>
                    <a:pt x="967" y="279"/>
                  </a:cubicBezTo>
                  <a:lnTo>
                    <a:pt x="1031" y="84"/>
                  </a:lnTo>
                  <a:lnTo>
                    <a:pt x="1101" y="280"/>
                  </a:lnTo>
                  <a:close/>
                  <a:moveTo>
                    <a:pt x="774" y="122"/>
                  </a:moveTo>
                  <a:cubicBezTo>
                    <a:pt x="744" y="109"/>
                    <a:pt x="719" y="98"/>
                    <a:pt x="719" y="67"/>
                  </a:cubicBezTo>
                  <a:cubicBezTo>
                    <a:pt x="719" y="44"/>
                    <a:pt x="737" y="24"/>
                    <a:pt x="763" y="24"/>
                  </a:cubicBezTo>
                  <a:cubicBezTo>
                    <a:pt x="789" y="24"/>
                    <a:pt x="800" y="41"/>
                    <a:pt x="808" y="53"/>
                  </a:cubicBezTo>
                  <a:cubicBezTo>
                    <a:pt x="812" y="60"/>
                    <a:pt x="817" y="67"/>
                    <a:pt x="827" y="67"/>
                  </a:cubicBezTo>
                  <a:cubicBezTo>
                    <a:pt x="837" y="67"/>
                    <a:pt x="844" y="59"/>
                    <a:pt x="844" y="49"/>
                  </a:cubicBezTo>
                  <a:cubicBezTo>
                    <a:pt x="844" y="29"/>
                    <a:pt x="813" y="1"/>
                    <a:pt x="765" y="1"/>
                  </a:cubicBezTo>
                  <a:cubicBezTo>
                    <a:pt x="714" y="1"/>
                    <a:pt x="683" y="33"/>
                    <a:pt x="683" y="75"/>
                  </a:cubicBezTo>
                  <a:cubicBezTo>
                    <a:pt x="683" y="122"/>
                    <a:pt x="723" y="141"/>
                    <a:pt x="739" y="149"/>
                  </a:cubicBezTo>
                  <a:lnTo>
                    <a:pt x="760" y="159"/>
                  </a:lnTo>
                  <a:cubicBezTo>
                    <a:pt x="791" y="173"/>
                    <a:pt x="819" y="187"/>
                    <a:pt x="819" y="221"/>
                  </a:cubicBezTo>
                  <a:cubicBezTo>
                    <a:pt x="819" y="246"/>
                    <a:pt x="800" y="267"/>
                    <a:pt x="770" y="267"/>
                  </a:cubicBezTo>
                  <a:cubicBezTo>
                    <a:pt x="737" y="267"/>
                    <a:pt x="724" y="242"/>
                    <a:pt x="718" y="230"/>
                  </a:cubicBezTo>
                  <a:cubicBezTo>
                    <a:pt x="714" y="221"/>
                    <a:pt x="709" y="213"/>
                    <a:pt x="698" y="213"/>
                  </a:cubicBezTo>
                  <a:cubicBezTo>
                    <a:pt x="689" y="213"/>
                    <a:pt x="679" y="219"/>
                    <a:pt x="679" y="232"/>
                  </a:cubicBezTo>
                  <a:cubicBezTo>
                    <a:pt x="679" y="249"/>
                    <a:pt x="703" y="292"/>
                    <a:pt x="768" y="292"/>
                  </a:cubicBezTo>
                  <a:cubicBezTo>
                    <a:pt x="819" y="292"/>
                    <a:pt x="856" y="259"/>
                    <a:pt x="856" y="212"/>
                  </a:cubicBezTo>
                  <a:cubicBezTo>
                    <a:pt x="856" y="162"/>
                    <a:pt x="815" y="142"/>
                    <a:pt x="795" y="132"/>
                  </a:cubicBezTo>
                  <a:lnTo>
                    <a:pt x="774" y="122"/>
                  </a:lnTo>
                  <a:close/>
                  <a:moveTo>
                    <a:pt x="661" y="32"/>
                  </a:moveTo>
                  <a:cubicBezTo>
                    <a:pt x="667" y="32"/>
                    <a:pt x="669" y="30"/>
                    <a:pt x="669" y="25"/>
                  </a:cubicBezTo>
                  <a:cubicBezTo>
                    <a:pt x="669" y="8"/>
                    <a:pt x="669" y="7"/>
                    <a:pt x="661" y="7"/>
                  </a:cubicBezTo>
                  <a:lnTo>
                    <a:pt x="482" y="7"/>
                  </a:lnTo>
                  <a:cubicBezTo>
                    <a:pt x="475" y="7"/>
                    <a:pt x="475" y="9"/>
                    <a:pt x="475" y="24"/>
                  </a:cubicBezTo>
                  <a:cubicBezTo>
                    <a:pt x="475" y="30"/>
                    <a:pt x="476" y="32"/>
                    <a:pt x="482" y="32"/>
                  </a:cubicBezTo>
                  <a:lnTo>
                    <a:pt x="552" y="32"/>
                  </a:lnTo>
                  <a:lnTo>
                    <a:pt x="552" y="278"/>
                  </a:lnTo>
                  <a:cubicBezTo>
                    <a:pt x="553" y="285"/>
                    <a:pt x="555" y="286"/>
                    <a:pt x="561" y="286"/>
                  </a:cubicBezTo>
                  <a:lnTo>
                    <a:pt x="584" y="286"/>
                  </a:lnTo>
                  <a:cubicBezTo>
                    <a:pt x="590" y="286"/>
                    <a:pt x="591" y="284"/>
                    <a:pt x="591" y="278"/>
                  </a:cubicBezTo>
                  <a:lnTo>
                    <a:pt x="591" y="32"/>
                  </a:lnTo>
                  <a:lnTo>
                    <a:pt x="661" y="32"/>
                  </a:lnTo>
                  <a:close/>
                  <a:moveTo>
                    <a:pt x="433" y="139"/>
                  </a:moveTo>
                  <a:cubicBezTo>
                    <a:pt x="433" y="161"/>
                    <a:pt x="433" y="198"/>
                    <a:pt x="413" y="227"/>
                  </a:cubicBezTo>
                  <a:cubicBezTo>
                    <a:pt x="396" y="254"/>
                    <a:pt x="370" y="265"/>
                    <a:pt x="348" y="265"/>
                  </a:cubicBezTo>
                  <a:cubicBezTo>
                    <a:pt x="312" y="265"/>
                    <a:pt x="276" y="238"/>
                    <a:pt x="265" y="185"/>
                  </a:cubicBezTo>
                  <a:cubicBezTo>
                    <a:pt x="263" y="173"/>
                    <a:pt x="261" y="159"/>
                    <a:pt x="261" y="144"/>
                  </a:cubicBezTo>
                  <a:cubicBezTo>
                    <a:pt x="261" y="98"/>
                    <a:pt x="273" y="55"/>
                    <a:pt x="310" y="34"/>
                  </a:cubicBezTo>
                  <a:cubicBezTo>
                    <a:pt x="321" y="28"/>
                    <a:pt x="334" y="24"/>
                    <a:pt x="347" y="24"/>
                  </a:cubicBezTo>
                  <a:cubicBezTo>
                    <a:pt x="377" y="24"/>
                    <a:pt x="431" y="46"/>
                    <a:pt x="433" y="139"/>
                  </a:cubicBezTo>
                  <a:close/>
                  <a:moveTo>
                    <a:pt x="474" y="138"/>
                  </a:moveTo>
                  <a:cubicBezTo>
                    <a:pt x="471" y="69"/>
                    <a:pt x="430" y="0"/>
                    <a:pt x="348" y="0"/>
                  </a:cubicBezTo>
                  <a:cubicBezTo>
                    <a:pt x="260" y="0"/>
                    <a:pt x="220" y="76"/>
                    <a:pt x="220" y="146"/>
                  </a:cubicBezTo>
                  <a:cubicBezTo>
                    <a:pt x="220" y="232"/>
                    <a:pt x="275" y="292"/>
                    <a:pt x="348" y="292"/>
                  </a:cubicBezTo>
                  <a:cubicBezTo>
                    <a:pt x="424" y="292"/>
                    <a:pt x="478" y="224"/>
                    <a:pt x="474" y="138"/>
                  </a:cubicBezTo>
                  <a:close/>
                  <a:moveTo>
                    <a:pt x="39" y="150"/>
                  </a:moveTo>
                  <a:cubicBezTo>
                    <a:pt x="48" y="150"/>
                    <a:pt x="54" y="149"/>
                    <a:pt x="65" y="149"/>
                  </a:cubicBezTo>
                  <a:cubicBezTo>
                    <a:pt x="87" y="149"/>
                    <a:pt x="115" y="150"/>
                    <a:pt x="133" y="171"/>
                  </a:cubicBezTo>
                  <a:cubicBezTo>
                    <a:pt x="139" y="177"/>
                    <a:pt x="147" y="190"/>
                    <a:pt x="147" y="211"/>
                  </a:cubicBezTo>
                  <a:cubicBezTo>
                    <a:pt x="147" y="250"/>
                    <a:pt x="115" y="265"/>
                    <a:pt x="72" y="265"/>
                  </a:cubicBezTo>
                  <a:cubicBezTo>
                    <a:pt x="57" y="265"/>
                    <a:pt x="46" y="264"/>
                    <a:pt x="39" y="263"/>
                  </a:cubicBezTo>
                  <a:lnTo>
                    <a:pt x="39" y="150"/>
                  </a:lnTo>
                  <a:close/>
                  <a:moveTo>
                    <a:pt x="39" y="29"/>
                  </a:moveTo>
                  <a:cubicBezTo>
                    <a:pt x="47" y="28"/>
                    <a:pt x="56" y="27"/>
                    <a:pt x="67" y="27"/>
                  </a:cubicBezTo>
                  <a:cubicBezTo>
                    <a:pt x="80" y="27"/>
                    <a:pt x="130" y="27"/>
                    <a:pt x="130" y="78"/>
                  </a:cubicBezTo>
                  <a:cubicBezTo>
                    <a:pt x="130" y="92"/>
                    <a:pt x="124" y="125"/>
                    <a:pt x="72" y="129"/>
                  </a:cubicBezTo>
                  <a:cubicBezTo>
                    <a:pt x="61" y="130"/>
                    <a:pt x="51" y="130"/>
                    <a:pt x="39" y="129"/>
                  </a:cubicBezTo>
                  <a:lnTo>
                    <a:pt x="39" y="29"/>
                  </a:lnTo>
                  <a:close/>
                  <a:moveTo>
                    <a:pt x="0" y="270"/>
                  </a:moveTo>
                  <a:cubicBezTo>
                    <a:pt x="0" y="279"/>
                    <a:pt x="1" y="281"/>
                    <a:pt x="6" y="283"/>
                  </a:cubicBezTo>
                  <a:cubicBezTo>
                    <a:pt x="13" y="285"/>
                    <a:pt x="38" y="288"/>
                    <a:pt x="65" y="288"/>
                  </a:cubicBezTo>
                  <a:cubicBezTo>
                    <a:pt x="95" y="288"/>
                    <a:pt x="189" y="288"/>
                    <a:pt x="189" y="212"/>
                  </a:cubicBezTo>
                  <a:cubicBezTo>
                    <a:pt x="189" y="177"/>
                    <a:pt x="168" y="148"/>
                    <a:pt x="127" y="138"/>
                  </a:cubicBezTo>
                  <a:cubicBezTo>
                    <a:pt x="124" y="138"/>
                    <a:pt x="121" y="137"/>
                    <a:pt x="118" y="136"/>
                  </a:cubicBezTo>
                  <a:cubicBezTo>
                    <a:pt x="121" y="135"/>
                    <a:pt x="124" y="134"/>
                    <a:pt x="127" y="132"/>
                  </a:cubicBezTo>
                  <a:cubicBezTo>
                    <a:pt x="146" y="123"/>
                    <a:pt x="170" y="104"/>
                    <a:pt x="170" y="71"/>
                  </a:cubicBezTo>
                  <a:cubicBezTo>
                    <a:pt x="170" y="51"/>
                    <a:pt x="161" y="32"/>
                    <a:pt x="142" y="20"/>
                  </a:cubicBezTo>
                  <a:cubicBezTo>
                    <a:pt x="120" y="7"/>
                    <a:pt x="90" y="4"/>
                    <a:pt x="67" y="4"/>
                  </a:cubicBezTo>
                  <a:cubicBezTo>
                    <a:pt x="49" y="4"/>
                    <a:pt x="16" y="6"/>
                    <a:pt x="6" y="9"/>
                  </a:cubicBezTo>
                  <a:cubicBezTo>
                    <a:pt x="1" y="11"/>
                    <a:pt x="0" y="13"/>
                    <a:pt x="0" y="20"/>
                  </a:cubicBezTo>
                  <a:lnTo>
                    <a:pt x="0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EFCABA-9B26-47D0-8536-60E8DB324D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  <a:prstGeom prst="rect">
            <a:avLst/>
          </a:prstGeom>
        </p:spPr>
        <p:txBody>
          <a:bodyPr vert="horz" lIns="0" tIns="97200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B7FCBE-0B9A-4746-BAEF-5F31958E3A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5900" y="1371600"/>
            <a:ext cx="11745191" cy="5029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2" name="Footer Placeholder 51">
            <a:extLst>
              <a:ext uri="{FF2B5EF4-FFF2-40B4-BE49-F238E27FC236}">
                <a16:creationId xmlns:a16="http://schemas.microsoft.com/office/drawing/2014/main" id="{7C3F8026-F860-4036-A967-9065CFA991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5899" y="6400800"/>
            <a:ext cx="11758613" cy="2111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72000" rIns="72000" bIns="0" rtlCol="0" anchor="t"/>
          <a:lstStyle>
            <a:lvl1pPr algn="l">
              <a:defRPr lang="en-US" sz="10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7" name="Line 19">
            <a:extLst>
              <a:ext uri="{FF2B5EF4-FFF2-40B4-BE49-F238E27FC236}">
                <a16:creationId xmlns:a16="http://schemas.microsoft.com/office/drawing/2014/main" id="{482590BD-5095-7762-2047-2D7064FD3A55}"/>
              </a:ext>
            </a:extLst>
          </p:cNvPr>
          <p:cNvSpPr>
            <a:spLocks noChangeShapeType="1"/>
          </p:cNvSpPr>
          <p:nvPr userDrawn="1"/>
        </p:nvSpPr>
        <p:spPr bwMode="auto">
          <a:xfrm flipH="1">
            <a:off x="11113" y="6738674"/>
            <a:ext cx="12169775" cy="0"/>
          </a:xfrm>
          <a:prstGeom prst="line">
            <a:avLst/>
          </a:prstGeom>
          <a:noFill/>
          <a:ln w="4763" cap="flat">
            <a:solidFill>
              <a:srgbClr val="0B2C39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9EA7096-A15E-4F62-AD38-42EA8DD3E826}"/>
              </a:ext>
            </a:extLst>
          </p:cNvPr>
          <p:cNvSpPr/>
          <p:nvPr userDrawn="1"/>
        </p:nvSpPr>
        <p:spPr>
          <a:xfrm>
            <a:off x="11974513" y="6678467"/>
            <a:ext cx="217487" cy="1253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251C613E-E48F-4F3B-8AF2-F2BF84B22DA6}" type="slidenum">
              <a:rPr lang="en-US" sz="700" b="1" smtClean="0">
                <a:solidFill>
                  <a:schemeClr val="tx1"/>
                </a:solidFill>
              </a:rPr>
              <a:pPr algn="ctr"/>
              <a:t>‹#›</a:t>
            </a:fld>
            <a:endParaRPr lang="en-US" sz="700" b="1">
              <a:solidFill>
                <a:schemeClr val="tx1"/>
              </a:solidFill>
            </a:endParaRPr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58EF9C49-678B-5FD9-9A76-5C6DC2A4B723}"/>
              </a:ext>
            </a:extLst>
          </p:cNvPr>
          <p:cNvGrpSpPr/>
          <p:nvPr userDrawn="1"/>
        </p:nvGrpSpPr>
        <p:grpSpPr>
          <a:xfrm>
            <a:off x="10531757" y="188256"/>
            <a:ext cx="1436183" cy="985137"/>
            <a:chOff x="228600" y="2150376"/>
            <a:chExt cx="2906342" cy="1993578"/>
          </a:xfrm>
          <a:solidFill>
            <a:schemeClr val="tx2"/>
          </a:solidFill>
        </p:grpSpPr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07B544E3-C8F4-F2DC-EC03-09F8DA7AAB8F}"/>
                </a:ext>
              </a:extLst>
            </p:cNvPr>
            <p:cNvGrpSpPr/>
            <p:nvPr userDrawn="1"/>
          </p:nvGrpSpPr>
          <p:grpSpPr>
            <a:xfrm>
              <a:off x="228600" y="3626341"/>
              <a:ext cx="2799815" cy="517613"/>
              <a:chOff x="228600" y="3626341"/>
              <a:chExt cx="2799815" cy="517613"/>
            </a:xfrm>
            <a:grpFill/>
          </p:grpSpPr>
          <p:sp>
            <p:nvSpPr>
              <p:cNvPr id="147" name="Freeform 6">
                <a:extLst>
                  <a:ext uri="{FF2B5EF4-FFF2-40B4-BE49-F238E27FC236}">
                    <a16:creationId xmlns:a16="http://schemas.microsoft.com/office/drawing/2014/main" id="{6DCF071D-FC23-5B9B-0AA0-A9345F3E57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534" y="3955731"/>
                <a:ext cx="95922" cy="164696"/>
              </a:xfrm>
              <a:custGeom>
                <a:avLst/>
                <a:gdLst>
                  <a:gd name="T0" fmla="*/ 235 w 235"/>
                  <a:gd name="T1" fmla="*/ 1 h 398"/>
                  <a:gd name="T2" fmla="*/ 218 w 235"/>
                  <a:gd name="T3" fmla="*/ 72 h 398"/>
                  <a:gd name="T4" fmla="*/ 152 w 235"/>
                  <a:gd name="T5" fmla="*/ 80 h 398"/>
                  <a:gd name="T6" fmla="*/ 131 w 235"/>
                  <a:gd name="T7" fmla="*/ 113 h 398"/>
                  <a:gd name="T8" fmla="*/ 176 w 235"/>
                  <a:gd name="T9" fmla="*/ 114 h 398"/>
                  <a:gd name="T10" fmla="*/ 164 w 235"/>
                  <a:gd name="T11" fmla="*/ 178 h 398"/>
                  <a:gd name="T12" fmla="*/ 116 w 235"/>
                  <a:gd name="T13" fmla="*/ 178 h 398"/>
                  <a:gd name="T14" fmla="*/ 70 w 235"/>
                  <a:gd name="T15" fmla="*/ 398 h 398"/>
                  <a:gd name="T16" fmla="*/ 0 w 235"/>
                  <a:gd name="T17" fmla="*/ 398 h 398"/>
                  <a:gd name="T18" fmla="*/ 43 w 235"/>
                  <a:gd name="T19" fmla="*/ 176 h 398"/>
                  <a:gd name="T20" fmla="*/ 6 w 235"/>
                  <a:gd name="T21" fmla="*/ 176 h 398"/>
                  <a:gd name="T22" fmla="*/ 17 w 235"/>
                  <a:gd name="T23" fmla="*/ 112 h 398"/>
                  <a:gd name="T24" fmla="*/ 56 w 235"/>
                  <a:gd name="T25" fmla="*/ 112 h 398"/>
                  <a:gd name="T26" fmla="*/ 95 w 235"/>
                  <a:gd name="T27" fmla="*/ 44 h 398"/>
                  <a:gd name="T28" fmla="*/ 235 w 235"/>
                  <a:gd name="T29" fmla="*/ 1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5" h="398">
                    <a:moveTo>
                      <a:pt x="235" y="1"/>
                    </a:moveTo>
                    <a:lnTo>
                      <a:pt x="218" y="72"/>
                    </a:lnTo>
                    <a:cubicBezTo>
                      <a:pt x="218" y="72"/>
                      <a:pt x="175" y="63"/>
                      <a:pt x="152" y="80"/>
                    </a:cubicBezTo>
                    <a:cubicBezTo>
                      <a:pt x="129" y="96"/>
                      <a:pt x="131" y="113"/>
                      <a:pt x="131" y="113"/>
                    </a:cubicBezTo>
                    <a:lnTo>
                      <a:pt x="176" y="114"/>
                    </a:lnTo>
                    <a:lnTo>
                      <a:pt x="164" y="178"/>
                    </a:lnTo>
                    <a:lnTo>
                      <a:pt x="116" y="178"/>
                    </a:lnTo>
                    <a:lnTo>
                      <a:pt x="70" y="398"/>
                    </a:lnTo>
                    <a:lnTo>
                      <a:pt x="0" y="398"/>
                    </a:lnTo>
                    <a:lnTo>
                      <a:pt x="43" y="176"/>
                    </a:lnTo>
                    <a:lnTo>
                      <a:pt x="6" y="176"/>
                    </a:lnTo>
                    <a:lnTo>
                      <a:pt x="17" y="112"/>
                    </a:lnTo>
                    <a:lnTo>
                      <a:pt x="56" y="112"/>
                    </a:lnTo>
                    <a:cubicBezTo>
                      <a:pt x="56" y="112"/>
                      <a:pt x="68" y="67"/>
                      <a:pt x="95" y="44"/>
                    </a:cubicBezTo>
                    <a:cubicBezTo>
                      <a:pt x="121" y="23"/>
                      <a:pt x="169" y="0"/>
                      <a:pt x="23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8" name="Freeform 7">
                <a:extLst>
                  <a:ext uri="{FF2B5EF4-FFF2-40B4-BE49-F238E27FC236}">
                    <a16:creationId xmlns:a16="http://schemas.microsoft.com/office/drawing/2014/main" id="{E2D9F49F-AF6B-4B66-830C-55221FC964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44429" y="4002787"/>
                <a:ext cx="54295" cy="115829"/>
              </a:xfrm>
              <a:custGeom>
                <a:avLst/>
                <a:gdLst>
                  <a:gd name="T0" fmla="*/ 56 w 133"/>
                  <a:gd name="T1" fmla="*/ 0 h 281"/>
                  <a:gd name="T2" fmla="*/ 133 w 133"/>
                  <a:gd name="T3" fmla="*/ 0 h 281"/>
                  <a:gd name="T4" fmla="*/ 75 w 133"/>
                  <a:gd name="T5" fmla="*/ 281 h 281"/>
                  <a:gd name="T6" fmla="*/ 0 w 133"/>
                  <a:gd name="T7" fmla="*/ 281 h 281"/>
                  <a:gd name="T8" fmla="*/ 56 w 133"/>
                  <a:gd name="T9" fmla="*/ 0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281">
                    <a:moveTo>
                      <a:pt x="56" y="0"/>
                    </a:moveTo>
                    <a:lnTo>
                      <a:pt x="133" y="0"/>
                    </a:lnTo>
                    <a:lnTo>
                      <a:pt x="75" y="281"/>
                    </a:lnTo>
                    <a:lnTo>
                      <a:pt x="0" y="281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9" name="Freeform 8">
                <a:extLst>
                  <a:ext uri="{FF2B5EF4-FFF2-40B4-BE49-F238E27FC236}">
                    <a16:creationId xmlns:a16="http://schemas.microsoft.com/office/drawing/2014/main" id="{875D7C2F-D091-E1A5-C088-B7F838123F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9767" y="3955731"/>
                <a:ext cx="38007" cy="30768"/>
              </a:xfrm>
              <a:custGeom>
                <a:avLst/>
                <a:gdLst>
                  <a:gd name="T0" fmla="*/ 16 w 92"/>
                  <a:gd name="T1" fmla="*/ 0 h 76"/>
                  <a:gd name="T2" fmla="*/ 92 w 92"/>
                  <a:gd name="T3" fmla="*/ 0 h 76"/>
                  <a:gd name="T4" fmla="*/ 75 w 92"/>
                  <a:gd name="T5" fmla="*/ 76 h 76"/>
                  <a:gd name="T6" fmla="*/ 0 w 92"/>
                  <a:gd name="T7" fmla="*/ 76 h 76"/>
                  <a:gd name="T8" fmla="*/ 16 w 92"/>
                  <a:gd name="T9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76">
                    <a:moveTo>
                      <a:pt x="16" y="0"/>
                    </a:moveTo>
                    <a:lnTo>
                      <a:pt x="92" y="0"/>
                    </a:lnTo>
                    <a:lnTo>
                      <a:pt x="75" y="76"/>
                    </a:lnTo>
                    <a:lnTo>
                      <a:pt x="0" y="7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0" name="Freeform 9">
                <a:extLst>
                  <a:ext uri="{FF2B5EF4-FFF2-40B4-BE49-F238E27FC236}">
                    <a16:creationId xmlns:a16="http://schemas.microsoft.com/office/drawing/2014/main" id="{B6AC9A3E-5E15-3838-5BBA-482E80C2C55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28600" y="3966590"/>
                <a:ext cx="123069" cy="152026"/>
              </a:xfrm>
              <a:custGeom>
                <a:avLst/>
                <a:gdLst>
                  <a:gd name="T0" fmla="*/ 286 w 299"/>
                  <a:gd name="T1" fmla="*/ 89 h 371"/>
                  <a:gd name="T2" fmla="*/ 220 w 299"/>
                  <a:gd name="T3" fmla="*/ 3 h 371"/>
                  <a:gd name="T4" fmla="*/ 72 w 299"/>
                  <a:gd name="T5" fmla="*/ 1 h 371"/>
                  <a:gd name="T6" fmla="*/ 0 w 299"/>
                  <a:gd name="T7" fmla="*/ 368 h 371"/>
                  <a:gd name="T8" fmla="*/ 104 w 299"/>
                  <a:gd name="T9" fmla="*/ 371 h 371"/>
                  <a:gd name="T10" fmla="*/ 274 w 299"/>
                  <a:gd name="T11" fmla="*/ 271 h 371"/>
                  <a:gd name="T12" fmla="*/ 245 w 299"/>
                  <a:gd name="T13" fmla="*/ 169 h 371"/>
                  <a:gd name="T14" fmla="*/ 286 w 299"/>
                  <a:gd name="T15" fmla="*/ 89 h 371"/>
                  <a:gd name="T16" fmla="*/ 206 w 299"/>
                  <a:gd name="T17" fmla="*/ 114 h 371"/>
                  <a:gd name="T18" fmla="*/ 132 w 299"/>
                  <a:gd name="T19" fmla="*/ 157 h 371"/>
                  <a:gd name="T20" fmla="*/ 131 w 299"/>
                  <a:gd name="T21" fmla="*/ 171 h 371"/>
                  <a:gd name="T22" fmla="*/ 200 w 299"/>
                  <a:gd name="T23" fmla="*/ 252 h 371"/>
                  <a:gd name="T24" fmla="*/ 131 w 299"/>
                  <a:gd name="T25" fmla="*/ 298 h 371"/>
                  <a:gd name="T26" fmla="*/ 83 w 299"/>
                  <a:gd name="T27" fmla="*/ 301 h 371"/>
                  <a:gd name="T28" fmla="*/ 130 w 299"/>
                  <a:gd name="T29" fmla="*/ 70 h 371"/>
                  <a:gd name="T30" fmla="*/ 206 w 299"/>
                  <a:gd name="T31" fmla="*/ 114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99" h="371">
                    <a:moveTo>
                      <a:pt x="286" y="89"/>
                    </a:moveTo>
                    <a:cubicBezTo>
                      <a:pt x="292" y="36"/>
                      <a:pt x="243" y="7"/>
                      <a:pt x="220" y="3"/>
                    </a:cubicBezTo>
                    <a:cubicBezTo>
                      <a:pt x="197" y="0"/>
                      <a:pt x="72" y="1"/>
                      <a:pt x="72" y="1"/>
                    </a:cubicBezTo>
                    <a:lnTo>
                      <a:pt x="0" y="368"/>
                    </a:lnTo>
                    <a:lnTo>
                      <a:pt x="104" y="371"/>
                    </a:lnTo>
                    <a:cubicBezTo>
                      <a:pt x="104" y="371"/>
                      <a:pt x="237" y="367"/>
                      <a:pt x="274" y="271"/>
                    </a:cubicBezTo>
                    <a:cubicBezTo>
                      <a:pt x="299" y="208"/>
                      <a:pt x="245" y="169"/>
                      <a:pt x="245" y="169"/>
                    </a:cubicBezTo>
                    <a:cubicBezTo>
                      <a:pt x="245" y="169"/>
                      <a:pt x="280" y="142"/>
                      <a:pt x="286" y="89"/>
                    </a:cubicBezTo>
                    <a:close/>
                    <a:moveTo>
                      <a:pt x="206" y="114"/>
                    </a:moveTo>
                    <a:cubicBezTo>
                      <a:pt x="198" y="160"/>
                      <a:pt x="132" y="157"/>
                      <a:pt x="132" y="157"/>
                    </a:cubicBezTo>
                    <a:cubicBezTo>
                      <a:pt x="132" y="157"/>
                      <a:pt x="132" y="171"/>
                      <a:pt x="131" y="171"/>
                    </a:cubicBezTo>
                    <a:cubicBezTo>
                      <a:pt x="153" y="173"/>
                      <a:pt x="214" y="209"/>
                      <a:pt x="200" y="252"/>
                    </a:cubicBezTo>
                    <a:cubicBezTo>
                      <a:pt x="184" y="301"/>
                      <a:pt x="131" y="298"/>
                      <a:pt x="131" y="298"/>
                    </a:cubicBezTo>
                    <a:lnTo>
                      <a:pt x="83" y="301"/>
                    </a:lnTo>
                    <a:lnTo>
                      <a:pt x="130" y="70"/>
                    </a:lnTo>
                    <a:cubicBezTo>
                      <a:pt x="130" y="70"/>
                      <a:pt x="214" y="68"/>
                      <a:pt x="206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1" name="Freeform 10">
                <a:extLst>
                  <a:ext uri="{FF2B5EF4-FFF2-40B4-BE49-F238E27FC236}">
                    <a16:creationId xmlns:a16="http://schemas.microsoft.com/office/drawing/2014/main" id="{DFA14166-29B5-28B9-F1B0-25EF20641A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06" y="3695115"/>
                <a:ext cx="369206" cy="238898"/>
              </a:xfrm>
              <a:custGeom>
                <a:avLst/>
                <a:gdLst>
                  <a:gd name="T0" fmla="*/ 826 w 897"/>
                  <a:gd name="T1" fmla="*/ 0 h 583"/>
                  <a:gd name="T2" fmla="*/ 896 w 897"/>
                  <a:gd name="T3" fmla="*/ 150 h 583"/>
                  <a:gd name="T4" fmla="*/ 480 w 897"/>
                  <a:gd name="T5" fmla="*/ 352 h 583"/>
                  <a:gd name="T6" fmla="*/ 256 w 897"/>
                  <a:gd name="T7" fmla="*/ 519 h 583"/>
                  <a:gd name="T8" fmla="*/ 0 w 897"/>
                  <a:gd name="T9" fmla="*/ 564 h 583"/>
                  <a:gd name="T10" fmla="*/ 113 w 897"/>
                  <a:gd name="T11" fmla="*/ 542 h 583"/>
                  <a:gd name="T12" fmla="*/ 490 w 897"/>
                  <a:gd name="T13" fmla="*/ 279 h 583"/>
                  <a:gd name="T14" fmla="*/ 819 w 897"/>
                  <a:gd name="T15" fmla="*/ 125 h 583"/>
                  <a:gd name="T16" fmla="*/ 826 w 897"/>
                  <a:gd name="T17" fmla="*/ 0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97" h="583">
                    <a:moveTo>
                      <a:pt x="826" y="0"/>
                    </a:moveTo>
                    <a:cubicBezTo>
                      <a:pt x="829" y="16"/>
                      <a:pt x="842" y="96"/>
                      <a:pt x="896" y="150"/>
                    </a:cubicBezTo>
                    <a:cubicBezTo>
                      <a:pt x="897" y="151"/>
                      <a:pt x="639" y="237"/>
                      <a:pt x="480" y="352"/>
                    </a:cubicBezTo>
                    <a:cubicBezTo>
                      <a:pt x="396" y="412"/>
                      <a:pt x="313" y="486"/>
                      <a:pt x="256" y="519"/>
                    </a:cubicBezTo>
                    <a:cubicBezTo>
                      <a:pt x="145" y="583"/>
                      <a:pt x="0" y="576"/>
                      <a:pt x="0" y="564"/>
                    </a:cubicBezTo>
                    <a:cubicBezTo>
                      <a:pt x="0" y="551"/>
                      <a:pt x="36" y="566"/>
                      <a:pt x="113" y="542"/>
                    </a:cubicBezTo>
                    <a:cubicBezTo>
                      <a:pt x="223" y="507"/>
                      <a:pt x="387" y="351"/>
                      <a:pt x="490" y="279"/>
                    </a:cubicBezTo>
                    <a:cubicBezTo>
                      <a:pt x="613" y="197"/>
                      <a:pt x="782" y="137"/>
                      <a:pt x="819" y="125"/>
                    </a:cubicBezTo>
                    <a:cubicBezTo>
                      <a:pt x="819" y="114"/>
                      <a:pt x="804" y="30"/>
                      <a:pt x="8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2" name="Freeform 11">
                <a:extLst>
                  <a:ext uri="{FF2B5EF4-FFF2-40B4-BE49-F238E27FC236}">
                    <a16:creationId xmlns:a16="http://schemas.microsoft.com/office/drawing/2014/main" id="{C9769FD3-20D0-42E1-4BE4-616872AA78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7773" y="3852570"/>
                <a:ext cx="342059" cy="191843"/>
              </a:xfrm>
              <a:custGeom>
                <a:avLst/>
                <a:gdLst>
                  <a:gd name="T0" fmla="*/ 0 w 834"/>
                  <a:gd name="T1" fmla="*/ 120 h 464"/>
                  <a:gd name="T2" fmla="*/ 156 w 834"/>
                  <a:gd name="T3" fmla="*/ 65 h 464"/>
                  <a:gd name="T4" fmla="*/ 508 w 834"/>
                  <a:gd name="T5" fmla="*/ 183 h 464"/>
                  <a:gd name="T6" fmla="*/ 448 w 834"/>
                  <a:gd name="T7" fmla="*/ 58 h 464"/>
                  <a:gd name="T8" fmla="*/ 452 w 834"/>
                  <a:gd name="T9" fmla="*/ 0 h 464"/>
                  <a:gd name="T10" fmla="*/ 600 w 834"/>
                  <a:gd name="T11" fmla="*/ 231 h 464"/>
                  <a:gd name="T12" fmla="*/ 834 w 834"/>
                  <a:gd name="T13" fmla="*/ 464 h 464"/>
                  <a:gd name="T14" fmla="*/ 649 w 834"/>
                  <a:gd name="T15" fmla="*/ 353 h 464"/>
                  <a:gd name="T16" fmla="*/ 543 w 834"/>
                  <a:gd name="T17" fmla="*/ 252 h 464"/>
                  <a:gd name="T18" fmla="*/ 462 w 834"/>
                  <a:gd name="T19" fmla="*/ 224 h 464"/>
                  <a:gd name="T20" fmla="*/ 193 w 834"/>
                  <a:gd name="T21" fmla="*/ 101 h 464"/>
                  <a:gd name="T22" fmla="*/ 0 w 834"/>
                  <a:gd name="T23" fmla="*/ 120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4" h="464">
                    <a:moveTo>
                      <a:pt x="0" y="120"/>
                    </a:moveTo>
                    <a:cubicBezTo>
                      <a:pt x="0" y="120"/>
                      <a:pt x="38" y="60"/>
                      <a:pt x="156" y="65"/>
                    </a:cubicBezTo>
                    <a:cubicBezTo>
                      <a:pt x="274" y="69"/>
                      <a:pt x="508" y="183"/>
                      <a:pt x="508" y="183"/>
                    </a:cubicBezTo>
                    <a:cubicBezTo>
                      <a:pt x="508" y="183"/>
                      <a:pt x="457" y="103"/>
                      <a:pt x="448" y="58"/>
                    </a:cubicBezTo>
                    <a:cubicBezTo>
                      <a:pt x="439" y="14"/>
                      <a:pt x="452" y="0"/>
                      <a:pt x="452" y="0"/>
                    </a:cubicBezTo>
                    <a:cubicBezTo>
                      <a:pt x="477" y="55"/>
                      <a:pt x="566" y="179"/>
                      <a:pt x="600" y="231"/>
                    </a:cubicBezTo>
                    <a:cubicBezTo>
                      <a:pt x="672" y="340"/>
                      <a:pt x="834" y="464"/>
                      <a:pt x="834" y="464"/>
                    </a:cubicBezTo>
                    <a:cubicBezTo>
                      <a:pt x="797" y="460"/>
                      <a:pt x="707" y="403"/>
                      <a:pt x="649" y="353"/>
                    </a:cubicBezTo>
                    <a:cubicBezTo>
                      <a:pt x="592" y="303"/>
                      <a:pt x="561" y="260"/>
                      <a:pt x="543" y="252"/>
                    </a:cubicBezTo>
                    <a:cubicBezTo>
                      <a:pt x="525" y="244"/>
                      <a:pt x="483" y="233"/>
                      <a:pt x="462" y="224"/>
                    </a:cubicBezTo>
                    <a:cubicBezTo>
                      <a:pt x="424" y="206"/>
                      <a:pt x="271" y="110"/>
                      <a:pt x="193" y="101"/>
                    </a:cubicBezTo>
                    <a:cubicBezTo>
                      <a:pt x="71" y="88"/>
                      <a:pt x="0" y="120"/>
                      <a:pt x="0" y="1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3" name="Freeform 12">
                <a:extLst>
                  <a:ext uri="{FF2B5EF4-FFF2-40B4-BE49-F238E27FC236}">
                    <a16:creationId xmlns:a16="http://schemas.microsoft.com/office/drawing/2014/main" id="{186495E1-71C2-F547-1CC8-C091170E0A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4003" y="3727692"/>
                <a:ext cx="229850" cy="106781"/>
              </a:xfrm>
              <a:custGeom>
                <a:avLst/>
                <a:gdLst>
                  <a:gd name="T0" fmla="*/ 0 w 559"/>
                  <a:gd name="T1" fmla="*/ 24 h 259"/>
                  <a:gd name="T2" fmla="*/ 68 w 559"/>
                  <a:gd name="T3" fmla="*/ 90 h 259"/>
                  <a:gd name="T4" fmla="*/ 185 w 559"/>
                  <a:gd name="T5" fmla="*/ 118 h 259"/>
                  <a:gd name="T6" fmla="*/ 87 w 559"/>
                  <a:gd name="T7" fmla="*/ 60 h 259"/>
                  <a:gd name="T8" fmla="*/ 212 w 559"/>
                  <a:gd name="T9" fmla="*/ 71 h 259"/>
                  <a:gd name="T10" fmla="*/ 320 w 559"/>
                  <a:gd name="T11" fmla="*/ 166 h 259"/>
                  <a:gd name="T12" fmla="*/ 289 w 559"/>
                  <a:gd name="T13" fmla="*/ 215 h 259"/>
                  <a:gd name="T14" fmla="*/ 434 w 559"/>
                  <a:gd name="T15" fmla="*/ 252 h 259"/>
                  <a:gd name="T16" fmla="*/ 559 w 559"/>
                  <a:gd name="T17" fmla="*/ 185 h 259"/>
                  <a:gd name="T18" fmla="*/ 433 w 559"/>
                  <a:gd name="T19" fmla="*/ 218 h 259"/>
                  <a:gd name="T20" fmla="*/ 353 w 559"/>
                  <a:gd name="T21" fmla="*/ 192 h 259"/>
                  <a:gd name="T22" fmla="*/ 361 w 559"/>
                  <a:gd name="T23" fmla="*/ 156 h 259"/>
                  <a:gd name="T24" fmla="*/ 219 w 559"/>
                  <a:gd name="T25" fmla="*/ 38 h 259"/>
                  <a:gd name="T26" fmla="*/ 0 w 559"/>
                  <a:gd name="T27" fmla="*/ 24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59" h="259">
                    <a:moveTo>
                      <a:pt x="0" y="24"/>
                    </a:moveTo>
                    <a:cubicBezTo>
                      <a:pt x="0" y="24"/>
                      <a:pt x="6" y="53"/>
                      <a:pt x="68" y="90"/>
                    </a:cubicBezTo>
                    <a:cubicBezTo>
                      <a:pt x="131" y="127"/>
                      <a:pt x="185" y="118"/>
                      <a:pt x="185" y="118"/>
                    </a:cubicBezTo>
                    <a:cubicBezTo>
                      <a:pt x="185" y="118"/>
                      <a:pt x="100" y="88"/>
                      <a:pt x="87" y="60"/>
                    </a:cubicBezTo>
                    <a:cubicBezTo>
                      <a:pt x="97" y="59"/>
                      <a:pt x="121" y="45"/>
                      <a:pt x="212" y="71"/>
                    </a:cubicBezTo>
                    <a:cubicBezTo>
                      <a:pt x="285" y="92"/>
                      <a:pt x="320" y="152"/>
                      <a:pt x="320" y="166"/>
                    </a:cubicBezTo>
                    <a:cubicBezTo>
                      <a:pt x="320" y="187"/>
                      <a:pt x="289" y="215"/>
                      <a:pt x="289" y="215"/>
                    </a:cubicBezTo>
                    <a:cubicBezTo>
                      <a:pt x="289" y="215"/>
                      <a:pt x="354" y="259"/>
                      <a:pt x="434" y="252"/>
                    </a:cubicBezTo>
                    <a:cubicBezTo>
                      <a:pt x="514" y="244"/>
                      <a:pt x="559" y="185"/>
                      <a:pt x="559" y="185"/>
                    </a:cubicBezTo>
                    <a:cubicBezTo>
                      <a:pt x="559" y="185"/>
                      <a:pt x="495" y="217"/>
                      <a:pt x="433" y="218"/>
                    </a:cubicBezTo>
                    <a:cubicBezTo>
                      <a:pt x="370" y="219"/>
                      <a:pt x="353" y="192"/>
                      <a:pt x="353" y="192"/>
                    </a:cubicBezTo>
                    <a:cubicBezTo>
                      <a:pt x="353" y="192"/>
                      <a:pt x="366" y="182"/>
                      <a:pt x="361" y="156"/>
                    </a:cubicBezTo>
                    <a:cubicBezTo>
                      <a:pt x="356" y="130"/>
                      <a:pt x="314" y="76"/>
                      <a:pt x="219" y="38"/>
                    </a:cubicBezTo>
                    <a:cubicBezTo>
                      <a:pt x="125" y="0"/>
                      <a:pt x="0" y="24"/>
                      <a:pt x="0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4" name="Freeform 13">
                <a:extLst>
                  <a:ext uri="{FF2B5EF4-FFF2-40B4-BE49-F238E27FC236}">
                    <a16:creationId xmlns:a16="http://schemas.microsoft.com/office/drawing/2014/main" id="{A518E043-47E6-CF8E-B63C-9BE2B91080B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617714" y="3791036"/>
                <a:ext cx="193653" cy="110401"/>
              </a:xfrm>
              <a:custGeom>
                <a:avLst/>
                <a:gdLst>
                  <a:gd name="T0" fmla="*/ 374 w 471"/>
                  <a:gd name="T1" fmla="*/ 105 h 265"/>
                  <a:gd name="T2" fmla="*/ 301 w 471"/>
                  <a:gd name="T3" fmla="*/ 72 h 265"/>
                  <a:gd name="T4" fmla="*/ 211 w 471"/>
                  <a:gd name="T5" fmla="*/ 114 h 265"/>
                  <a:gd name="T6" fmla="*/ 125 w 471"/>
                  <a:gd name="T7" fmla="*/ 165 h 265"/>
                  <a:gd name="T8" fmla="*/ 83 w 471"/>
                  <a:gd name="T9" fmla="*/ 137 h 265"/>
                  <a:gd name="T10" fmla="*/ 73 w 471"/>
                  <a:gd name="T11" fmla="*/ 166 h 265"/>
                  <a:gd name="T12" fmla="*/ 72 w 471"/>
                  <a:gd name="T13" fmla="*/ 189 h 265"/>
                  <a:gd name="T14" fmla="*/ 35 w 471"/>
                  <a:gd name="T15" fmla="*/ 148 h 265"/>
                  <a:gd name="T16" fmla="*/ 53 w 471"/>
                  <a:gd name="T17" fmla="*/ 100 h 265"/>
                  <a:gd name="T18" fmla="*/ 33 w 471"/>
                  <a:gd name="T19" fmla="*/ 61 h 265"/>
                  <a:gd name="T20" fmla="*/ 80 w 471"/>
                  <a:gd name="T21" fmla="*/ 0 h 265"/>
                  <a:gd name="T22" fmla="*/ 27 w 471"/>
                  <a:gd name="T23" fmla="*/ 24 h 265"/>
                  <a:gd name="T24" fmla="*/ 3 w 471"/>
                  <a:gd name="T25" fmla="*/ 69 h 265"/>
                  <a:gd name="T26" fmla="*/ 21 w 471"/>
                  <a:gd name="T27" fmla="*/ 111 h 265"/>
                  <a:gd name="T28" fmla="*/ 5 w 471"/>
                  <a:gd name="T29" fmla="*/ 144 h 265"/>
                  <a:gd name="T30" fmla="*/ 16 w 471"/>
                  <a:gd name="T31" fmla="*/ 183 h 265"/>
                  <a:gd name="T32" fmla="*/ 49 w 471"/>
                  <a:gd name="T33" fmla="*/ 217 h 265"/>
                  <a:gd name="T34" fmla="*/ 62 w 471"/>
                  <a:gd name="T35" fmla="*/ 225 h 265"/>
                  <a:gd name="T36" fmla="*/ 62 w 471"/>
                  <a:gd name="T37" fmla="*/ 242 h 265"/>
                  <a:gd name="T38" fmla="*/ 86 w 471"/>
                  <a:gd name="T39" fmla="*/ 264 h 265"/>
                  <a:gd name="T40" fmla="*/ 118 w 471"/>
                  <a:gd name="T41" fmla="*/ 244 h 265"/>
                  <a:gd name="T42" fmla="*/ 132 w 471"/>
                  <a:gd name="T43" fmla="*/ 196 h 265"/>
                  <a:gd name="T44" fmla="*/ 235 w 471"/>
                  <a:gd name="T45" fmla="*/ 144 h 265"/>
                  <a:gd name="T46" fmla="*/ 282 w 471"/>
                  <a:gd name="T47" fmla="*/ 116 h 265"/>
                  <a:gd name="T48" fmla="*/ 373 w 471"/>
                  <a:gd name="T49" fmla="*/ 136 h 265"/>
                  <a:gd name="T50" fmla="*/ 471 w 471"/>
                  <a:gd name="T51" fmla="*/ 112 h 265"/>
                  <a:gd name="T52" fmla="*/ 374 w 471"/>
                  <a:gd name="T53" fmla="*/ 105 h 265"/>
                  <a:gd name="T54" fmla="*/ 79 w 471"/>
                  <a:gd name="T55" fmla="*/ 240 h 265"/>
                  <a:gd name="T56" fmla="*/ 109 w 471"/>
                  <a:gd name="T57" fmla="*/ 213 h 265"/>
                  <a:gd name="T58" fmla="*/ 79 w 471"/>
                  <a:gd name="T59" fmla="*/ 24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71" h="265">
                    <a:moveTo>
                      <a:pt x="374" y="105"/>
                    </a:moveTo>
                    <a:cubicBezTo>
                      <a:pt x="351" y="100"/>
                      <a:pt x="301" y="72"/>
                      <a:pt x="301" y="72"/>
                    </a:cubicBezTo>
                    <a:cubicBezTo>
                      <a:pt x="301" y="72"/>
                      <a:pt x="227" y="105"/>
                      <a:pt x="211" y="114"/>
                    </a:cubicBezTo>
                    <a:cubicBezTo>
                      <a:pt x="195" y="123"/>
                      <a:pt x="136" y="164"/>
                      <a:pt x="125" y="165"/>
                    </a:cubicBezTo>
                    <a:cubicBezTo>
                      <a:pt x="114" y="166"/>
                      <a:pt x="83" y="137"/>
                      <a:pt x="83" y="137"/>
                    </a:cubicBezTo>
                    <a:cubicBezTo>
                      <a:pt x="83" y="137"/>
                      <a:pt x="71" y="160"/>
                      <a:pt x="73" y="166"/>
                    </a:cubicBezTo>
                    <a:cubicBezTo>
                      <a:pt x="74" y="172"/>
                      <a:pt x="85" y="182"/>
                      <a:pt x="72" y="189"/>
                    </a:cubicBezTo>
                    <a:cubicBezTo>
                      <a:pt x="57" y="198"/>
                      <a:pt x="35" y="163"/>
                      <a:pt x="35" y="148"/>
                    </a:cubicBezTo>
                    <a:cubicBezTo>
                      <a:pt x="35" y="133"/>
                      <a:pt x="55" y="115"/>
                      <a:pt x="53" y="100"/>
                    </a:cubicBezTo>
                    <a:cubicBezTo>
                      <a:pt x="51" y="85"/>
                      <a:pt x="35" y="80"/>
                      <a:pt x="33" y="61"/>
                    </a:cubicBezTo>
                    <a:cubicBezTo>
                      <a:pt x="31" y="43"/>
                      <a:pt x="80" y="0"/>
                      <a:pt x="80" y="0"/>
                    </a:cubicBezTo>
                    <a:cubicBezTo>
                      <a:pt x="80" y="0"/>
                      <a:pt x="45" y="7"/>
                      <a:pt x="27" y="24"/>
                    </a:cubicBezTo>
                    <a:cubicBezTo>
                      <a:pt x="10" y="40"/>
                      <a:pt x="4" y="55"/>
                      <a:pt x="3" y="69"/>
                    </a:cubicBezTo>
                    <a:cubicBezTo>
                      <a:pt x="2" y="84"/>
                      <a:pt x="21" y="98"/>
                      <a:pt x="21" y="111"/>
                    </a:cubicBezTo>
                    <a:cubicBezTo>
                      <a:pt x="21" y="121"/>
                      <a:pt x="10" y="127"/>
                      <a:pt x="5" y="144"/>
                    </a:cubicBezTo>
                    <a:cubicBezTo>
                      <a:pt x="0" y="160"/>
                      <a:pt x="11" y="176"/>
                      <a:pt x="16" y="183"/>
                    </a:cubicBezTo>
                    <a:cubicBezTo>
                      <a:pt x="22" y="191"/>
                      <a:pt x="40" y="209"/>
                      <a:pt x="49" y="217"/>
                    </a:cubicBezTo>
                    <a:cubicBezTo>
                      <a:pt x="58" y="224"/>
                      <a:pt x="62" y="225"/>
                      <a:pt x="62" y="225"/>
                    </a:cubicBezTo>
                    <a:cubicBezTo>
                      <a:pt x="62" y="225"/>
                      <a:pt x="61" y="234"/>
                      <a:pt x="62" y="242"/>
                    </a:cubicBezTo>
                    <a:cubicBezTo>
                      <a:pt x="63" y="251"/>
                      <a:pt x="70" y="265"/>
                      <a:pt x="86" y="264"/>
                    </a:cubicBezTo>
                    <a:cubicBezTo>
                      <a:pt x="100" y="263"/>
                      <a:pt x="109" y="256"/>
                      <a:pt x="118" y="244"/>
                    </a:cubicBezTo>
                    <a:cubicBezTo>
                      <a:pt x="129" y="231"/>
                      <a:pt x="132" y="196"/>
                      <a:pt x="132" y="196"/>
                    </a:cubicBezTo>
                    <a:cubicBezTo>
                      <a:pt x="132" y="196"/>
                      <a:pt x="205" y="158"/>
                      <a:pt x="235" y="144"/>
                    </a:cubicBezTo>
                    <a:cubicBezTo>
                      <a:pt x="264" y="129"/>
                      <a:pt x="282" y="116"/>
                      <a:pt x="282" y="116"/>
                    </a:cubicBezTo>
                    <a:cubicBezTo>
                      <a:pt x="282" y="116"/>
                      <a:pt x="321" y="134"/>
                      <a:pt x="373" y="136"/>
                    </a:cubicBezTo>
                    <a:cubicBezTo>
                      <a:pt x="425" y="138"/>
                      <a:pt x="471" y="112"/>
                      <a:pt x="471" y="112"/>
                    </a:cubicBezTo>
                    <a:cubicBezTo>
                      <a:pt x="471" y="112"/>
                      <a:pt x="398" y="110"/>
                      <a:pt x="374" y="105"/>
                    </a:cubicBezTo>
                    <a:close/>
                    <a:moveTo>
                      <a:pt x="79" y="240"/>
                    </a:moveTo>
                    <a:cubicBezTo>
                      <a:pt x="68" y="225"/>
                      <a:pt x="100" y="199"/>
                      <a:pt x="109" y="213"/>
                    </a:cubicBezTo>
                    <a:cubicBezTo>
                      <a:pt x="116" y="227"/>
                      <a:pt x="89" y="252"/>
                      <a:pt x="79" y="2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5" name="Freeform 14">
                <a:extLst>
                  <a:ext uri="{FF2B5EF4-FFF2-40B4-BE49-F238E27FC236}">
                    <a16:creationId xmlns:a16="http://schemas.microsoft.com/office/drawing/2014/main" id="{8289DBDC-EE78-73D8-95BF-B92072D101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1918" y="3810944"/>
                <a:ext cx="10859" cy="19909"/>
              </a:xfrm>
              <a:custGeom>
                <a:avLst/>
                <a:gdLst>
                  <a:gd name="T0" fmla="*/ 0 w 29"/>
                  <a:gd name="T1" fmla="*/ 0 h 50"/>
                  <a:gd name="T2" fmla="*/ 29 w 29"/>
                  <a:gd name="T3" fmla="*/ 36 h 50"/>
                  <a:gd name="T4" fmla="*/ 9 w 29"/>
                  <a:gd name="T5" fmla="*/ 44 h 50"/>
                  <a:gd name="T6" fmla="*/ 9 w 29"/>
                  <a:gd name="T7" fmla="*/ 27 h 50"/>
                  <a:gd name="T8" fmla="*/ 6 w 29"/>
                  <a:gd name="T9" fmla="*/ 15 h 50"/>
                  <a:gd name="T10" fmla="*/ 0 w 29"/>
                  <a:gd name="T1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50">
                    <a:moveTo>
                      <a:pt x="0" y="0"/>
                    </a:moveTo>
                    <a:cubicBezTo>
                      <a:pt x="13" y="20"/>
                      <a:pt x="29" y="23"/>
                      <a:pt x="29" y="36"/>
                    </a:cubicBezTo>
                    <a:cubicBezTo>
                      <a:pt x="28" y="43"/>
                      <a:pt x="17" y="50"/>
                      <a:pt x="9" y="44"/>
                    </a:cubicBezTo>
                    <a:cubicBezTo>
                      <a:pt x="0" y="38"/>
                      <a:pt x="9" y="27"/>
                      <a:pt x="9" y="27"/>
                    </a:cubicBezTo>
                    <a:cubicBezTo>
                      <a:pt x="9" y="27"/>
                      <a:pt x="9" y="23"/>
                      <a:pt x="6" y="15"/>
                    </a:cubicBezTo>
                    <a:cubicBezTo>
                      <a:pt x="3" y="6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6" name="Freeform 15">
                <a:extLst>
                  <a:ext uri="{FF2B5EF4-FFF2-40B4-BE49-F238E27FC236}">
                    <a16:creationId xmlns:a16="http://schemas.microsoft.com/office/drawing/2014/main" id="{811DD704-A2EA-9BDF-FFAF-73BE55669F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8449" y="3991928"/>
                <a:ext cx="175555" cy="128499"/>
              </a:xfrm>
              <a:custGeom>
                <a:avLst/>
                <a:gdLst>
                  <a:gd name="T0" fmla="*/ 131 w 427"/>
                  <a:gd name="T1" fmla="*/ 32 h 315"/>
                  <a:gd name="T2" fmla="*/ 58 w 427"/>
                  <a:gd name="T3" fmla="*/ 32 h 315"/>
                  <a:gd name="T4" fmla="*/ 0 w 427"/>
                  <a:gd name="T5" fmla="*/ 315 h 315"/>
                  <a:gd name="T6" fmla="*/ 74 w 427"/>
                  <a:gd name="T7" fmla="*/ 315 h 315"/>
                  <a:gd name="T8" fmla="*/ 113 w 427"/>
                  <a:gd name="T9" fmla="*/ 122 h 315"/>
                  <a:gd name="T10" fmla="*/ 173 w 427"/>
                  <a:gd name="T11" fmla="*/ 101 h 315"/>
                  <a:gd name="T12" fmla="*/ 191 w 427"/>
                  <a:gd name="T13" fmla="*/ 121 h 315"/>
                  <a:gd name="T14" fmla="*/ 149 w 427"/>
                  <a:gd name="T15" fmla="*/ 313 h 315"/>
                  <a:gd name="T16" fmla="*/ 224 w 427"/>
                  <a:gd name="T17" fmla="*/ 313 h 315"/>
                  <a:gd name="T18" fmla="*/ 265 w 427"/>
                  <a:gd name="T19" fmla="*/ 127 h 315"/>
                  <a:gd name="T20" fmla="*/ 329 w 427"/>
                  <a:gd name="T21" fmla="*/ 103 h 315"/>
                  <a:gd name="T22" fmla="*/ 340 w 427"/>
                  <a:gd name="T23" fmla="*/ 127 h 315"/>
                  <a:gd name="T24" fmla="*/ 300 w 427"/>
                  <a:gd name="T25" fmla="*/ 313 h 315"/>
                  <a:gd name="T26" fmla="*/ 375 w 427"/>
                  <a:gd name="T27" fmla="*/ 313 h 315"/>
                  <a:gd name="T28" fmla="*/ 417 w 427"/>
                  <a:gd name="T29" fmla="*/ 106 h 315"/>
                  <a:gd name="T30" fmla="*/ 401 w 427"/>
                  <a:gd name="T31" fmla="*/ 45 h 315"/>
                  <a:gd name="T32" fmla="*/ 254 w 427"/>
                  <a:gd name="T33" fmla="*/ 58 h 315"/>
                  <a:gd name="T34" fmla="*/ 195 w 427"/>
                  <a:gd name="T35" fmla="*/ 28 h 315"/>
                  <a:gd name="T36" fmla="*/ 129 w 427"/>
                  <a:gd name="T37" fmla="*/ 49 h 315"/>
                  <a:gd name="T38" fmla="*/ 131 w 427"/>
                  <a:gd name="T39" fmla="*/ 3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7" h="315">
                    <a:moveTo>
                      <a:pt x="131" y="32"/>
                    </a:moveTo>
                    <a:lnTo>
                      <a:pt x="58" y="32"/>
                    </a:lnTo>
                    <a:lnTo>
                      <a:pt x="0" y="315"/>
                    </a:lnTo>
                    <a:lnTo>
                      <a:pt x="74" y="315"/>
                    </a:lnTo>
                    <a:lnTo>
                      <a:pt x="113" y="122"/>
                    </a:lnTo>
                    <a:cubicBezTo>
                      <a:pt x="139" y="110"/>
                      <a:pt x="142" y="101"/>
                      <a:pt x="173" y="101"/>
                    </a:cubicBezTo>
                    <a:cubicBezTo>
                      <a:pt x="197" y="101"/>
                      <a:pt x="191" y="121"/>
                      <a:pt x="191" y="121"/>
                    </a:cubicBezTo>
                    <a:lnTo>
                      <a:pt x="149" y="313"/>
                    </a:lnTo>
                    <a:lnTo>
                      <a:pt x="224" y="313"/>
                    </a:lnTo>
                    <a:lnTo>
                      <a:pt x="265" y="127"/>
                    </a:lnTo>
                    <a:cubicBezTo>
                      <a:pt x="270" y="121"/>
                      <a:pt x="310" y="101"/>
                      <a:pt x="329" y="103"/>
                    </a:cubicBezTo>
                    <a:cubicBezTo>
                      <a:pt x="347" y="105"/>
                      <a:pt x="340" y="127"/>
                      <a:pt x="340" y="127"/>
                    </a:cubicBezTo>
                    <a:lnTo>
                      <a:pt x="300" y="313"/>
                    </a:lnTo>
                    <a:lnTo>
                      <a:pt x="375" y="313"/>
                    </a:lnTo>
                    <a:lnTo>
                      <a:pt x="417" y="106"/>
                    </a:lnTo>
                    <a:cubicBezTo>
                      <a:pt x="417" y="106"/>
                      <a:pt x="427" y="65"/>
                      <a:pt x="401" y="45"/>
                    </a:cubicBezTo>
                    <a:cubicBezTo>
                      <a:pt x="344" y="0"/>
                      <a:pt x="265" y="57"/>
                      <a:pt x="254" y="58"/>
                    </a:cubicBezTo>
                    <a:cubicBezTo>
                      <a:pt x="252" y="55"/>
                      <a:pt x="237" y="31"/>
                      <a:pt x="195" y="28"/>
                    </a:cubicBezTo>
                    <a:cubicBezTo>
                      <a:pt x="165" y="25"/>
                      <a:pt x="129" y="49"/>
                      <a:pt x="129" y="49"/>
                    </a:cubicBezTo>
                    <a:lnTo>
                      <a:pt x="131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7" name="Freeform 16">
                <a:extLst>
                  <a:ext uri="{FF2B5EF4-FFF2-40B4-BE49-F238E27FC236}">
                    <a16:creationId xmlns:a16="http://schemas.microsoft.com/office/drawing/2014/main" id="{0994FE1D-782B-8342-9A66-4312A34EBF4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04993" y="4055271"/>
                <a:ext cx="57915" cy="76013"/>
              </a:xfrm>
              <a:custGeom>
                <a:avLst/>
                <a:gdLst>
                  <a:gd name="T0" fmla="*/ 32 w 142"/>
                  <a:gd name="T1" fmla="*/ 103 h 184"/>
                  <a:gd name="T2" fmla="*/ 32 w 142"/>
                  <a:gd name="T3" fmla="*/ 159 h 184"/>
                  <a:gd name="T4" fmla="*/ 82 w 142"/>
                  <a:gd name="T5" fmla="*/ 159 h 184"/>
                  <a:gd name="T6" fmla="*/ 110 w 142"/>
                  <a:gd name="T7" fmla="*/ 135 h 184"/>
                  <a:gd name="T8" fmla="*/ 101 w 142"/>
                  <a:gd name="T9" fmla="*/ 115 h 184"/>
                  <a:gd name="T10" fmla="*/ 90 w 142"/>
                  <a:gd name="T11" fmla="*/ 103 h 184"/>
                  <a:gd name="T12" fmla="*/ 32 w 142"/>
                  <a:gd name="T13" fmla="*/ 103 h 184"/>
                  <a:gd name="T14" fmla="*/ 79 w 142"/>
                  <a:gd name="T15" fmla="*/ 24 h 184"/>
                  <a:gd name="T16" fmla="*/ 32 w 142"/>
                  <a:gd name="T17" fmla="*/ 24 h 184"/>
                  <a:gd name="T18" fmla="*/ 32 w 142"/>
                  <a:gd name="T19" fmla="*/ 80 h 184"/>
                  <a:gd name="T20" fmla="*/ 89 w 142"/>
                  <a:gd name="T21" fmla="*/ 80 h 184"/>
                  <a:gd name="T22" fmla="*/ 97 w 142"/>
                  <a:gd name="T23" fmla="*/ 68 h 184"/>
                  <a:gd name="T24" fmla="*/ 104 w 142"/>
                  <a:gd name="T25" fmla="*/ 47 h 184"/>
                  <a:gd name="T26" fmla="*/ 79 w 142"/>
                  <a:gd name="T27" fmla="*/ 24 h 184"/>
                  <a:gd name="T28" fmla="*/ 21 w 142"/>
                  <a:gd name="T29" fmla="*/ 184 h 184"/>
                  <a:gd name="T30" fmla="*/ 0 w 142"/>
                  <a:gd name="T31" fmla="*/ 164 h 184"/>
                  <a:gd name="T32" fmla="*/ 0 w 142"/>
                  <a:gd name="T33" fmla="*/ 20 h 184"/>
                  <a:gd name="T34" fmla="*/ 21 w 142"/>
                  <a:gd name="T35" fmla="*/ 0 h 184"/>
                  <a:gd name="T36" fmla="*/ 83 w 142"/>
                  <a:gd name="T37" fmla="*/ 0 h 184"/>
                  <a:gd name="T38" fmla="*/ 135 w 142"/>
                  <a:gd name="T39" fmla="*/ 46 h 184"/>
                  <a:gd name="T40" fmla="*/ 124 w 142"/>
                  <a:gd name="T41" fmla="*/ 78 h 184"/>
                  <a:gd name="T42" fmla="*/ 115 w 142"/>
                  <a:gd name="T43" fmla="*/ 90 h 184"/>
                  <a:gd name="T44" fmla="*/ 127 w 142"/>
                  <a:gd name="T45" fmla="*/ 102 h 184"/>
                  <a:gd name="T46" fmla="*/ 142 w 142"/>
                  <a:gd name="T47" fmla="*/ 136 h 184"/>
                  <a:gd name="T48" fmla="*/ 84 w 142"/>
                  <a:gd name="T49" fmla="*/ 184 h 184"/>
                  <a:gd name="T50" fmla="*/ 21 w 142"/>
                  <a:gd name="T51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2" h="184">
                    <a:moveTo>
                      <a:pt x="32" y="103"/>
                    </a:moveTo>
                    <a:lnTo>
                      <a:pt x="32" y="159"/>
                    </a:lnTo>
                    <a:lnTo>
                      <a:pt x="82" y="159"/>
                    </a:lnTo>
                    <a:cubicBezTo>
                      <a:pt x="100" y="159"/>
                      <a:pt x="110" y="150"/>
                      <a:pt x="110" y="135"/>
                    </a:cubicBezTo>
                    <a:cubicBezTo>
                      <a:pt x="110" y="128"/>
                      <a:pt x="107" y="121"/>
                      <a:pt x="101" y="115"/>
                    </a:cubicBezTo>
                    <a:lnTo>
                      <a:pt x="90" y="103"/>
                    </a:lnTo>
                    <a:lnTo>
                      <a:pt x="32" y="103"/>
                    </a:lnTo>
                    <a:close/>
                    <a:moveTo>
                      <a:pt x="79" y="24"/>
                    </a:moveTo>
                    <a:lnTo>
                      <a:pt x="32" y="24"/>
                    </a:lnTo>
                    <a:lnTo>
                      <a:pt x="32" y="80"/>
                    </a:lnTo>
                    <a:lnTo>
                      <a:pt x="89" y="80"/>
                    </a:lnTo>
                    <a:lnTo>
                      <a:pt x="97" y="68"/>
                    </a:lnTo>
                    <a:cubicBezTo>
                      <a:pt x="102" y="62"/>
                      <a:pt x="104" y="55"/>
                      <a:pt x="104" y="47"/>
                    </a:cubicBezTo>
                    <a:cubicBezTo>
                      <a:pt x="104" y="34"/>
                      <a:pt x="97" y="24"/>
                      <a:pt x="79" y="24"/>
                    </a:cubicBezTo>
                    <a:close/>
                    <a:moveTo>
                      <a:pt x="21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20"/>
                    </a:lnTo>
                    <a:cubicBezTo>
                      <a:pt x="0" y="8"/>
                      <a:pt x="8" y="0"/>
                      <a:pt x="21" y="0"/>
                    </a:cubicBezTo>
                    <a:lnTo>
                      <a:pt x="83" y="0"/>
                    </a:lnTo>
                    <a:cubicBezTo>
                      <a:pt x="116" y="0"/>
                      <a:pt x="135" y="15"/>
                      <a:pt x="135" y="46"/>
                    </a:cubicBezTo>
                    <a:cubicBezTo>
                      <a:pt x="135" y="58"/>
                      <a:pt x="131" y="69"/>
                      <a:pt x="124" y="78"/>
                    </a:cubicBezTo>
                    <a:lnTo>
                      <a:pt x="115" y="90"/>
                    </a:lnTo>
                    <a:lnTo>
                      <a:pt x="127" y="102"/>
                    </a:lnTo>
                    <a:cubicBezTo>
                      <a:pt x="136" y="111"/>
                      <a:pt x="142" y="123"/>
                      <a:pt x="142" y="136"/>
                    </a:cubicBezTo>
                    <a:cubicBezTo>
                      <a:pt x="142" y="166"/>
                      <a:pt x="121" y="184"/>
                      <a:pt x="84" y="184"/>
                    </a:cubicBezTo>
                    <a:lnTo>
                      <a:pt x="21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8" name="Freeform 17">
                <a:extLst>
                  <a:ext uri="{FF2B5EF4-FFF2-40B4-BE49-F238E27FC236}">
                    <a16:creationId xmlns:a16="http://schemas.microsoft.com/office/drawing/2014/main" id="{C2E0F244-F4D7-33BC-8E44-F4548361849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71956" y="4075180"/>
                <a:ext cx="52486" cy="56105"/>
              </a:xfrm>
              <a:custGeom>
                <a:avLst/>
                <a:gdLst>
                  <a:gd name="T0" fmla="*/ 65 w 130"/>
                  <a:gd name="T1" fmla="*/ 22 h 138"/>
                  <a:gd name="T2" fmla="*/ 30 w 130"/>
                  <a:gd name="T3" fmla="*/ 69 h 138"/>
                  <a:gd name="T4" fmla="*/ 66 w 130"/>
                  <a:gd name="T5" fmla="*/ 116 h 138"/>
                  <a:gd name="T6" fmla="*/ 102 w 130"/>
                  <a:gd name="T7" fmla="*/ 69 h 138"/>
                  <a:gd name="T8" fmla="*/ 65 w 130"/>
                  <a:gd name="T9" fmla="*/ 22 h 138"/>
                  <a:gd name="T10" fmla="*/ 65 w 130"/>
                  <a:gd name="T11" fmla="*/ 138 h 138"/>
                  <a:gd name="T12" fmla="*/ 0 w 130"/>
                  <a:gd name="T13" fmla="*/ 69 h 138"/>
                  <a:gd name="T14" fmla="*/ 66 w 130"/>
                  <a:gd name="T15" fmla="*/ 0 h 138"/>
                  <a:gd name="T16" fmla="*/ 130 w 130"/>
                  <a:gd name="T17" fmla="*/ 69 h 138"/>
                  <a:gd name="T18" fmla="*/ 65 w 130"/>
                  <a:gd name="T19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0" h="138">
                    <a:moveTo>
                      <a:pt x="65" y="22"/>
                    </a:moveTo>
                    <a:cubicBezTo>
                      <a:pt x="41" y="22"/>
                      <a:pt x="30" y="39"/>
                      <a:pt x="30" y="69"/>
                    </a:cubicBezTo>
                    <a:cubicBezTo>
                      <a:pt x="30" y="100"/>
                      <a:pt x="42" y="116"/>
                      <a:pt x="66" y="116"/>
                    </a:cubicBezTo>
                    <a:cubicBezTo>
                      <a:pt x="89" y="116"/>
                      <a:pt x="102" y="100"/>
                      <a:pt x="102" y="69"/>
                    </a:cubicBezTo>
                    <a:cubicBezTo>
                      <a:pt x="102" y="39"/>
                      <a:pt x="88" y="22"/>
                      <a:pt x="65" y="22"/>
                    </a:cubicBezTo>
                    <a:close/>
                    <a:moveTo>
                      <a:pt x="65" y="138"/>
                    </a:moveTo>
                    <a:cubicBezTo>
                      <a:pt x="25" y="138"/>
                      <a:pt x="0" y="113"/>
                      <a:pt x="0" y="69"/>
                    </a:cubicBezTo>
                    <a:cubicBezTo>
                      <a:pt x="0" y="25"/>
                      <a:pt x="26" y="0"/>
                      <a:pt x="66" y="0"/>
                    </a:cubicBezTo>
                    <a:cubicBezTo>
                      <a:pt x="106" y="0"/>
                      <a:pt x="130" y="25"/>
                      <a:pt x="130" y="69"/>
                    </a:cubicBezTo>
                    <a:cubicBezTo>
                      <a:pt x="130" y="113"/>
                      <a:pt x="105" y="138"/>
                      <a:pt x="65" y="1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9" name="Freeform 18">
                <a:extLst>
                  <a:ext uri="{FF2B5EF4-FFF2-40B4-BE49-F238E27FC236}">
                    <a16:creationId xmlns:a16="http://schemas.microsoft.com/office/drawing/2014/main" id="{687AACBD-F319-2115-B44D-69FD793B9E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29871" y="4062511"/>
                <a:ext cx="39816" cy="68774"/>
              </a:xfrm>
              <a:custGeom>
                <a:avLst/>
                <a:gdLst>
                  <a:gd name="T0" fmla="*/ 95 w 95"/>
                  <a:gd name="T1" fmla="*/ 165 h 170"/>
                  <a:gd name="T2" fmla="*/ 63 w 95"/>
                  <a:gd name="T3" fmla="*/ 170 h 170"/>
                  <a:gd name="T4" fmla="*/ 20 w 95"/>
                  <a:gd name="T5" fmla="*/ 123 h 170"/>
                  <a:gd name="T6" fmla="*/ 20 w 95"/>
                  <a:gd name="T7" fmla="*/ 58 h 170"/>
                  <a:gd name="T8" fmla="*/ 0 w 95"/>
                  <a:gd name="T9" fmla="*/ 58 h 170"/>
                  <a:gd name="T10" fmla="*/ 0 w 95"/>
                  <a:gd name="T11" fmla="*/ 35 h 170"/>
                  <a:gd name="T12" fmla="*/ 20 w 95"/>
                  <a:gd name="T13" fmla="*/ 35 h 170"/>
                  <a:gd name="T14" fmla="*/ 20 w 95"/>
                  <a:gd name="T15" fmla="*/ 5 h 170"/>
                  <a:gd name="T16" fmla="*/ 48 w 95"/>
                  <a:gd name="T17" fmla="*/ 0 h 170"/>
                  <a:gd name="T18" fmla="*/ 48 w 95"/>
                  <a:gd name="T19" fmla="*/ 35 h 170"/>
                  <a:gd name="T20" fmla="*/ 91 w 95"/>
                  <a:gd name="T21" fmla="*/ 35 h 170"/>
                  <a:gd name="T22" fmla="*/ 91 w 95"/>
                  <a:gd name="T23" fmla="*/ 58 h 170"/>
                  <a:gd name="T24" fmla="*/ 48 w 95"/>
                  <a:gd name="T25" fmla="*/ 58 h 170"/>
                  <a:gd name="T26" fmla="*/ 48 w 95"/>
                  <a:gd name="T27" fmla="*/ 124 h 170"/>
                  <a:gd name="T28" fmla="*/ 67 w 95"/>
                  <a:gd name="T29" fmla="*/ 147 h 170"/>
                  <a:gd name="T30" fmla="*/ 91 w 95"/>
                  <a:gd name="T31" fmla="*/ 143 h 170"/>
                  <a:gd name="T32" fmla="*/ 95 w 95"/>
                  <a:gd name="T33" fmla="*/ 165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70">
                    <a:moveTo>
                      <a:pt x="95" y="165"/>
                    </a:moveTo>
                    <a:cubicBezTo>
                      <a:pt x="81" y="169"/>
                      <a:pt x="72" y="170"/>
                      <a:pt x="63" y="170"/>
                    </a:cubicBezTo>
                    <a:cubicBezTo>
                      <a:pt x="34" y="170"/>
                      <a:pt x="20" y="154"/>
                      <a:pt x="20" y="123"/>
                    </a:cubicBezTo>
                    <a:lnTo>
                      <a:pt x="20" y="58"/>
                    </a:lnTo>
                    <a:lnTo>
                      <a:pt x="0" y="58"/>
                    </a:lnTo>
                    <a:lnTo>
                      <a:pt x="0" y="35"/>
                    </a:lnTo>
                    <a:lnTo>
                      <a:pt x="20" y="35"/>
                    </a:lnTo>
                    <a:lnTo>
                      <a:pt x="20" y="5"/>
                    </a:lnTo>
                    <a:lnTo>
                      <a:pt x="48" y="0"/>
                    </a:lnTo>
                    <a:lnTo>
                      <a:pt x="48" y="35"/>
                    </a:lnTo>
                    <a:lnTo>
                      <a:pt x="91" y="35"/>
                    </a:lnTo>
                    <a:lnTo>
                      <a:pt x="91" y="58"/>
                    </a:lnTo>
                    <a:lnTo>
                      <a:pt x="48" y="58"/>
                    </a:lnTo>
                    <a:lnTo>
                      <a:pt x="48" y="124"/>
                    </a:lnTo>
                    <a:cubicBezTo>
                      <a:pt x="48" y="138"/>
                      <a:pt x="53" y="147"/>
                      <a:pt x="67" y="147"/>
                    </a:cubicBezTo>
                    <a:cubicBezTo>
                      <a:pt x="73" y="147"/>
                      <a:pt x="81" y="145"/>
                      <a:pt x="91" y="143"/>
                    </a:cubicBezTo>
                    <a:lnTo>
                      <a:pt x="95" y="1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0" name="Freeform 19">
                <a:extLst>
                  <a:ext uri="{FF2B5EF4-FFF2-40B4-BE49-F238E27FC236}">
                    <a16:creationId xmlns:a16="http://schemas.microsoft.com/office/drawing/2014/main" id="{867E2865-49D9-921D-1F0B-DAD8ED18CC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76927" y="4075180"/>
                <a:ext cx="45246" cy="56105"/>
              </a:xfrm>
              <a:custGeom>
                <a:avLst/>
                <a:gdLst>
                  <a:gd name="T0" fmla="*/ 72 w 110"/>
                  <a:gd name="T1" fmla="*/ 60 h 138"/>
                  <a:gd name="T2" fmla="*/ 110 w 110"/>
                  <a:gd name="T3" fmla="*/ 97 h 138"/>
                  <a:gd name="T4" fmla="*/ 60 w 110"/>
                  <a:gd name="T5" fmla="*/ 138 h 138"/>
                  <a:gd name="T6" fmla="*/ 11 w 110"/>
                  <a:gd name="T7" fmla="*/ 130 h 138"/>
                  <a:gd name="T8" fmla="*/ 0 w 110"/>
                  <a:gd name="T9" fmla="*/ 127 h 138"/>
                  <a:gd name="T10" fmla="*/ 4 w 110"/>
                  <a:gd name="T11" fmla="*/ 104 h 138"/>
                  <a:gd name="T12" fmla="*/ 16 w 110"/>
                  <a:gd name="T13" fmla="*/ 107 h 138"/>
                  <a:gd name="T14" fmla="*/ 59 w 110"/>
                  <a:gd name="T15" fmla="*/ 115 h 138"/>
                  <a:gd name="T16" fmla="*/ 82 w 110"/>
                  <a:gd name="T17" fmla="*/ 98 h 138"/>
                  <a:gd name="T18" fmla="*/ 63 w 110"/>
                  <a:gd name="T19" fmla="*/ 83 h 138"/>
                  <a:gd name="T20" fmla="*/ 38 w 110"/>
                  <a:gd name="T21" fmla="*/ 78 h 138"/>
                  <a:gd name="T22" fmla="*/ 0 w 110"/>
                  <a:gd name="T23" fmla="*/ 41 h 138"/>
                  <a:gd name="T24" fmla="*/ 50 w 110"/>
                  <a:gd name="T25" fmla="*/ 0 h 138"/>
                  <a:gd name="T26" fmla="*/ 99 w 110"/>
                  <a:gd name="T27" fmla="*/ 8 h 138"/>
                  <a:gd name="T28" fmla="*/ 110 w 110"/>
                  <a:gd name="T29" fmla="*/ 12 h 138"/>
                  <a:gd name="T30" fmla="*/ 106 w 110"/>
                  <a:gd name="T31" fmla="*/ 35 h 138"/>
                  <a:gd name="T32" fmla="*/ 94 w 110"/>
                  <a:gd name="T33" fmla="*/ 31 h 138"/>
                  <a:gd name="T34" fmla="*/ 51 w 110"/>
                  <a:gd name="T35" fmla="*/ 23 h 138"/>
                  <a:gd name="T36" fmla="*/ 28 w 110"/>
                  <a:gd name="T37" fmla="*/ 40 h 138"/>
                  <a:gd name="T38" fmla="*/ 47 w 110"/>
                  <a:gd name="T39" fmla="*/ 56 h 138"/>
                  <a:gd name="T40" fmla="*/ 72 w 110"/>
                  <a:gd name="T41" fmla="*/ 6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0" h="138">
                    <a:moveTo>
                      <a:pt x="72" y="60"/>
                    </a:moveTo>
                    <a:cubicBezTo>
                      <a:pt x="96" y="64"/>
                      <a:pt x="110" y="76"/>
                      <a:pt x="110" y="97"/>
                    </a:cubicBezTo>
                    <a:cubicBezTo>
                      <a:pt x="110" y="125"/>
                      <a:pt x="87" y="138"/>
                      <a:pt x="60" y="138"/>
                    </a:cubicBezTo>
                    <a:cubicBezTo>
                      <a:pt x="42" y="138"/>
                      <a:pt x="28" y="136"/>
                      <a:pt x="11" y="130"/>
                    </a:cubicBezTo>
                    <a:lnTo>
                      <a:pt x="0" y="127"/>
                    </a:lnTo>
                    <a:lnTo>
                      <a:pt x="4" y="104"/>
                    </a:lnTo>
                    <a:lnTo>
                      <a:pt x="16" y="107"/>
                    </a:lnTo>
                    <a:cubicBezTo>
                      <a:pt x="30" y="112"/>
                      <a:pt x="45" y="115"/>
                      <a:pt x="59" y="115"/>
                    </a:cubicBezTo>
                    <a:cubicBezTo>
                      <a:pt x="72" y="115"/>
                      <a:pt x="82" y="111"/>
                      <a:pt x="82" y="98"/>
                    </a:cubicBezTo>
                    <a:cubicBezTo>
                      <a:pt x="82" y="90"/>
                      <a:pt x="77" y="85"/>
                      <a:pt x="63" y="83"/>
                    </a:cubicBezTo>
                    <a:lnTo>
                      <a:pt x="38" y="78"/>
                    </a:lnTo>
                    <a:cubicBezTo>
                      <a:pt x="13" y="74"/>
                      <a:pt x="0" y="62"/>
                      <a:pt x="0" y="41"/>
                    </a:cubicBezTo>
                    <a:cubicBezTo>
                      <a:pt x="0" y="14"/>
                      <a:pt x="23" y="0"/>
                      <a:pt x="50" y="0"/>
                    </a:cubicBezTo>
                    <a:cubicBezTo>
                      <a:pt x="68" y="0"/>
                      <a:pt x="82" y="3"/>
                      <a:pt x="99" y="8"/>
                    </a:cubicBezTo>
                    <a:lnTo>
                      <a:pt x="110" y="12"/>
                    </a:lnTo>
                    <a:lnTo>
                      <a:pt x="106" y="35"/>
                    </a:lnTo>
                    <a:lnTo>
                      <a:pt x="94" y="31"/>
                    </a:lnTo>
                    <a:cubicBezTo>
                      <a:pt x="79" y="27"/>
                      <a:pt x="65" y="23"/>
                      <a:pt x="51" y="23"/>
                    </a:cubicBezTo>
                    <a:cubicBezTo>
                      <a:pt x="38" y="23"/>
                      <a:pt x="28" y="28"/>
                      <a:pt x="28" y="40"/>
                    </a:cubicBezTo>
                    <a:cubicBezTo>
                      <a:pt x="28" y="49"/>
                      <a:pt x="33" y="54"/>
                      <a:pt x="47" y="56"/>
                    </a:cubicBezTo>
                    <a:lnTo>
                      <a:pt x="72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1" name="Freeform 20">
                <a:extLst>
                  <a:ext uri="{FF2B5EF4-FFF2-40B4-BE49-F238E27FC236}">
                    <a16:creationId xmlns:a16="http://schemas.microsoft.com/office/drawing/2014/main" id="{C809D2B2-908D-D3D2-17C0-BF008F0B38D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29413" y="4075180"/>
                <a:ext cx="76013" cy="57915"/>
              </a:xfrm>
              <a:custGeom>
                <a:avLst/>
                <a:gdLst>
                  <a:gd name="T0" fmla="*/ 160 w 186"/>
                  <a:gd name="T1" fmla="*/ 123 h 138"/>
                  <a:gd name="T2" fmla="*/ 140 w 186"/>
                  <a:gd name="T3" fmla="*/ 138 h 138"/>
                  <a:gd name="T4" fmla="*/ 119 w 186"/>
                  <a:gd name="T5" fmla="*/ 124 h 138"/>
                  <a:gd name="T6" fmla="*/ 93 w 186"/>
                  <a:gd name="T7" fmla="*/ 42 h 138"/>
                  <a:gd name="T8" fmla="*/ 66 w 186"/>
                  <a:gd name="T9" fmla="*/ 124 h 138"/>
                  <a:gd name="T10" fmla="*/ 45 w 186"/>
                  <a:gd name="T11" fmla="*/ 138 h 138"/>
                  <a:gd name="T12" fmla="*/ 25 w 186"/>
                  <a:gd name="T13" fmla="*/ 123 h 138"/>
                  <a:gd name="T14" fmla="*/ 0 w 186"/>
                  <a:gd name="T15" fmla="*/ 1 h 138"/>
                  <a:gd name="T16" fmla="*/ 30 w 186"/>
                  <a:gd name="T17" fmla="*/ 1 h 138"/>
                  <a:gd name="T18" fmla="*/ 48 w 186"/>
                  <a:gd name="T19" fmla="*/ 105 h 138"/>
                  <a:gd name="T20" fmla="*/ 77 w 186"/>
                  <a:gd name="T21" fmla="*/ 11 h 138"/>
                  <a:gd name="T22" fmla="*/ 93 w 186"/>
                  <a:gd name="T23" fmla="*/ 0 h 138"/>
                  <a:gd name="T24" fmla="*/ 110 w 186"/>
                  <a:gd name="T25" fmla="*/ 11 h 138"/>
                  <a:gd name="T26" fmla="*/ 139 w 186"/>
                  <a:gd name="T27" fmla="*/ 105 h 138"/>
                  <a:gd name="T28" fmla="*/ 157 w 186"/>
                  <a:gd name="T29" fmla="*/ 1 h 138"/>
                  <a:gd name="T30" fmla="*/ 186 w 186"/>
                  <a:gd name="T31" fmla="*/ 1 h 138"/>
                  <a:gd name="T32" fmla="*/ 160 w 186"/>
                  <a:gd name="T33" fmla="*/ 123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6" h="138">
                    <a:moveTo>
                      <a:pt x="160" y="123"/>
                    </a:moveTo>
                    <a:cubicBezTo>
                      <a:pt x="158" y="132"/>
                      <a:pt x="150" y="138"/>
                      <a:pt x="140" y="138"/>
                    </a:cubicBezTo>
                    <a:cubicBezTo>
                      <a:pt x="127" y="138"/>
                      <a:pt x="122" y="133"/>
                      <a:pt x="119" y="124"/>
                    </a:cubicBezTo>
                    <a:lnTo>
                      <a:pt x="93" y="42"/>
                    </a:lnTo>
                    <a:lnTo>
                      <a:pt x="66" y="124"/>
                    </a:lnTo>
                    <a:cubicBezTo>
                      <a:pt x="63" y="134"/>
                      <a:pt x="56" y="138"/>
                      <a:pt x="45" y="138"/>
                    </a:cubicBezTo>
                    <a:cubicBezTo>
                      <a:pt x="34" y="138"/>
                      <a:pt x="27" y="133"/>
                      <a:pt x="25" y="123"/>
                    </a:cubicBezTo>
                    <a:lnTo>
                      <a:pt x="0" y="1"/>
                    </a:lnTo>
                    <a:lnTo>
                      <a:pt x="30" y="1"/>
                    </a:lnTo>
                    <a:lnTo>
                      <a:pt x="48" y="105"/>
                    </a:lnTo>
                    <a:lnTo>
                      <a:pt x="77" y="11"/>
                    </a:lnTo>
                    <a:cubicBezTo>
                      <a:pt x="79" y="4"/>
                      <a:pt x="85" y="0"/>
                      <a:pt x="93" y="0"/>
                    </a:cubicBezTo>
                    <a:cubicBezTo>
                      <a:pt x="102" y="0"/>
                      <a:pt x="107" y="4"/>
                      <a:pt x="110" y="11"/>
                    </a:cubicBezTo>
                    <a:lnTo>
                      <a:pt x="139" y="105"/>
                    </a:lnTo>
                    <a:lnTo>
                      <a:pt x="157" y="1"/>
                    </a:lnTo>
                    <a:lnTo>
                      <a:pt x="186" y="1"/>
                    </a:lnTo>
                    <a:lnTo>
                      <a:pt x="160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2" name="Freeform 21">
                <a:extLst>
                  <a:ext uri="{FF2B5EF4-FFF2-40B4-BE49-F238E27FC236}">
                    <a16:creationId xmlns:a16="http://schemas.microsoft.com/office/drawing/2014/main" id="{65DA280B-5ADC-396B-E3D8-87B30B4AD76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710855" y="4075180"/>
                <a:ext cx="54295" cy="57915"/>
              </a:xfrm>
              <a:custGeom>
                <a:avLst/>
                <a:gdLst>
                  <a:gd name="T0" fmla="*/ 90 w 132"/>
                  <a:gd name="T1" fmla="*/ 79 h 139"/>
                  <a:gd name="T2" fmla="*/ 57 w 132"/>
                  <a:gd name="T3" fmla="*/ 79 h 139"/>
                  <a:gd name="T4" fmla="*/ 29 w 132"/>
                  <a:gd name="T5" fmla="*/ 99 h 139"/>
                  <a:gd name="T6" fmla="*/ 52 w 132"/>
                  <a:gd name="T7" fmla="*/ 117 h 139"/>
                  <a:gd name="T8" fmla="*/ 78 w 132"/>
                  <a:gd name="T9" fmla="*/ 113 h 139"/>
                  <a:gd name="T10" fmla="*/ 90 w 132"/>
                  <a:gd name="T11" fmla="*/ 110 h 139"/>
                  <a:gd name="T12" fmla="*/ 90 w 132"/>
                  <a:gd name="T13" fmla="*/ 79 h 139"/>
                  <a:gd name="T14" fmla="*/ 122 w 132"/>
                  <a:gd name="T15" fmla="*/ 139 h 139"/>
                  <a:gd name="T16" fmla="*/ 110 w 132"/>
                  <a:gd name="T17" fmla="*/ 133 h 139"/>
                  <a:gd name="T18" fmla="*/ 91 w 132"/>
                  <a:gd name="T19" fmla="*/ 131 h 139"/>
                  <a:gd name="T20" fmla="*/ 82 w 132"/>
                  <a:gd name="T21" fmla="*/ 133 h 139"/>
                  <a:gd name="T22" fmla="*/ 47 w 132"/>
                  <a:gd name="T23" fmla="*/ 138 h 139"/>
                  <a:gd name="T24" fmla="*/ 0 w 132"/>
                  <a:gd name="T25" fmla="*/ 100 h 139"/>
                  <a:gd name="T26" fmla="*/ 61 w 132"/>
                  <a:gd name="T27" fmla="*/ 58 h 139"/>
                  <a:gd name="T28" fmla="*/ 90 w 132"/>
                  <a:gd name="T29" fmla="*/ 58 h 139"/>
                  <a:gd name="T30" fmla="*/ 90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7 w 132"/>
                  <a:gd name="T45" fmla="*/ 46 h 139"/>
                  <a:gd name="T46" fmla="*/ 117 w 132"/>
                  <a:gd name="T47" fmla="*/ 111 h 139"/>
                  <a:gd name="T48" fmla="*/ 132 w 132"/>
                  <a:gd name="T49" fmla="*/ 120 h 139"/>
                  <a:gd name="T50" fmla="*/ 122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90" y="79"/>
                    </a:moveTo>
                    <a:lnTo>
                      <a:pt x="57" y="79"/>
                    </a:lnTo>
                    <a:cubicBezTo>
                      <a:pt x="39" y="79"/>
                      <a:pt x="29" y="84"/>
                      <a:pt x="29" y="99"/>
                    </a:cubicBezTo>
                    <a:cubicBezTo>
                      <a:pt x="29" y="111"/>
                      <a:pt x="37" y="117"/>
                      <a:pt x="52" y="117"/>
                    </a:cubicBezTo>
                    <a:cubicBezTo>
                      <a:pt x="58" y="117"/>
                      <a:pt x="68" y="115"/>
                      <a:pt x="78" y="113"/>
                    </a:cubicBezTo>
                    <a:lnTo>
                      <a:pt x="90" y="110"/>
                    </a:lnTo>
                    <a:lnTo>
                      <a:pt x="90" y="79"/>
                    </a:lnTo>
                    <a:close/>
                    <a:moveTo>
                      <a:pt x="122" y="139"/>
                    </a:moveTo>
                    <a:lnTo>
                      <a:pt x="110" y="133"/>
                    </a:lnTo>
                    <a:cubicBezTo>
                      <a:pt x="104" y="130"/>
                      <a:pt x="98" y="129"/>
                      <a:pt x="91" y="131"/>
                    </a:cubicBezTo>
                    <a:lnTo>
                      <a:pt x="82" y="133"/>
                    </a:lnTo>
                    <a:cubicBezTo>
                      <a:pt x="71" y="136"/>
                      <a:pt x="57" y="138"/>
                      <a:pt x="47" y="138"/>
                    </a:cubicBezTo>
                    <a:cubicBezTo>
                      <a:pt x="18" y="138"/>
                      <a:pt x="0" y="124"/>
                      <a:pt x="0" y="100"/>
                    </a:cubicBezTo>
                    <a:cubicBezTo>
                      <a:pt x="0" y="66"/>
                      <a:pt x="29" y="58"/>
                      <a:pt x="61" y="58"/>
                    </a:cubicBezTo>
                    <a:lnTo>
                      <a:pt x="90" y="58"/>
                    </a:lnTo>
                    <a:lnTo>
                      <a:pt x="90" y="47"/>
                    </a:lnTo>
                    <a:cubicBezTo>
                      <a:pt x="90" y="30"/>
                      <a:pt x="79" y="24"/>
                      <a:pt x="63" y="24"/>
                    </a:cubicBezTo>
                    <a:cubicBezTo>
                      <a:pt x="52" y="24"/>
                      <a:pt x="37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5" y="3"/>
                      <a:pt x="50" y="0"/>
                      <a:pt x="65" y="0"/>
                    </a:cubicBezTo>
                    <a:cubicBezTo>
                      <a:pt x="95" y="0"/>
                      <a:pt x="117" y="13"/>
                      <a:pt x="117" y="46"/>
                    </a:cubicBezTo>
                    <a:lnTo>
                      <a:pt x="117" y="111"/>
                    </a:lnTo>
                    <a:lnTo>
                      <a:pt x="132" y="120"/>
                    </a:lnTo>
                    <a:lnTo>
                      <a:pt x="122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3" name="Freeform 22">
                <a:extLst>
                  <a:ext uri="{FF2B5EF4-FFF2-40B4-BE49-F238E27FC236}">
                    <a16:creationId xmlns:a16="http://schemas.microsoft.com/office/drawing/2014/main" id="{2BE599FB-CABE-1F91-F03E-309B22192A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74199" y="4075180"/>
                <a:ext cx="45246" cy="56105"/>
              </a:xfrm>
              <a:custGeom>
                <a:avLst/>
                <a:gdLst>
                  <a:gd name="T0" fmla="*/ 28 w 113"/>
                  <a:gd name="T1" fmla="*/ 136 h 136"/>
                  <a:gd name="T2" fmla="*/ 0 w 113"/>
                  <a:gd name="T3" fmla="*/ 136 h 136"/>
                  <a:gd name="T4" fmla="*/ 0 w 113"/>
                  <a:gd name="T5" fmla="*/ 26 h 136"/>
                  <a:gd name="T6" fmla="*/ 16 w 113"/>
                  <a:gd name="T7" fmla="*/ 6 h 136"/>
                  <a:gd name="T8" fmla="*/ 59 w 113"/>
                  <a:gd name="T9" fmla="*/ 0 h 136"/>
                  <a:gd name="T10" fmla="*/ 113 w 113"/>
                  <a:gd name="T11" fmla="*/ 48 h 136"/>
                  <a:gd name="T12" fmla="*/ 113 w 113"/>
                  <a:gd name="T13" fmla="*/ 136 h 136"/>
                  <a:gd name="T14" fmla="*/ 84 w 113"/>
                  <a:gd name="T15" fmla="*/ 136 h 136"/>
                  <a:gd name="T16" fmla="*/ 84 w 113"/>
                  <a:gd name="T17" fmla="*/ 51 h 136"/>
                  <a:gd name="T18" fmla="*/ 58 w 113"/>
                  <a:gd name="T19" fmla="*/ 24 h 136"/>
                  <a:gd name="T20" fmla="*/ 28 w 113"/>
                  <a:gd name="T21" fmla="*/ 29 h 136"/>
                  <a:gd name="T22" fmla="*/ 28 w 113"/>
                  <a:gd name="T2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3" h="136">
                    <a:moveTo>
                      <a:pt x="28" y="136"/>
                    </a:moveTo>
                    <a:lnTo>
                      <a:pt x="0" y="136"/>
                    </a:lnTo>
                    <a:lnTo>
                      <a:pt x="0" y="26"/>
                    </a:lnTo>
                    <a:cubicBezTo>
                      <a:pt x="0" y="15"/>
                      <a:pt x="5" y="9"/>
                      <a:pt x="16" y="6"/>
                    </a:cubicBezTo>
                    <a:cubicBezTo>
                      <a:pt x="36" y="1"/>
                      <a:pt x="49" y="0"/>
                      <a:pt x="59" y="0"/>
                    </a:cubicBezTo>
                    <a:cubicBezTo>
                      <a:pt x="98" y="0"/>
                      <a:pt x="113" y="20"/>
                      <a:pt x="113" y="48"/>
                    </a:cubicBezTo>
                    <a:lnTo>
                      <a:pt x="113" y="136"/>
                    </a:lnTo>
                    <a:lnTo>
                      <a:pt x="84" y="136"/>
                    </a:lnTo>
                    <a:lnTo>
                      <a:pt x="84" y="51"/>
                    </a:lnTo>
                    <a:cubicBezTo>
                      <a:pt x="84" y="36"/>
                      <a:pt x="78" y="24"/>
                      <a:pt x="58" y="24"/>
                    </a:cubicBezTo>
                    <a:cubicBezTo>
                      <a:pt x="51" y="24"/>
                      <a:pt x="44" y="25"/>
                      <a:pt x="28" y="29"/>
                    </a:cubicBezTo>
                    <a:lnTo>
                      <a:pt x="2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4" name="Freeform 23">
                <a:extLst>
                  <a:ext uri="{FF2B5EF4-FFF2-40B4-BE49-F238E27FC236}">
                    <a16:creationId xmlns:a16="http://schemas.microsoft.com/office/drawing/2014/main" id="{80EE0A93-FBB4-393E-1644-DF687A02C52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30304" y="4075180"/>
                <a:ext cx="54295" cy="57915"/>
              </a:xfrm>
              <a:custGeom>
                <a:avLst/>
                <a:gdLst>
                  <a:gd name="T0" fmla="*/ 89 w 132"/>
                  <a:gd name="T1" fmla="*/ 79 h 139"/>
                  <a:gd name="T2" fmla="*/ 56 w 132"/>
                  <a:gd name="T3" fmla="*/ 79 h 139"/>
                  <a:gd name="T4" fmla="*/ 28 w 132"/>
                  <a:gd name="T5" fmla="*/ 99 h 139"/>
                  <a:gd name="T6" fmla="*/ 51 w 132"/>
                  <a:gd name="T7" fmla="*/ 117 h 139"/>
                  <a:gd name="T8" fmla="*/ 77 w 132"/>
                  <a:gd name="T9" fmla="*/ 113 h 139"/>
                  <a:gd name="T10" fmla="*/ 89 w 132"/>
                  <a:gd name="T11" fmla="*/ 110 h 139"/>
                  <a:gd name="T12" fmla="*/ 89 w 132"/>
                  <a:gd name="T13" fmla="*/ 79 h 139"/>
                  <a:gd name="T14" fmla="*/ 121 w 132"/>
                  <a:gd name="T15" fmla="*/ 139 h 139"/>
                  <a:gd name="T16" fmla="*/ 109 w 132"/>
                  <a:gd name="T17" fmla="*/ 133 h 139"/>
                  <a:gd name="T18" fmla="*/ 90 w 132"/>
                  <a:gd name="T19" fmla="*/ 131 h 139"/>
                  <a:gd name="T20" fmla="*/ 82 w 132"/>
                  <a:gd name="T21" fmla="*/ 133 h 139"/>
                  <a:gd name="T22" fmla="*/ 46 w 132"/>
                  <a:gd name="T23" fmla="*/ 138 h 139"/>
                  <a:gd name="T24" fmla="*/ 0 w 132"/>
                  <a:gd name="T25" fmla="*/ 100 h 139"/>
                  <a:gd name="T26" fmla="*/ 60 w 132"/>
                  <a:gd name="T27" fmla="*/ 58 h 139"/>
                  <a:gd name="T28" fmla="*/ 89 w 132"/>
                  <a:gd name="T29" fmla="*/ 58 h 139"/>
                  <a:gd name="T30" fmla="*/ 89 w 132"/>
                  <a:gd name="T31" fmla="*/ 47 h 139"/>
                  <a:gd name="T32" fmla="*/ 63 w 132"/>
                  <a:gd name="T33" fmla="*/ 24 h 139"/>
                  <a:gd name="T34" fmla="*/ 22 w 132"/>
                  <a:gd name="T35" fmla="*/ 32 h 139"/>
                  <a:gd name="T36" fmla="*/ 9 w 132"/>
                  <a:gd name="T37" fmla="*/ 35 h 139"/>
                  <a:gd name="T38" fmla="*/ 5 w 132"/>
                  <a:gd name="T39" fmla="*/ 12 h 139"/>
                  <a:gd name="T40" fmla="*/ 17 w 132"/>
                  <a:gd name="T41" fmla="*/ 8 h 139"/>
                  <a:gd name="T42" fmla="*/ 65 w 132"/>
                  <a:gd name="T43" fmla="*/ 0 h 139"/>
                  <a:gd name="T44" fmla="*/ 116 w 132"/>
                  <a:gd name="T45" fmla="*/ 46 h 139"/>
                  <a:gd name="T46" fmla="*/ 116 w 132"/>
                  <a:gd name="T47" fmla="*/ 111 h 139"/>
                  <a:gd name="T48" fmla="*/ 132 w 132"/>
                  <a:gd name="T49" fmla="*/ 120 h 139"/>
                  <a:gd name="T50" fmla="*/ 121 w 132"/>
                  <a:gd name="T51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2" h="139">
                    <a:moveTo>
                      <a:pt x="89" y="79"/>
                    </a:moveTo>
                    <a:lnTo>
                      <a:pt x="56" y="79"/>
                    </a:lnTo>
                    <a:cubicBezTo>
                      <a:pt x="39" y="79"/>
                      <a:pt x="28" y="84"/>
                      <a:pt x="28" y="99"/>
                    </a:cubicBezTo>
                    <a:cubicBezTo>
                      <a:pt x="28" y="111"/>
                      <a:pt x="37" y="117"/>
                      <a:pt x="51" y="117"/>
                    </a:cubicBezTo>
                    <a:cubicBezTo>
                      <a:pt x="58" y="117"/>
                      <a:pt x="67" y="115"/>
                      <a:pt x="77" y="113"/>
                    </a:cubicBezTo>
                    <a:lnTo>
                      <a:pt x="89" y="110"/>
                    </a:lnTo>
                    <a:lnTo>
                      <a:pt x="89" y="79"/>
                    </a:lnTo>
                    <a:close/>
                    <a:moveTo>
                      <a:pt x="121" y="139"/>
                    </a:moveTo>
                    <a:lnTo>
                      <a:pt x="109" y="133"/>
                    </a:lnTo>
                    <a:cubicBezTo>
                      <a:pt x="103" y="130"/>
                      <a:pt x="97" y="129"/>
                      <a:pt x="90" y="131"/>
                    </a:cubicBezTo>
                    <a:lnTo>
                      <a:pt x="82" y="133"/>
                    </a:lnTo>
                    <a:cubicBezTo>
                      <a:pt x="70" y="136"/>
                      <a:pt x="56" y="138"/>
                      <a:pt x="46" y="138"/>
                    </a:cubicBezTo>
                    <a:cubicBezTo>
                      <a:pt x="17" y="138"/>
                      <a:pt x="0" y="124"/>
                      <a:pt x="0" y="100"/>
                    </a:cubicBezTo>
                    <a:cubicBezTo>
                      <a:pt x="0" y="66"/>
                      <a:pt x="28" y="58"/>
                      <a:pt x="60" y="58"/>
                    </a:cubicBezTo>
                    <a:lnTo>
                      <a:pt x="89" y="58"/>
                    </a:lnTo>
                    <a:lnTo>
                      <a:pt x="89" y="47"/>
                    </a:lnTo>
                    <a:cubicBezTo>
                      <a:pt x="89" y="30"/>
                      <a:pt x="78" y="24"/>
                      <a:pt x="63" y="24"/>
                    </a:cubicBezTo>
                    <a:cubicBezTo>
                      <a:pt x="51" y="24"/>
                      <a:pt x="36" y="27"/>
                      <a:pt x="22" y="32"/>
                    </a:cubicBezTo>
                    <a:lnTo>
                      <a:pt x="9" y="35"/>
                    </a:lnTo>
                    <a:lnTo>
                      <a:pt x="5" y="12"/>
                    </a:lnTo>
                    <a:lnTo>
                      <a:pt x="17" y="8"/>
                    </a:lnTo>
                    <a:cubicBezTo>
                      <a:pt x="34" y="3"/>
                      <a:pt x="50" y="0"/>
                      <a:pt x="65" y="0"/>
                    </a:cubicBezTo>
                    <a:cubicBezTo>
                      <a:pt x="94" y="0"/>
                      <a:pt x="116" y="13"/>
                      <a:pt x="116" y="46"/>
                    </a:cubicBezTo>
                    <a:lnTo>
                      <a:pt x="116" y="111"/>
                    </a:lnTo>
                    <a:lnTo>
                      <a:pt x="132" y="120"/>
                    </a:lnTo>
                    <a:lnTo>
                      <a:pt x="121" y="1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5" name="Freeform 24">
                <a:extLst>
                  <a:ext uri="{FF2B5EF4-FFF2-40B4-BE49-F238E27FC236}">
                    <a16:creationId xmlns:a16="http://schemas.microsoft.com/office/drawing/2014/main" id="{F05E758F-9B82-118F-CFAF-8F5BDF5466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17176" y="4055271"/>
                <a:ext cx="43436" cy="76013"/>
              </a:xfrm>
              <a:custGeom>
                <a:avLst/>
                <a:gdLst>
                  <a:gd name="T0" fmla="*/ 22 w 105"/>
                  <a:gd name="T1" fmla="*/ 184 h 184"/>
                  <a:gd name="T2" fmla="*/ 0 w 105"/>
                  <a:gd name="T3" fmla="*/ 164 h 184"/>
                  <a:gd name="T4" fmla="*/ 0 w 105"/>
                  <a:gd name="T5" fmla="*/ 0 h 184"/>
                  <a:gd name="T6" fmla="*/ 33 w 105"/>
                  <a:gd name="T7" fmla="*/ 0 h 184"/>
                  <a:gd name="T8" fmla="*/ 33 w 105"/>
                  <a:gd name="T9" fmla="*/ 156 h 184"/>
                  <a:gd name="T10" fmla="*/ 105 w 105"/>
                  <a:gd name="T11" fmla="*/ 156 h 184"/>
                  <a:gd name="T12" fmla="*/ 105 w 105"/>
                  <a:gd name="T13" fmla="*/ 184 h 184"/>
                  <a:gd name="T14" fmla="*/ 22 w 105"/>
                  <a:gd name="T15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" h="184">
                    <a:moveTo>
                      <a:pt x="22" y="184"/>
                    </a:moveTo>
                    <a:cubicBezTo>
                      <a:pt x="8" y="184"/>
                      <a:pt x="0" y="176"/>
                      <a:pt x="0" y="164"/>
                    </a:cubicBezTo>
                    <a:lnTo>
                      <a:pt x="0" y="0"/>
                    </a:lnTo>
                    <a:lnTo>
                      <a:pt x="33" y="0"/>
                    </a:lnTo>
                    <a:lnTo>
                      <a:pt x="33" y="156"/>
                    </a:lnTo>
                    <a:lnTo>
                      <a:pt x="105" y="156"/>
                    </a:lnTo>
                    <a:lnTo>
                      <a:pt x="105" y="184"/>
                    </a:lnTo>
                    <a:lnTo>
                      <a:pt x="22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6" name="Freeform 25">
                <a:extLst>
                  <a:ext uri="{FF2B5EF4-FFF2-40B4-BE49-F238E27FC236}">
                    <a16:creationId xmlns:a16="http://schemas.microsoft.com/office/drawing/2014/main" id="{9DB652E6-FAB3-D246-AD98-ACC6D163891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967851" y="4053462"/>
                <a:ext cx="14479" cy="77823"/>
              </a:xfrm>
              <a:custGeom>
                <a:avLst/>
                <a:gdLst>
                  <a:gd name="T0" fmla="*/ 2 w 34"/>
                  <a:gd name="T1" fmla="*/ 55 h 190"/>
                  <a:gd name="T2" fmla="*/ 31 w 34"/>
                  <a:gd name="T3" fmla="*/ 55 h 190"/>
                  <a:gd name="T4" fmla="*/ 31 w 34"/>
                  <a:gd name="T5" fmla="*/ 190 h 190"/>
                  <a:gd name="T6" fmla="*/ 2 w 34"/>
                  <a:gd name="T7" fmla="*/ 190 h 190"/>
                  <a:gd name="T8" fmla="*/ 2 w 34"/>
                  <a:gd name="T9" fmla="*/ 55 h 190"/>
                  <a:gd name="T10" fmla="*/ 17 w 34"/>
                  <a:gd name="T11" fmla="*/ 34 h 190"/>
                  <a:gd name="T12" fmla="*/ 0 w 34"/>
                  <a:gd name="T13" fmla="*/ 17 h 190"/>
                  <a:gd name="T14" fmla="*/ 17 w 34"/>
                  <a:gd name="T15" fmla="*/ 0 h 190"/>
                  <a:gd name="T16" fmla="*/ 34 w 34"/>
                  <a:gd name="T17" fmla="*/ 17 h 190"/>
                  <a:gd name="T18" fmla="*/ 17 w 34"/>
                  <a:gd name="T19" fmla="*/ 3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190">
                    <a:moveTo>
                      <a:pt x="2" y="55"/>
                    </a:moveTo>
                    <a:lnTo>
                      <a:pt x="31" y="55"/>
                    </a:lnTo>
                    <a:lnTo>
                      <a:pt x="31" y="190"/>
                    </a:lnTo>
                    <a:lnTo>
                      <a:pt x="2" y="190"/>
                    </a:lnTo>
                    <a:lnTo>
                      <a:pt x="2" y="55"/>
                    </a:lnTo>
                    <a:close/>
                    <a:moveTo>
                      <a:pt x="17" y="34"/>
                    </a:moveTo>
                    <a:cubicBezTo>
                      <a:pt x="6" y="34"/>
                      <a:pt x="0" y="27"/>
                      <a:pt x="0" y="17"/>
                    </a:cubicBezTo>
                    <a:cubicBezTo>
                      <a:pt x="0" y="7"/>
                      <a:pt x="6" y="0"/>
                      <a:pt x="17" y="0"/>
                    </a:cubicBezTo>
                    <a:cubicBezTo>
                      <a:pt x="27" y="0"/>
                      <a:pt x="34" y="7"/>
                      <a:pt x="34" y="17"/>
                    </a:cubicBezTo>
                    <a:cubicBezTo>
                      <a:pt x="34" y="27"/>
                      <a:pt x="27" y="34"/>
                      <a:pt x="17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7" name="Freeform 26">
                <a:extLst>
                  <a:ext uri="{FF2B5EF4-FFF2-40B4-BE49-F238E27FC236}">
                    <a16:creationId xmlns:a16="http://schemas.microsoft.com/office/drawing/2014/main" id="{DF64D1D5-9867-6877-B730-F9ECAD60B2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7760" y="4053462"/>
                <a:ext cx="39816" cy="77823"/>
              </a:xfrm>
              <a:custGeom>
                <a:avLst/>
                <a:gdLst>
                  <a:gd name="T0" fmla="*/ 92 w 95"/>
                  <a:gd name="T1" fmla="*/ 28 h 189"/>
                  <a:gd name="T2" fmla="*/ 68 w 95"/>
                  <a:gd name="T3" fmla="*/ 24 h 189"/>
                  <a:gd name="T4" fmla="*/ 48 w 95"/>
                  <a:gd name="T5" fmla="*/ 46 h 189"/>
                  <a:gd name="T6" fmla="*/ 48 w 95"/>
                  <a:gd name="T7" fmla="*/ 55 h 189"/>
                  <a:gd name="T8" fmla="*/ 89 w 95"/>
                  <a:gd name="T9" fmla="*/ 55 h 189"/>
                  <a:gd name="T10" fmla="*/ 89 w 95"/>
                  <a:gd name="T11" fmla="*/ 78 h 189"/>
                  <a:gd name="T12" fmla="*/ 48 w 95"/>
                  <a:gd name="T13" fmla="*/ 78 h 189"/>
                  <a:gd name="T14" fmla="*/ 48 w 95"/>
                  <a:gd name="T15" fmla="*/ 189 h 189"/>
                  <a:gd name="T16" fmla="*/ 20 w 95"/>
                  <a:gd name="T17" fmla="*/ 189 h 189"/>
                  <a:gd name="T18" fmla="*/ 20 w 95"/>
                  <a:gd name="T19" fmla="*/ 78 h 189"/>
                  <a:gd name="T20" fmla="*/ 0 w 95"/>
                  <a:gd name="T21" fmla="*/ 78 h 189"/>
                  <a:gd name="T22" fmla="*/ 0 w 95"/>
                  <a:gd name="T23" fmla="*/ 55 h 189"/>
                  <a:gd name="T24" fmla="*/ 20 w 95"/>
                  <a:gd name="T25" fmla="*/ 55 h 189"/>
                  <a:gd name="T26" fmla="*/ 20 w 95"/>
                  <a:gd name="T27" fmla="*/ 44 h 189"/>
                  <a:gd name="T28" fmla="*/ 64 w 95"/>
                  <a:gd name="T29" fmla="*/ 0 h 189"/>
                  <a:gd name="T30" fmla="*/ 95 w 95"/>
                  <a:gd name="T31" fmla="*/ 5 h 189"/>
                  <a:gd name="T32" fmla="*/ 92 w 95"/>
                  <a:gd name="T33" fmla="*/ 28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5" h="189">
                    <a:moveTo>
                      <a:pt x="92" y="28"/>
                    </a:moveTo>
                    <a:cubicBezTo>
                      <a:pt x="81" y="25"/>
                      <a:pt x="74" y="24"/>
                      <a:pt x="68" y="24"/>
                    </a:cubicBezTo>
                    <a:cubicBezTo>
                      <a:pt x="54" y="24"/>
                      <a:pt x="48" y="30"/>
                      <a:pt x="48" y="46"/>
                    </a:cubicBezTo>
                    <a:lnTo>
                      <a:pt x="48" y="55"/>
                    </a:lnTo>
                    <a:lnTo>
                      <a:pt x="89" y="55"/>
                    </a:lnTo>
                    <a:lnTo>
                      <a:pt x="89" y="78"/>
                    </a:lnTo>
                    <a:lnTo>
                      <a:pt x="48" y="78"/>
                    </a:lnTo>
                    <a:lnTo>
                      <a:pt x="48" y="189"/>
                    </a:lnTo>
                    <a:lnTo>
                      <a:pt x="20" y="189"/>
                    </a:lnTo>
                    <a:lnTo>
                      <a:pt x="20" y="78"/>
                    </a:lnTo>
                    <a:lnTo>
                      <a:pt x="0" y="78"/>
                    </a:lnTo>
                    <a:lnTo>
                      <a:pt x="0" y="55"/>
                    </a:lnTo>
                    <a:lnTo>
                      <a:pt x="20" y="55"/>
                    </a:lnTo>
                    <a:lnTo>
                      <a:pt x="20" y="44"/>
                    </a:lnTo>
                    <a:cubicBezTo>
                      <a:pt x="20" y="15"/>
                      <a:pt x="37" y="0"/>
                      <a:pt x="64" y="0"/>
                    </a:cubicBezTo>
                    <a:cubicBezTo>
                      <a:pt x="73" y="0"/>
                      <a:pt x="82" y="2"/>
                      <a:pt x="95" y="5"/>
                    </a:cubicBezTo>
                    <a:lnTo>
                      <a:pt x="92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" name="Freeform 27">
                <a:extLst>
                  <a:ext uri="{FF2B5EF4-FFF2-40B4-BE49-F238E27FC236}">
                    <a16:creationId xmlns:a16="http://schemas.microsoft.com/office/drawing/2014/main" id="{ECB1A9B0-753C-0D7E-F1E0-0A643F27B2F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027576" y="4075180"/>
                <a:ext cx="50675" cy="56105"/>
              </a:xfrm>
              <a:custGeom>
                <a:avLst/>
                <a:gdLst>
                  <a:gd name="T0" fmla="*/ 62 w 124"/>
                  <a:gd name="T1" fmla="*/ 21 h 138"/>
                  <a:gd name="T2" fmla="*/ 28 w 124"/>
                  <a:gd name="T3" fmla="*/ 58 h 138"/>
                  <a:gd name="T4" fmla="*/ 96 w 124"/>
                  <a:gd name="T5" fmla="*/ 58 h 138"/>
                  <a:gd name="T6" fmla="*/ 62 w 124"/>
                  <a:gd name="T7" fmla="*/ 21 h 138"/>
                  <a:gd name="T8" fmla="*/ 63 w 124"/>
                  <a:gd name="T9" fmla="*/ 0 h 138"/>
                  <a:gd name="T10" fmla="*/ 124 w 124"/>
                  <a:gd name="T11" fmla="*/ 66 h 138"/>
                  <a:gd name="T12" fmla="*/ 111 w 124"/>
                  <a:gd name="T13" fmla="*/ 79 h 138"/>
                  <a:gd name="T14" fmla="*/ 28 w 124"/>
                  <a:gd name="T15" fmla="*/ 79 h 138"/>
                  <a:gd name="T16" fmla="*/ 68 w 124"/>
                  <a:gd name="T17" fmla="*/ 114 h 138"/>
                  <a:gd name="T18" fmla="*/ 105 w 124"/>
                  <a:gd name="T19" fmla="*/ 108 h 138"/>
                  <a:gd name="T20" fmla="*/ 118 w 124"/>
                  <a:gd name="T21" fmla="*/ 104 h 138"/>
                  <a:gd name="T22" fmla="*/ 123 w 124"/>
                  <a:gd name="T23" fmla="*/ 126 h 138"/>
                  <a:gd name="T24" fmla="*/ 109 w 124"/>
                  <a:gd name="T25" fmla="*/ 130 h 138"/>
                  <a:gd name="T26" fmla="*/ 66 w 124"/>
                  <a:gd name="T27" fmla="*/ 138 h 138"/>
                  <a:gd name="T28" fmla="*/ 0 w 124"/>
                  <a:gd name="T29" fmla="*/ 70 h 138"/>
                  <a:gd name="T30" fmla="*/ 63 w 124"/>
                  <a:gd name="T31" fmla="*/ 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4" h="138">
                    <a:moveTo>
                      <a:pt x="62" y="21"/>
                    </a:moveTo>
                    <a:cubicBezTo>
                      <a:pt x="42" y="21"/>
                      <a:pt x="30" y="36"/>
                      <a:pt x="28" y="58"/>
                    </a:cubicBezTo>
                    <a:lnTo>
                      <a:pt x="96" y="58"/>
                    </a:lnTo>
                    <a:cubicBezTo>
                      <a:pt x="96" y="38"/>
                      <a:pt x="86" y="21"/>
                      <a:pt x="62" y="21"/>
                    </a:cubicBezTo>
                    <a:close/>
                    <a:moveTo>
                      <a:pt x="63" y="0"/>
                    </a:moveTo>
                    <a:cubicBezTo>
                      <a:pt x="100" y="0"/>
                      <a:pt x="124" y="21"/>
                      <a:pt x="124" y="66"/>
                    </a:cubicBezTo>
                    <a:cubicBezTo>
                      <a:pt x="124" y="75"/>
                      <a:pt x="120" y="79"/>
                      <a:pt x="111" y="79"/>
                    </a:cubicBezTo>
                    <a:lnTo>
                      <a:pt x="28" y="79"/>
                    </a:lnTo>
                    <a:cubicBezTo>
                      <a:pt x="30" y="103"/>
                      <a:pt x="46" y="114"/>
                      <a:pt x="68" y="114"/>
                    </a:cubicBezTo>
                    <a:cubicBezTo>
                      <a:pt x="79" y="114"/>
                      <a:pt x="90" y="112"/>
                      <a:pt x="105" y="108"/>
                    </a:cubicBezTo>
                    <a:lnTo>
                      <a:pt x="118" y="104"/>
                    </a:lnTo>
                    <a:lnTo>
                      <a:pt x="123" y="126"/>
                    </a:lnTo>
                    <a:lnTo>
                      <a:pt x="109" y="130"/>
                    </a:lnTo>
                    <a:cubicBezTo>
                      <a:pt x="92" y="136"/>
                      <a:pt x="80" y="138"/>
                      <a:pt x="66" y="138"/>
                    </a:cubicBezTo>
                    <a:cubicBezTo>
                      <a:pt x="27" y="138"/>
                      <a:pt x="0" y="115"/>
                      <a:pt x="0" y="70"/>
                    </a:cubicBezTo>
                    <a:cubicBezTo>
                      <a:pt x="0" y="21"/>
                      <a:pt x="29" y="0"/>
                      <a:pt x="6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" name="Freeform 28">
                <a:extLst>
                  <a:ext uri="{FF2B5EF4-FFF2-40B4-BE49-F238E27FC236}">
                    <a16:creationId xmlns:a16="http://schemas.microsoft.com/office/drawing/2014/main" id="{8CF17209-85F1-B775-CE5E-920C58D2A35B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180573" y="3655298"/>
                <a:ext cx="358347" cy="405403"/>
              </a:xfrm>
              <a:custGeom>
                <a:avLst/>
                <a:gdLst>
                  <a:gd name="T0" fmla="*/ 556 w 875"/>
                  <a:gd name="T1" fmla="*/ 361 h 985"/>
                  <a:gd name="T2" fmla="*/ 454 w 875"/>
                  <a:gd name="T3" fmla="*/ 361 h 985"/>
                  <a:gd name="T4" fmla="*/ 505 w 875"/>
                  <a:gd name="T5" fmla="*/ 327 h 985"/>
                  <a:gd name="T6" fmla="*/ 556 w 875"/>
                  <a:gd name="T7" fmla="*/ 361 h 985"/>
                  <a:gd name="T8" fmla="*/ 867 w 875"/>
                  <a:gd name="T9" fmla="*/ 368 h 985"/>
                  <a:gd name="T10" fmla="*/ 707 w 875"/>
                  <a:gd name="T11" fmla="*/ 276 h 985"/>
                  <a:gd name="T12" fmla="*/ 773 w 875"/>
                  <a:gd name="T13" fmla="*/ 132 h 985"/>
                  <a:gd name="T14" fmla="*/ 539 w 875"/>
                  <a:gd name="T15" fmla="*/ 220 h 985"/>
                  <a:gd name="T16" fmla="*/ 280 w 875"/>
                  <a:gd name="T17" fmla="*/ 69 h 985"/>
                  <a:gd name="T18" fmla="*/ 308 w 875"/>
                  <a:gd name="T19" fmla="*/ 0 h 985"/>
                  <a:gd name="T20" fmla="*/ 305 w 875"/>
                  <a:gd name="T21" fmla="*/ 0 h 985"/>
                  <a:gd name="T22" fmla="*/ 204 w 875"/>
                  <a:gd name="T23" fmla="*/ 236 h 985"/>
                  <a:gd name="T24" fmla="*/ 249 w 875"/>
                  <a:gd name="T25" fmla="*/ 309 h 985"/>
                  <a:gd name="T26" fmla="*/ 25 w 875"/>
                  <a:gd name="T27" fmla="*/ 770 h 985"/>
                  <a:gd name="T28" fmla="*/ 360 w 875"/>
                  <a:gd name="T29" fmla="*/ 985 h 985"/>
                  <a:gd name="T30" fmla="*/ 825 w 875"/>
                  <a:gd name="T31" fmla="*/ 533 h 985"/>
                  <a:gd name="T32" fmla="*/ 867 w 875"/>
                  <a:gd name="T33" fmla="*/ 368 h 9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75" h="985">
                    <a:moveTo>
                      <a:pt x="556" y="361"/>
                    </a:moveTo>
                    <a:lnTo>
                      <a:pt x="454" y="361"/>
                    </a:lnTo>
                    <a:cubicBezTo>
                      <a:pt x="454" y="361"/>
                      <a:pt x="477" y="327"/>
                      <a:pt x="505" y="327"/>
                    </a:cubicBezTo>
                    <a:cubicBezTo>
                      <a:pt x="533" y="327"/>
                      <a:pt x="556" y="361"/>
                      <a:pt x="556" y="361"/>
                    </a:cubicBezTo>
                    <a:close/>
                    <a:moveTo>
                      <a:pt x="867" y="368"/>
                    </a:moveTo>
                    <a:lnTo>
                      <a:pt x="707" y="276"/>
                    </a:lnTo>
                    <a:cubicBezTo>
                      <a:pt x="795" y="225"/>
                      <a:pt x="776" y="144"/>
                      <a:pt x="773" y="132"/>
                    </a:cubicBezTo>
                    <a:cubicBezTo>
                      <a:pt x="732" y="184"/>
                      <a:pt x="643" y="220"/>
                      <a:pt x="539" y="220"/>
                    </a:cubicBezTo>
                    <a:cubicBezTo>
                      <a:pt x="396" y="220"/>
                      <a:pt x="280" y="152"/>
                      <a:pt x="280" y="69"/>
                    </a:cubicBezTo>
                    <a:cubicBezTo>
                      <a:pt x="280" y="44"/>
                      <a:pt x="290" y="21"/>
                      <a:pt x="308" y="0"/>
                    </a:cubicBezTo>
                    <a:cubicBezTo>
                      <a:pt x="307" y="0"/>
                      <a:pt x="306" y="0"/>
                      <a:pt x="305" y="0"/>
                    </a:cubicBezTo>
                    <a:cubicBezTo>
                      <a:pt x="244" y="0"/>
                      <a:pt x="155" y="110"/>
                      <a:pt x="204" y="236"/>
                    </a:cubicBezTo>
                    <a:cubicBezTo>
                      <a:pt x="215" y="265"/>
                      <a:pt x="231" y="289"/>
                      <a:pt x="249" y="309"/>
                    </a:cubicBezTo>
                    <a:cubicBezTo>
                      <a:pt x="135" y="417"/>
                      <a:pt x="0" y="606"/>
                      <a:pt x="25" y="770"/>
                    </a:cubicBezTo>
                    <a:cubicBezTo>
                      <a:pt x="58" y="980"/>
                      <a:pt x="360" y="985"/>
                      <a:pt x="360" y="985"/>
                    </a:cubicBezTo>
                    <a:cubicBezTo>
                      <a:pt x="220" y="722"/>
                      <a:pt x="825" y="533"/>
                      <a:pt x="825" y="533"/>
                    </a:cubicBezTo>
                    <a:cubicBezTo>
                      <a:pt x="825" y="533"/>
                      <a:pt x="875" y="464"/>
                      <a:pt x="867" y="3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" name="Freeform 29">
                <a:extLst>
                  <a:ext uri="{FF2B5EF4-FFF2-40B4-BE49-F238E27FC236}">
                    <a16:creationId xmlns:a16="http://schemas.microsoft.com/office/drawing/2014/main" id="{51442E12-047A-2D4B-7575-B124942829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27169" y="3910485"/>
                <a:ext cx="162885" cy="142978"/>
              </a:xfrm>
              <a:custGeom>
                <a:avLst/>
                <a:gdLst>
                  <a:gd name="T0" fmla="*/ 311 w 398"/>
                  <a:gd name="T1" fmla="*/ 0 h 349"/>
                  <a:gd name="T2" fmla="*/ 19 w 398"/>
                  <a:gd name="T3" fmla="*/ 228 h 349"/>
                  <a:gd name="T4" fmla="*/ 18 w 398"/>
                  <a:gd name="T5" fmla="*/ 349 h 349"/>
                  <a:gd name="T6" fmla="*/ 398 w 398"/>
                  <a:gd name="T7" fmla="*/ 184 h 349"/>
                  <a:gd name="T8" fmla="*/ 311 w 398"/>
                  <a:gd name="T9" fmla="*/ 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8" h="349">
                    <a:moveTo>
                      <a:pt x="311" y="0"/>
                    </a:moveTo>
                    <a:cubicBezTo>
                      <a:pt x="197" y="53"/>
                      <a:pt x="60" y="129"/>
                      <a:pt x="19" y="228"/>
                    </a:cubicBezTo>
                    <a:cubicBezTo>
                      <a:pt x="3" y="269"/>
                      <a:pt x="0" y="309"/>
                      <a:pt x="18" y="349"/>
                    </a:cubicBezTo>
                    <a:cubicBezTo>
                      <a:pt x="35" y="307"/>
                      <a:pt x="105" y="185"/>
                      <a:pt x="398" y="184"/>
                    </a:cubicBezTo>
                    <a:cubicBezTo>
                      <a:pt x="398" y="102"/>
                      <a:pt x="359" y="44"/>
                      <a:pt x="3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" name="Freeform 30">
                <a:extLst>
                  <a:ext uri="{FF2B5EF4-FFF2-40B4-BE49-F238E27FC236}">
                    <a16:creationId xmlns:a16="http://schemas.microsoft.com/office/drawing/2014/main" id="{A261E21F-1CC9-011B-0F5E-7C79EE9351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9976" y="3903245"/>
                <a:ext cx="9050" cy="16289"/>
              </a:xfrm>
              <a:custGeom>
                <a:avLst/>
                <a:gdLst>
                  <a:gd name="T0" fmla="*/ 0 w 25"/>
                  <a:gd name="T1" fmla="*/ 42 h 42"/>
                  <a:gd name="T2" fmla="*/ 25 w 25"/>
                  <a:gd name="T3" fmla="*/ 0 h 42"/>
                  <a:gd name="T4" fmla="*/ 0 w 25"/>
                  <a:gd name="T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" h="42">
                    <a:moveTo>
                      <a:pt x="0" y="42"/>
                    </a:moveTo>
                    <a:cubicBezTo>
                      <a:pt x="16" y="23"/>
                      <a:pt x="25" y="0"/>
                      <a:pt x="25" y="0"/>
                    </a:cubicBezTo>
                    <a:cubicBezTo>
                      <a:pt x="17" y="17"/>
                      <a:pt x="9" y="31"/>
                      <a:pt x="0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" name="Rectangle 31">
                <a:extLst>
                  <a:ext uri="{FF2B5EF4-FFF2-40B4-BE49-F238E27FC236}">
                    <a16:creationId xmlns:a16="http://schemas.microsoft.com/office/drawing/2014/main" id="{8E9B3B33-FFD6-40CB-6536-356BA5E0598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2409451" y="4104138"/>
                <a:ext cx="9050" cy="3981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" name="Freeform 32">
                <a:extLst>
                  <a:ext uri="{FF2B5EF4-FFF2-40B4-BE49-F238E27FC236}">
                    <a16:creationId xmlns:a16="http://schemas.microsoft.com/office/drawing/2014/main" id="{741F9BD3-794B-B529-FC5A-D348ED601E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2212" y="3819993"/>
                <a:ext cx="7239" cy="3620"/>
              </a:xfrm>
              <a:custGeom>
                <a:avLst/>
                <a:gdLst>
                  <a:gd name="T0" fmla="*/ 0 w 16"/>
                  <a:gd name="T1" fmla="*/ 0 h 7"/>
                  <a:gd name="T2" fmla="*/ 16 w 16"/>
                  <a:gd name="T3" fmla="*/ 7 h 7"/>
                  <a:gd name="T4" fmla="*/ 16 w 16"/>
                  <a:gd name="T5" fmla="*/ 5 h 7"/>
                  <a:gd name="T6" fmla="*/ 0 w 16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7">
                    <a:moveTo>
                      <a:pt x="0" y="0"/>
                    </a:moveTo>
                    <a:cubicBezTo>
                      <a:pt x="6" y="2"/>
                      <a:pt x="11" y="4"/>
                      <a:pt x="16" y="7"/>
                    </a:cubicBezTo>
                    <a:lnTo>
                      <a:pt x="16" y="5"/>
                    </a:lnTo>
                    <a:cubicBezTo>
                      <a:pt x="11" y="3"/>
                      <a:pt x="6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" name="Freeform 33">
                <a:extLst>
                  <a:ext uri="{FF2B5EF4-FFF2-40B4-BE49-F238E27FC236}">
                    <a16:creationId xmlns:a16="http://schemas.microsoft.com/office/drawing/2014/main" id="{0556360B-65C5-9C0F-8162-1CD2A55772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99025" y="3628150"/>
                <a:ext cx="47056" cy="314911"/>
              </a:xfrm>
              <a:custGeom>
                <a:avLst/>
                <a:gdLst>
                  <a:gd name="T0" fmla="*/ 3 w 115"/>
                  <a:gd name="T1" fmla="*/ 729 h 765"/>
                  <a:gd name="T2" fmla="*/ 9 w 115"/>
                  <a:gd name="T3" fmla="*/ 756 h 765"/>
                  <a:gd name="T4" fmla="*/ 19 w 115"/>
                  <a:gd name="T5" fmla="*/ 724 h 765"/>
                  <a:gd name="T6" fmla="*/ 34 w 115"/>
                  <a:gd name="T7" fmla="*/ 695 h 765"/>
                  <a:gd name="T8" fmla="*/ 30 w 115"/>
                  <a:gd name="T9" fmla="*/ 716 h 765"/>
                  <a:gd name="T10" fmla="*/ 22 w 115"/>
                  <a:gd name="T11" fmla="*/ 732 h 765"/>
                  <a:gd name="T12" fmla="*/ 17 w 115"/>
                  <a:gd name="T13" fmla="*/ 753 h 765"/>
                  <a:gd name="T14" fmla="*/ 30 w 115"/>
                  <a:gd name="T15" fmla="*/ 744 h 765"/>
                  <a:gd name="T16" fmla="*/ 49 w 115"/>
                  <a:gd name="T17" fmla="*/ 753 h 765"/>
                  <a:gd name="T18" fmla="*/ 54 w 115"/>
                  <a:gd name="T19" fmla="*/ 728 h 765"/>
                  <a:gd name="T20" fmla="*/ 68 w 115"/>
                  <a:gd name="T21" fmla="*/ 763 h 765"/>
                  <a:gd name="T22" fmla="*/ 67 w 115"/>
                  <a:gd name="T23" fmla="*/ 748 h 765"/>
                  <a:gd name="T24" fmla="*/ 65 w 115"/>
                  <a:gd name="T25" fmla="*/ 732 h 765"/>
                  <a:gd name="T26" fmla="*/ 64 w 115"/>
                  <a:gd name="T27" fmla="*/ 712 h 765"/>
                  <a:gd name="T28" fmla="*/ 66 w 115"/>
                  <a:gd name="T29" fmla="*/ 691 h 765"/>
                  <a:gd name="T30" fmla="*/ 68 w 115"/>
                  <a:gd name="T31" fmla="*/ 719 h 765"/>
                  <a:gd name="T32" fmla="*/ 76 w 115"/>
                  <a:gd name="T33" fmla="*/ 745 h 765"/>
                  <a:gd name="T34" fmla="*/ 78 w 115"/>
                  <a:gd name="T35" fmla="*/ 740 h 765"/>
                  <a:gd name="T36" fmla="*/ 77 w 115"/>
                  <a:gd name="T37" fmla="*/ 749 h 765"/>
                  <a:gd name="T38" fmla="*/ 77 w 115"/>
                  <a:gd name="T39" fmla="*/ 750 h 765"/>
                  <a:gd name="T40" fmla="*/ 79 w 115"/>
                  <a:gd name="T41" fmla="*/ 755 h 765"/>
                  <a:gd name="T42" fmla="*/ 84 w 115"/>
                  <a:gd name="T43" fmla="*/ 760 h 765"/>
                  <a:gd name="T44" fmla="*/ 86 w 115"/>
                  <a:gd name="T45" fmla="*/ 757 h 765"/>
                  <a:gd name="T46" fmla="*/ 86 w 115"/>
                  <a:gd name="T47" fmla="*/ 756 h 765"/>
                  <a:gd name="T48" fmla="*/ 78 w 115"/>
                  <a:gd name="T49" fmla="*/ 736 h 765"/>
                  <a:gd name="T50" fmla="*/ 84 w 115"/>
                  <a:gd name="T51" fmla="*/ 748 h 765"/>
                  <a:gd name="T52" fmla="*/ 84 w 115"/>
                  <a:gd name="T53" fmla="*/ 746 h 765"/>
                  <a:gd name="T54" fmla="*/ 89 w 115"/>
                  <a:gd name="T55" fmla="*/ 752 h 765"/>
                  <a:gd name="T56" fmla="*/ 90 w 115"/>
                  <a:gd name="T57" fmla="*/ 751 h 765"/>
                  <a:gd name="T58" fmla="*/ 83 w 115"/>
                  <a:gd name="T59" fmla="*/ 743 h 765"/>
                  <a:gd name="T60" fmla="*/ 91 w 115"/>
                  <a:gd name="T61" fmla="*/ 748 h 765"/>
                  <a:gd name="T62" fmla="*/ 95 w 115"/>
                  <a:gd name="T63" fmla="*/ 742 h 765"/>
                  <a:gd name="T64" fmla="*/ 96 w 115"/>
                  <a:gd name="T65" fmla="*/ 741 h 765"/>
                  <a:gd name="T66" fmla="*/ 103 w 115"/>
                  <a:gd name="T67" fmla="*/ 726 h 765"/>
                  <a:gd name="T68" fmla="*/ 101 w 115"/>
                  <a:gd name="T69" fmla="*/ 734 h 765"/>
                  <a:gd name="T70" fmla="*/ 112 w 115"/>
                  <a:gd name="T71" fmla="*/ 713 h 765"/>
                  <a:gd name="T72" fmla="*/ 101 w 115"/>
                  <a:gd name="T73" fmla="*/ 742 h 765"/>
                  <a:gd name="T74" fmla="*/ 104 w 115"/>
                  <a:gd name="T75" fmla="*/ 753 h 765"/>
                  <a:gd name="T76" fmla="*/ 106 w 115"/>
                  <a:gd name="T77" fmla="*/ 765 h 765"/>
                  <a:gd name="T78" fmla="*/ 109 w 115"/>
                  <a:gd name="T79" fmla="*/ 755 h 765"/>
                  <a:gd name="T80" fmla="*/ 110 w 115"/>
                  <a:gd name="T81" fmla="*/ 752 h 765"/>
                  <a:gd name="T82" fmla="*/ 110 w 115"/>
                  <a:gd name="T83" fmla="*/ 751 h 765"/>
                  <a:gd name="T84" fmla="*/ 110 w 115"/>
                  <a:gd name="T85" fmla="*/ 752 h 765"/>
                  <a:gd name="T86" fmla="*/ 110 w 115"/>
                  <a:gd name="T87" fmla="*/ 751 h 765"/>
                  <a:gd name="T88" fmla="*/ 111 w 115"/>
                  <a:gd name="T89" fmla="*/ 752 h 765"/>
                  <a:gd name="T90" fmla="*/ 111 w 115"/>
                  <a:gd name="T91" fmla="*/ 751 h 765"/>
                  <a:gd name="T92" fmla="*/ 113 w 115"/>
                  <a:gd name="T93" fmla="*/ 748 h 765"/>
                  <a:gd name="T94" fmla="*/ 113 w 115"/>
                  <a:gd name="T95" fmla="*/ 746 h 765"/>
                  <a:gd name="T96" fmla="*/ 109 w 115"/>
                  <a:gd name="T97" fmla="*/ 729 h 765"/>
                  <a:gd name="T98" fmla="*/ 109 w 115"/>
                  <a:gd name="T99" fmla="*/ 728 h 765"/>
                  <a:gd name="T100" fmla="*/ 109 w 115"/>
                  <a:gd name="T101" fmla="*/ 729 h 765"/>
                  <a:gd name="T102" fmla="*/ 112 w 115"/>
                  <a:gd name="T103" fmla="*/ 735 h 765"/>
                  <a:gd name="T104" fmla="*/ 115 w 115"/>
                  <a:gd name="T105" fmla="*/ 740 h 765"/>
                  <a:gd name="T106" fmla="*/ 115 w 115"/>
                  <a:gd name="T107" fmla="*/ 0 h 765"/>
                  <a:gd name="T108" fmla="*/ 0 w 115"/>
                  <a:gd name="T109" fmla="*/ 0 h 765"/>
                  <a:gd name="T110" fmla="*/ 0 w 115"/>
                  <a:gd name="T111" fmla="*/ 741 h 765"/>
                  <a:gd name="T112" fmla="*/ 2 w 115"/>
                  <a:gd name="T113" fmla="*/ 728 h 765"/>
                  <a:gd name="T114" fmla="*/ 3 w 115"/>
                  <a:gd name="T115" fmla="*/ 729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5" h="765">
                    <a:moveTo>
                      <a:pt x="3" y="729"/>
                    </a:moveTo>
                    <a:cubicBezTo>
                      <a:pt x="5" y="738"/>
                      <a:pt x="6" y="745"/>
                      <a:pt x="9" y="756"/>
                    </a:cubicBezTo>
                    <a:cubicBezTo>
                      <a:pt x="10" y="744"/>
                      <a:pt x="14" y="734"/>
                      <a:pt x="19" y="724"/>
                    </a:cubicBezTo>
                    <a:cubicBezTo>
                      <a:pt x="25" y="715"/>
                      <a:pt x="30" y="706"/>
                      <a:pt x="34" y="695"/>
                    </a:cubicBezTo>
                    <a:cubicBezTo>
                      <a:pt x="33" y="703"/>
                      <a:pt x="34" y="709"/>
                      <a:pt x="30" y="716"/>
                    </a:cubicBezTo>
                    <a:cubicBezTo>
                      <a:pt x="25" y="723"/>
                      <a:pt x="23" y="727"/>
                      <a:pt x="22" y="732"/>
                    </a:cubicBezTo>
                    <a:cubicBezTo>
                      <a:pt x="21" y="736"/>
                      <a:pt x="20" y="742"/>
                      <a:pt x="17" y="753"/>
                    </a:cubicBezTo>
                    <a:cubicBezTo>
                      <a:pt x="18" y="752"/>
                      <a:pt x="30" y="743"/>
                      <a:pt x="30" y="744"/>
                    </a:cubicBezTo>
                    <a:cubicBezTo>
                      <a:pt x="27" y="757"/>
                      <a:pt x="47" y="756"/>
                      <a:pt x="49" y="753"/>
                    </a:cubicBezTo>
                    <a:cubicBezTo>
                      <a:pt x="46" y="746"/>
                      <a:pt x="65" y="746"/>
                      <a:pt x="54" y="728"/>
                    </a:cubicBezTo>
                    <a:cubicBezTo>
                      <a:pt x="61" y="730"/>
                      <a:pt x="67" y="758"/>
                      <a:pt x="68" y="763"/>
                    </a:cubicBezTo>
                    <a:cubicBezTo>
                      <a:pt x="68" y="758"/>
                      <a:pt x="67" y="753"/>
                      <a:pt x="67" y="748"/>
                    </a:cubicBezTo>
                    <a:cubicBezTo>
                      <a:pt x="67" y="743"/>
                      <a:pt x="66" y="738"/>
                      <a:pt x="65" y="732"/>
                    </a:cubicBezTo>
                    <a:cubicBezTo>
                      <a:pt x="64" y="725"/>
                      <a:pt x="64" y="718"/>
                      <a:pt x="64" y="712"/>
                    </a:cubicBezTo>
                    <a:cubicBezTo>
                      <a:pt x="64" y="705"/>
                      <a:pt x="65" y="698"/>
                      <a:pt x="66" y="691"/>
                    </a:cubicBezTo>
                    <a:cubicBezTo>
                      <a:pt x="65" y="700"/>
                      <a:pt x="66" y="710"/>
                      <a:pt x="68" y="719"/>
                    </a:cubicBezTo>
                    <a:cubicBezTo>
                      <a:pt x="70" y="728"/>
                      <a:pt x="73" y="737"/>
                      <a:pt x="76" y="745"/>
                    </a:cubicBezTo>
                    <a:cubicBezTo>
                      <a:pt x="77" y="743"/>
                      <a:pt x="78" y="741"/>
                      <a:pt x="78" y="740"/>
                    </a:cubicBezTo>
                    <a:cubicBezTo>
                      <a:pt x="78" y="742"/>
                      <a:pt x="77" y="746"/>
                      <a:pt x="77" y="749"/>
                    </a:cubicBezTo>
                    <a:cubicBezTo>
                      <a:pt x="77" y="749"/>
                      <a:pt x="77" y="749"/>
                      <a:pt x="77" y="750"/>
                    </a:cubicBezTo>
                    <a:cubicBezTo>
                      <a:pt x="78" y="752"/>
                      <a:pt x="78" y="753"/>
                      <a:pt x="79" y="755"/>
                    </a:cubicBezTo>
                    <a:cubicBezTo>
                      <a:pt x="80" y="756"/>
                      <a:pt x="82" y="758"/>
                      <a:pt x="84" y="760"/>
                    </a:cubicBezTo>
                    <a:cubicBezTo>
                      <a:pt x="85" y="759"/>
                      <a:pt x="85" y="758"/>
                      <a:pt x="86" y="757"/>
                    </a:cubicBezTo>
                    <a:cubicBezTo>
                      <a:pt x="86" y="756"/>
                      <a:pt x="86" y="756"/>
                      <a:pt x="86" y="756"/>
                    </a:cubicBezTo>
                    <a:cubicBezTo>
                      <a:pt x="82" y="749"/>
                      <a:pt x="79" y="743"/>
                      <a:pt x="78" y="736"/>
                    </a:cubicBezTo>
                    <a:cubicBezTo>
                      <a:pt x="78" y="740"/>
                      <a:pt x="81" y="744"/>
                      <a:pt x="84" y="748"/>
                    </a:cubicBezTo>
                    <a:cubicBezTo>
                      <a:pt x="84" y="747"/>
                      <a:pt x="84" y="747"/>
                      <a:pt x="84" y="746"/>
                    </a:cubicBezTo>
                    <a:cubicBezTo>
                      <a:pt x="84" y="748"/>
                      <a:pt x="88" y="752"/>
                      <a:pt x="89" y="752"/>
                    </a:cubicBezTo>
                    <a:cubicBezTo>
                      <a:pt x="89" y="752"/>
                      <a:pt x="89" y="751"/>
                      <a:pt x="90" y="751"/>
                    </a:cubicBezTo>
                    <a:cubicBezTo>
                      <a:pt x="88" y="748"/>
                      <a:pt x="85" y="744"/>
                      <a:pt x="83" y="743"/>
                    </a:cubicBezTo>
                    <a:cubicBezTo>
                      <a:pt x="86" y="742"/>
                      <a:pt x="88" y="745"/>
                      <a:pt x="91" y="748"/>
                    </a:cubicBezTo>
                    <a:cubicBezTo>
                      <a:pt x="93" y="746"/>
                      <a:pt x="94" y="743"/>
                      <a:pt x="95" y="742"/>
                    </a:cubicBezTo>
                    <a:cubicBezTo>
                      <a:pt x="95" y="741"/>
                      <a:pt x="95" y="741"/>
                      <a:pt x="96" y="741"/>
                    </a:cubicBezTo>
                    <a:cubicBezTo>
                      <a:pt x="96" y="734"/>
                      <a:pt x="99" y="727"/>
                      <a:pt x="103" y="726"/>
                    </a:cubicBezTo>
                    <a:cubicBezTo>
                      <a:pt x="106" y="725"/>
                      <a:pt x="101" y="731"/>
                      <a:pt x="101" y="734"/>
                    </a:cubicBezTo>
                    <a:cubicBezTo>
                      <a:pt x="106" y="727"/>
                      <a:pt x="111" y="720"/>
                      <a:pt x="112" y="713"/>
                    </a:cubicBezTo>
                    <a:cubicBezTo>
                      <a:pt x="111" y="723"/>
                      <a:pt x="106" y="732"/>
                      <a:pt x="101" y="742"/>
                    </a:cubicBezTo>
                    <a:cubicBezTo>
                      <a:pt x="102" y="745"/>
                      <a:pt x="103" y="748"/>
                      <a:pt x="104" y="753"/>
                    </a:cubicBezTo>
                    <a:cubicBezTo>
                      <a:pt x="106" y="757"/>
                      <a:pt x="106" y="761"/>
                      <a:pt x="106" y="765"/>
                    </a:cubicBezTo>
                    <a:cubicBezTo>
                      <a:pt x="107" y="762"/>
                      <a:pt x="108" y="758"/>
                      <a:pt x="109" y="755"/>
                    </a:cubicBezTo>
                    <a:cubicBezTo>
                      <a:pt x="109" y="754"/>
                      <a:pt x="109" y="753"/>
                      <a:pt x="110" y="752"/>
                    </a:cubicBezTo>
                    <a:cubicBezTo>
                      <a:pt x="110" y="752"/>
                      <a:pt x="110" y="751"/>
                      <a:pt x="110" y="751"/>
                    </a:cubicBezTo>
                    <a:cubicBezTo>
                      <a:pt x="110" y="751"/>
                      <a:pt x="110" y="751"/>
                      <a:pt x="110" y="752"/>
                    </a:cubicBezTo>
                    <a:cubicBezTo>
                      <a:pt x="110" y="751"/>
                      <a:pt x="110" y="751"/>
                      <a:pt x="110" y="751"/>
                    </a:cubicBezTo>
                    <a:cubicBezTo>
                      <a:pt x="110" y="751"/>
                      <a:pt x="110" y="752"/>
                      <a:pt x="111" y="752"/>
                    </a:cubicBezTo>
                    <a:cubicBezTo>
                      <a:pt x="111" y="752"/>
                      <a:pt x="111" y="751"/>
                      <a:pt x="111" y="751"/>
                    </a:cubicBezTo>
                    <a:cubicBezTo>
                      <a:pt x="111" y="751"/>
                      <a:pt x="112" y="749"/>
                      <a:pt x="113" y="748"/>
                    </a:cubicBezTo>
                    <a:cubicBezTo>
                      <a:pt x="113" y="747"/>
                      <a:pt x="113" y="747"/>
                      <a:pt x="113" y="746"/>
                    </a:cubicBezTo>
                    <a:cubicBezTo>
                      <a:pt x="112" y="740"/>
                      <a:pt x="111" y="735"/>
                      <a:pt x="109" y="729"/>
                    </a:cubicBezTo>
                    <a:cubicBezTo>
                      <a:pt x="109" y="729"/>
                      <a:pt x="109" y="729"/>
                      <a:pt x="109" y="728"/>
                    </a:cubicBezTo>
                    <a:cubicBezTo>
                      <a:pt x="109" y="729"/>
                      <a:pt x="109" y="729"/>
                      <a:pt x="109" y="729"/>
                    </a:cubicBezTo>
                    <a:cubicBezTo>
                      <a:pt x="110" y="731"/>
                      <a:pt x="112" y="733"/>
                      <a:pt x="112" y="735"/>
                    </a:cubicBezTo>
                    <a:cubicBezTo>
                      <a:pt x="113" y="736"/>
                      <a:pt x="114" y="738"/>
                      <a:pt x="115" y="740"/>
                    </a:cubicBezTo>
                    <a:lnTo>
                      <a:pt x="115" y="0"/>
                    </a:lnTo>
                    <a:lnTo>
                      <a:pt x="0" y="0"/>
                    </a:lnTo>
                    <a:lnTo>
                      <a:pt x="0" y="741"/>
                    </a:lnTo>
                    <a:cubicBezTo>
                      <a:pt x="1" y="737"/>
                      <a:pt x="2" y="732"/>
                      <a:pt x="2" y="728"/>
                    </a:cubicBezTo>
                    <a:cubicBezTo>
                      <a:pt x="2" y="728"/>
                      <a:pt x="3" y="729"/>
                      <a:pt x="3" y="7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" name="Freeform 34">
                <a:extLst>
                  <a:ext uri="{FF2B5EF4-FFF2-40B4-BE49-F238E27FC236}">
                    <a16:creationId xmlns:a16="http://schemas.microsoft.com/office/drawing/2014/main" id="{49AF0E28-B9B3-4D13-C70A-90A855EFB0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4271" y="3935822"/>
                <a:ext cx="1810" cy="5430"/>
              </a:xfrm>
              <a:custGeom>
                <a:avLst/>
                <a:gdLst>
                  <a:gd name="T0" fmla="*/ 1 w 4"/>
                  <a:gd name="T1" fmla="*/ 8 h 11"/>
                  <a:gd name="T2" fmla="*/ 3 w 4"/>
                  <a:gd name="T3" fmla="*/ 10 h 11"/>
                  <a:gd name="T4" fmla="*/ 4 w 4"/>
                  <a:gd name="T5" fmla="*/ 11 h 11"/>
                  <a:gd name="T6" fmla="*/ 2 w 4"/>
                  <a:gd name="T7" fmla="*/ 0 h 11"/>
                  <a:gd name="T8" fmla="*/ 0 w 4"/>
                  <a:gd name="T9" fmla="*/ 6 h 11"/>
                  <a:gd name="T10" fmla="*/ 1 w 4"/>
                  <a:gd name="T11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11">
                    <a:moveTo>
                      <a:pt x="1" y="8"/>
                    </a:moveTo>
                    <a:cubicBezTo>
                      <a:pt x="2" y="9"/>
                      <a:pt x="3" y="10"/>
                      <a:pt x="3" y="10"/>
                    </a:cubicBezTo>
                    <a:cubicBezTo>
                      <a:pt x="3" y="10"/>
                      <a:pt x="3" y="11"/>
                      <a:pt x="4" y="11"/>
                    </a:cubicBezTo>
                    <a:cubicBezTo>
                      <a:pt x="3" y="7"/>
                      <a:pt x="3" y="4"/>
                      <a:pt x="2" y="0"/>
                    </a:cubicBezTo>
                    <a:cubicBezTo>
                      <a:pt x="1" y="2"/>
                      <a:pt x="1" y="4"/>
                      <a:pt x="0" y="6"/>
                    </a:cubicBezTo>
                    <a:cubicBezTo>
                      <a:pt x="1" y="6"/>
                      <a:pt x="1" y="7"/>
                      <a:pt x="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" name="Freeform 35">
                <a:extLst>
                  <a:ext uri="{FF2B5EF4-FFF2-40B4-BE49-F238E27FC236}">
                    <a16:creationId xmlns:a16="http://schemas.microsoft.com/office/drawing/2014/main" id="{78DB03F6-30E6-0A6F-B827-51221030CE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37032" y="3937633"/>
                <a:ext cx="1810" cy="9050"/>
              </a:xfrm>
              <a:custGeom>
                <a:avLst/>
                <a:gdLst>
                  <a:gd name="T0" fmla="*/ 2 w 4"/>
                  <a:gd name="T1" fmla="*/ 21 h 22"/>
                  <a:gd name="T2" fmla="*/ 3 w 4"/>
                  <a:gd name="T3" fmla="*/ 22 h 22"/>
                  <a:gd name="T4" fmla="*/ 3 w 4"/>
                  <a:gd name="T5" fmla="*/ 21 h 22"/>
                  <a:gd name="T6" fmla="*/ 2 w 4"/>
                  <a:gd name="T7" fmla="*/ 0 h 22"/>
                  <a:gd name="T8" fmla="*/ 0 w 4"/>
                  <a:gd name="T9" fmla="*/ 5 h 22"/>
                  <a:gd name="T10" fmla="*/ 2 w 4"/>
                  <a:gd name="T11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2">
                    <a:moveTo>
                      <a:pt x="2" y="21"/>
                    </a:moveTo>
                    <a:cubicBezTo>
                      <a:pt x="2" y="21"/>
                      <a:pt x="2" y="22"/>
                      <a:pt x="3" y="22"/>
                    </a:cubicBezTo>
                    <a:cubicBezTo>
                      <a:pt x="3" y="22"/>
                      <a:pt x="3" y="21"/>
                      <a:pt x="3" y="21"/>
                    </a:cubicBezTo>
                    <a:cubicBezTo>
                      <a:pt x="4" y="13"/>
                      <a:pt x="3" y="8"/>
                      <a:pt x="2" y="0"/>
                    </a:cubicBezTo>
                    <a:cubicBezTo>
                      <a:pt x="1" y="2"/>
                      <a:pt x="0" y="3"/>
                      <a:pt x="0" y="5"/>
                    </a:cubicBezTo>
                    <a:cubicBezTo>
                      <a:pt x="1" y="10"/>
                      <a:pt x="2" y="17"/>
                      <a:pt x="2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" name="Freeform 36">
                <a:extLst>
                  <a:ext uri="{FF2B5EF4-FFF2-40B4-BE49-F238E27FC236}">
                    <a16:creationId xmlns:a16="http://schemas.microsoft.com/office/drawing/2014/main" id="{73541C2E-E601-3B6B-059E-05B4F443F6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03995" y="3626341"/>
                <a:ext cx="220800" cy="318531"/>
              </a:xfrm>
              <a:custGeom>
                <a:avLst/>
                <a:gdLst>
                  <a:gd name="T0" fmla="*/ 381 w 538"/>
                  <a:gd name="T1" fmla="*/ 766 h 775"/>
                  <a:gd name="T2" fmla="*/ 388 w 538"/>
                  <a:gd name="T3" fmla="*/ 736 h 775"/>
                  <a:gd name="T4" fmla="*/ 419 w 538"/>
                  <a:gd name="T5" fmla="*/ 702 h 775"/>
                  <a:gd name="T6" fmla="*/ 403 w 538"/>
                  <a:gd name="T7" fmla="*/ 760 h 775"/>
                  <a:gd name="T8" fmla="*/ 441 w 538"/>
                  <a:gd name="T9" fmla="*/ 740 h 775"/>
                  <a:gd name="T10" fmla="*/ 450 w 538"/>
                  <a:gd name="T11" fmla="*/ 733 h 775"/>
                  <a:gd name="T12" fmla="*/ 416 w 538"/>
                  <a:gd name="T13" fmla="*/ 572 h 775"/>
                  <a:gd name="T14" fmla="*/ 153 w 538"/>
                  <a:gd name="T15" fmla="*/ 622 h 775"/>
                  <a:gd name="T16" fmla="*/ 123 w 538"/>
                  <a:gd name="T17" fmla="*/ 241 h 775"/>
                  <a:gd name="T18" fmla="*/ 271 w 538"/>
                  <a:gd name="T19" fmla="*/ 119 h 775"/>
                  <a:gd name="T20" fmla="*/ 538 w 538"/>
                  <a:gd name="T21" fmla="*/ 232 h 775"/>
                  <a:gd name="T22" fmla="*/ 122 w 538"/>
                  <a:gd name="T23" fmla="*/ 45 h 775"/>
                  <a:gd name="T24" fmla="*/ 0 w 538"/>
                  <a:gd name="T25" fmla="*/ 399 h 775"/>
                  <a:gd name="T26" fmla="*/ 33 w 538"/>
                  <a:gd name="T27" fmla="*/ 656 h 775"/>
                  <a:gd name="T28" fmla="*/ 100 w 538"/>
                  <a:gd name="T29" fmla="*/ 736 h 775"/>
                  <a:gd name="T30" fmla="*/ 103 w 538"/>
                  <a:gd name="T31" fmla="*/ 725 h 775"/>
                  <a:gd name="T32" fmla="*/ 113 w 538"/>
                  <a:gd name="T33" fmla="*/ 746 h 775"/>
                  <a:gd name="T34" fmla="*/ 119 w 538"/>
                  <a:gd name="T35" fmla="*/ 750 h 775"/>
                  <a:gd name="T36" fmla="*/ 120 w 538"/>
                  <a:gd name="T37" fmla="*/ 743 h 775"/>
                  <a:gd name="T38" fmla="*/ 130 w 538"/>
                  <a:gd name="T39" fmla="*/ 738 h 775"/>
                  <a:gd name="T40" fmla="*/ 128 w 538"/>
                  <a:gd name="T41" fmla="*/ 757 h 775"/>
                  <a:gd name="T42" fmla="*/ 138 w 538"/>
                  <a:gd name="T43" fmla="*/ 744 h 775"/>
                  <a:gd name="T44" fmla="*/ 149 w 538"/>
                  <a:gd name="T45" fmla="*/ 748 h 775"/>
                  <a:gd name="T46" fmla="*/ 144 w 538"/>
                  <a:gd name="T47" fmla="*/ 726 h 775"/>
                  <a:gd name="T48" fmla="*/ 157 w 538"/>
                  <a:gd name="T49" fmla="*/ 759 h 775"/>
                  <a:gd name="T50" fmla="*/ 164 w 538"/>
                  <a:gd name="T51" fmla="*/ 753 h 775"/>
                  <a:gd name="T52" fmla="*/ 180 w 538"/>
                  <a:gd name="T53" fmla="*/ 757 h 775"/>
                  <a:gd name="T54" fmla="*/ 190 w 538"/>
                  <a:gd name="T55" fmla="*/ 771 h 775"/>
                  <a:gd name="T56" fmla="*/ 198 w 538"/>
                  <a:gd name="T57" fmla="*/ 711 h 775"/>
                  <a:gd name="T58" fmla="*/ 209 w 538"/>
                  <a:gd name="T59" fmla="*/ 768 h 775"/>
                  <a:gd name="T60" fmla="*/ 213 w 538"/>
                  <a:gd name="T61" fmla="*/ 734 h 775"/>
                  <a:gd name="T62" fmla="*/ 221 w 538"/>
                  <a:gd name="T63" fmla="*/ 753 h 775"/>
                  <a:gd name="T64" fmla="*/ 230 w 538"/>
                  <a:gd name="T65" fmla="*/ 755 h 775"/>
                  <a:gd name="T66" fmla="*/ 234 w 538"/>
                  <a:gd name="T67" fmla="*/ 741 h 775"/>
                  <a:gd name="T68" fmla="*/ 237 w 538"/>
                  <a:gd name="T69" fmla="*/ 742 h 775"/>
                  <a:gd name="T70" fmla="*/ 257 w 538"/>
                  <a:gd name="T71" fmla="*/ 723 h 775"/>
                  <a:gd name="T72" fmla="*/ 260 w 538"/>
                  <a:gd name="T73" fmla="*/ 728 h 775"/>
                  <a:gd name="T74" fmla="*/ 267 w 538"/>
                  <a:gd name="T75" fmla="*/ 740 h 775"/>
                  <a:gd name="T76" fmla="*/ 268 w 538"/>
                  <a:gd name="T77" fmla="*/ 775 h 775"/>
                  <a:gd name="T78" fmla="*/ 273 w 538"/>
                  <a:gd name="T79" fmla="*/ 753 h 775"/>
                  <a:gd name="T80" fmla="*/ 278 w 538"/>
                  <a:gd name="T81" fmla="*/ 755 h 775"/>
                  <a:gd name="T82" fmla="*/ 288 w 538"/>
                  <a:gd name="T83" fmla="*/ 765 h 775"/>
                  <a:gd name="T84" fmla="*/ 291 w 538"/>
                  <a:gd name="T85" fmla="*/ 762 h 775"/>
                  <a:gd name="T86" fmla="*/ 292 w 538"/>
                  <a:gd name="T87" fmla="*/ 743 h 775"/>
                  <a:gd name="T88" fmla="*/ 302 w 538"/>
                  <a:gd name="T89" fmla="*/ 766 h 775"/>
                  <a:gd name="T90" fmla="*/ 297 w 538"/>
                  <a:gd name="T91" fmla="*/ 736 h 775"/>
                  <a:gd name="T92" fmla="*/ 305 w 538"/>
                  <a:gd name="T93" fmla="*/ 753 h 775"/>
                  <a:gd name="T94" fmla="*/ 309 w 538"/>
                  <a:gd name="T95" fmla="*/ 756 h 775"/>
                  <a:gd name="T96" fmla="*/ 310 w 538"/>
                  <a:gd name="T97" fmla="*/ 770 h 775"/>
                  <a:gd name="T98" fmla="*/ 317 w 538"/>
                  <a:gd name="T99" fmla="*/ 754 h 775"/>
                  <a:gd name="T100" fmla="*/ 334 w 538"/>
                  <a:gd name="T101" fmla="*/ 741 h 775"/>
                  <a:gd name="T102" fmla="*/ 344 w 538"/>
                  <a:gd name="T103" fmla="*/ 723 h 775"/>
                  <a:gd name="T104" fmla="*/ 343 w 538"/>
                  <a:gd name="T105" fmla="*/ 771 h 775"/>
                  <a:gd name="T106" fmla="*/ 353 w 538"/>
                  <a:gd name="T107" fmla="*/ 722 h 775"/>
                  <a:gd name="T108" fmla="*/ 355 w 538"/>
                  <a:gd name="T109" fmla="*/ 755 h 775"/>
                  <a:gd name="T110" fmla="*/ 362 w 538"/>
                  <a:gd name="T111" fmla="*/ 750 h 7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38" h="775">
                    <a:moveTo>
                      <a:pt x="366" y="734"/>
                    </a:moveTo>
                    <a:cubicBezTo>
                      <a:pt x="365" y="739"/>
                      <a:pt x="367" y="747"/>
                      <a:pt x="369" y="753"/>
                    </a:cubicBezTo>
                    <a:cubicBezTo>
                      <a:pt x="372" y="760"/>
                      <a:pt x="376" y="765"/>
                      <a:pt x="381" y="766"/>
                    </a:cubicBezTo>
                    <a:cubicBezTo>
                      <a:pt x="381" y="763"/>
                      <a:pt x="382" y="758"/>
                      <a:pt x="383" y="756"/>
                    </a:cubicBezTo>
                    <a:cubicBezTo>
                      <a:pt x="386" y="750"/>
                      <a:pt x="387" y="741"/>
                      <a:pt x="387" y="735"/>
                    </a:cubicBezTo>
                    <a:cubicBezTo>
                      <a:pt x="387" y="735"/>
                      <a:pt x="388" y="736"/>
                      <a:pt x="388" y="736"/>
                    </a:cubicBezTo>
                    <a:cubicBezTo>
                      <a:pt x="390" y="745"/>
                      <a:pt x="392" y="752"/>
                      <a:pt x="394" y="763"/>
                    </a:cubicBezTo>
                    <a:cubicBezTo>
                      <a:pt x="395" y="751"/>
                      <a:pt x="400" y="741"/>
                      <a:pt x="405" y="731"/>
                    </a:cubicBezTo>
                    <a:cubicBezTo>
                      <a:pt x="410" y="722"/>
                      <a:pt x="416" y="713"/>
                      <a:pt x="419" y="702"/>
                    </a:cubicBezTo>
                    <a:cubicBezTo>
                      <a:pt x="419" y="710"/>
                      <a:pt x="419" y="716"/>
                      <a:pt x="415" y="723"/>
                    </a:cubicBezTo>
                    <a:cubicBezTo>
                      <a:pt x="411" y="730"/>
                      <a:pt x="409" y="734"/>
                      <a:pt x="408" y="739"/>
                    </a:cubicBezTo>
                    <a:cubicBezTo>
                      <a:pt x="406" y="743"/>
                      <a:pt x="405" y="749"/>
                      <a:pt x="403" y="760"/>
                    </a:cubicBezTo>
                    <a:cubicBezTo>
                      <a:pt x="403" y="759"/>
                      <a:pt x="416" y="750"/>
                      <a:pt x="415" y="751"/>
                    </a:cubicBezTo>
                    <a:cubicBezTo>
                      <a:pt x="415" y="754"/>
                      <a:pt x="415" y="756"/>
                      <a:pt x="416" y="758"/>
                    </a:cubicBezTo>
                    <a:cubicBezTo>
                      <a:pt x="425" y="753"/>
                      <a:pt x="433" y="747"/>
                      <a:pt x="441" y="740"/>
                    </a:cubicBezTo>
                    <a:cubicBezTo>
                      <a:pt x="442" y="740"/>
                      <a:pt x="442" y="740"/>
                      <a:pt x="443" y="739"/>
                    </a:cubicBezTo>
                    <a:cubicBezTo>
                      <a:pt x="443" y="739"/>
                      <a:pt x="443" y="739"/>
                      <a:pt x="443" y="739"/>
                    </a:cubicBezTo>
                    <a:cubicBezTo>
                      <a:pt x="445" y="737"/>
                      <a:pt x="447" y="735"/>
                      <a:pt x="450" y="733"/>
                    </a:cubicBezTo>
                    <a:cubicBezTo>
                      <a:pt x="451" y="732"/>
                      <a:pt x="453" y="731"/>
                      <a:pt x="454" y="729"/>
                    </a:cubicBezTo>
                    <a:cubicBezTo>
                      <a:pt x="495" y="691"/>
                      <a:pt x="523" y="638"/>
                      <a:pt x="538" y="572"/>
                    </a:cubicBezTo>
                    <a:lnTo>
                      <a:pt x="416" y="572"/>
                    </a:lnTo>
                    <a:cubicBezTo>
                      <a:pt x="384" y="643"/>
                      <a:pt x="336" y="679"/>
                      <a:pt x="271" y="679"/>
                    </a:cubicBezTo>
                    <a:cubicBezTo>
                      <a:pt x="244" y="679"/>
                      <a:pt x="221" y="673"/>
                      <a:pt x="201" y="661"/>
                    </a:cubicBezTo>
                    <a:cubicBezTo>
                      <a:pt x="181" y="651"/>
                      <a:pt x="165" y="638"/>
                      <a:pt x="153" y="622"/>
                    </a:cubicBezTo>
                    <a:cubicBezTo>
                      <a:pt x="138" y="605"/>
                      <a:pt x="128" y="583"/>
                      <a:pt x="123" y="556"/>
                    </a:cubicBezTo>
                    <a:cubicBezTo>
                      <a:pt x="118" y="528"/>
                      <a:pt x="115" y="476"/>
                      <a:pt x="115" y="399"/>
                    </a:cubicBezTo>
                    <a:cubicBezTo>
                      <a:pt x="115" y="322"/>
                      <a:pt x="118" y="269"/>
                      <a:pt x="123" y="241"/>
                    </a:cubicBezTo>
                    <a:cubicBezTo>
                      <a:pt x="128" y="214"/>
                      <a:pt x="138" y="193"/>
                      <a:pt x="153" y="176"/>
                    </a:cubicBezTo>
                    <a:cubicBezTo>
                      <a:pt x="165" y="160"/>
                      <a:pt x="181" y="146"/>
                      <a:pt x="201" y="135"/>
                    </a:cubicBezTo>
                    <a:cubicBezTo>
                      <a:pt x="221" y="125"/>
                      <a:pt x="244" y="119"/>
                      <a:pt x="271" y="119"/>
                    </a:cubicBezTo>
                    <a:cubicBezTo>
                      <a:pt x="308" y="119"/>
                      <a:pt x="339" y="130"/>
                      <a:pt x="365" y="152"/>
                    </a:cubicBezTo>
                    <a:cubicBezTo>
                      <a:pt x="390" y="174"/>
                      <a:pt x="407" y="201"/>
                      <a:pt x="416" y="232"/>
                    </a:cubicBezTo>
                    <a:lnTo>
                      <a:pt x="538" y="232"/>
                    </a:lnTo>
                    <a:cubicBezTo>
                      <a:pt x="526" y="167"/>
                      <a:pt x="497" y="112"/>
                      <a:pt x="451" y="68"/>
                    </a:cubicBezTo>
                    <a:cubicBezTo>
                      <a:pt x="404" y="24"/>
                      <a:pt x="345" y="1"/>
                      <a:pt x="271" y="0"/>
                    </a:cubicBezTo>
                    <a:cubicBezTo>
                      <a:pt x="212" y="1"/>
                      <a:pt x="162" y="16"/>
                      <a:pt x="122" y="45"/>
                    </a:cubicBezTo>
                    <a:cubicBezTo>
                      <a:pt x="81" y="73"/>
                      <a:pt x="52" y="105"/>
                      <a:pt x="33" y="141"/>
                    </a:cubicBezTo>
                    <a:cubicBezTo>
                      <a:pt x="22" y="160"/>
                      <a:pt x="13" y="185"/>
                      <a:pt x="8" y="216"/>
                    </a:cubicBezTo>
                    <a:cubicBezTo>
                      <a:pt x="3" y="247"/>
                      <a:pt x="0" y="308"/>
                      <a:pt x="0" y="399"/>
                    </a:cubicBezTo>
                    <a:cubicBezTo>
                      <a:pt x="0" y="489"/>
                      <a:pt x="3" y="549"/>
                      <a:pt x="8" y="581"/>
                    </a:cubicBezTo>
                    <a:cubicBezTo>
                      <a:pt x="11" y="598"/>
                      <a:pt x="14" y="612"/>
                      <a:pt x="18" y="623"/>
                    </a:cubicBezTo>
                    <a:cubicBezTo>
                      <a:pt x="23" y="633"/>
                      <a:pt x="28" y="645"/>
                      <a:pt x="33" y="656"/>
                    </a:cubicBezTo>
                    <a:cubicBezTo>
                      <a:pt x="42" y="674"/>
                      <a:pt x="54" y="690"/>
                      <a:pt x="67" y="705"/>
                    </a:cubicBezTo>
                    <a:cubicBezTo>
                      <a:pt x="68" y="706"/>
                      <a:pt x="68" y="706"/>
                      <a:pt x="69" y="707"/>
                    </a:cubicBezTo>
                    <a:cubicBezTo>
                      <a:pt x="78" y="717"/>
                      <a:pt x="88" y="727"/>
                      <a:pt x="100" y="736"/>
                    </a:cubicBezTo>
                    <a:cubicBezTo>
                      <a:pt x="99" y="730"/>
                      <a:pt x="99" y="724"/>
                      <a:pt x="99" y="718"/>
                    </a:cubicBezTo>
                    <a:cubicBezTo>
                      <a:pt x="99" y="711"/>
                      <a:pt x="100" y="704"/>
                      <a:pt x="101" y="697"/>
                    </a:cubicBezTo>
                    <a:cubicBezTo>
                      <a:pt x="100" y="706"/>
                      <a:pt x="101" y="716"/>
                      <a:pt x="103" y="725"/>
                    </a:cubicBezTo>
                    <a:cubicBezTo>
                      <a:pt x="104" y="731"/>
                      <a:pt x="106" y="736"/>
                      <a:pt x="108" y="742"/>
                    </a:cubicBezTo>
                    <a:cubicBezTo>
                      <a:pt x="110" y="743"/>
                      <a:pt x="111" y="745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3" y="746"/>
                      <a:pt x="113" y="746"/>
                      <a:pt x="113" y="746"/>
                    </a:cubicBezTo>
                    <a:cubicBezTo>
                      <a:pt x="115" y="747"/>
                      <a:pt x="116" y="748"/>
                      <a:pt x="118" y="750"/>
                    </a:cubicBezTo>
                    <a:lnTo>
                      <a:pt x="119" y="750"/>
                    </a:lnTo>
                    <a:cubicBezTo>
                      <a:pt x="119" y="750"/>
                      <a:pt x="119" y="750"/>
                      <a:pt x="119" y="750"/>
                    </a:cubicBezTo>
                    <a:cubicBezTo>
                      <a:pt x="120" y="750"/>
                      <a:pt x="120" y="751"/>
                      <a:pt x="121" y="752"/>
                    </a:cubicBezTo>
                    <a:cubicBezTo>
                      <a:pt x="121" y="749"/>
                      <a:pt x="121" y="746"/>
                      <a:pt x="120" y="743"/>
                    </a:cubicBezTo>
                    <a:cubicBezTo>
                      <a:pt x="120" y="743"/>
                      <a:pt x="122" y="745"/>
                      <a:pt x="122" y="745"/>
                    </a:cubicBezTo>
                    <a:cubicBezTo>
                      <a:pt x="122" y="746"/>
                      <a:pt x="123" y="747"/>
                      <a:pt x="124" y="749"/>
                    </a:cubicBezTo>
                    <a:cubicBezTo>
                      <a:pt x="126" y="745"/>
                      <a:pt x="129" y="741"/>
                      <a:pt x="130" y="738"/>
                    </a:cubicBezTo>
                    <a:cubicBezTo>
                      <a:pt x="135" y="731"/>
                      <a:pt x="146" y="721"/>
                      <a:pt x="147" y="710"/>
                    </a:cubicBezTo>
                    <a:cubicBezTo>
                      <a:pt x="146" y="719"/>
                      <a:pt x="142" y="727"/>
                      <a:pt x="138" y="735"/>
                    </a:cubicBezTo>
                    <a:cubicBezTo>
                      <a:pt x="134" y="742"/>
                      <a:pt x="130" y="749"/>
                      <a:pt x="128" y="757"/>
                    </a:cubicBezTo>
                    <a:cubicBezTo>
                      <a:pt x="131" y="758"/>
                      <a:pt x="133" y="760"/>
                      <a:pt x="135" y="761"/>
                    </a:cubicBezTo>
                    <a:cubicBezTo>
                      <a:pt x="136" y="759"/>
                      <a:pt x="137" y="756"/>
                      <a:pt x="137" y="754"/>
                    </a:cubicBezTo>
                    <a:cubicBezTo>
                      <a:pt x="137" y="751"/>
                      <a:pt x="137" y="747"/>
                      <a:pt x="138" y="744"/>
                    </a:cubicBezTo>
                    <a:cubicBezTo>
                      <a:pt x="137" y="751"/>
                      <a:pt x="139" y="758"/>
                      <a:pt x="141" y="764"/>
                    </a:cubicBezTo>
                    <a:cubicBezTo>
                      <a:pt x="144" y="766"/>
                      <a:pt x="147" y="768"/>
                      <a:pt x="150" y="769"/>
                    </a:cubicBezTo>
                    <a:cubicBezTo>
                      <a:pt x="150" y="762"/>
                      <a:pt x="150" y="755"/>
                      <a:pt x="149" y="748"/>
                    </a:cubicBezTo>
                    <a:cubicBezTo>
                      <a:pt x="148" y="741"/>
                      <a:pt x="146" y="734"/>
                      <a:pt x="144" y="726"/>
                    </a:cubicBezTo>
                    <a:cubicBezTo>
                      <a:pt x="144" y="726"/>
                      <a:pt x="144" y="726"/>
                      <a:pt x="144" y="725"/>
                    </a:cubicBezTo>
                    <a:cubicBezTo>
                      <a:pt x="144" y="726"/>
                      <a:pt x="144" y="726"/>
                      <a:pt x="144" y="726"/>
                    </a:cubicBezTo>
                    <a:cubicBezTo>
                      <a:pt x="145" y="728"/>
                      <a:pt x="147" y="730"/>
                      <a:pt x="148" y="731"/>
                    </a:cubicBezTo>
                    <a:cubicBezTo>
                      <a:pt x="149" y="734"/>
                      <a:pt x="151" y="739"/>
                      <a:pt x="152" y="743"/>
                    </a:cubicBezTo>
                    <a:cubicBezTo>
                      <a:pt x="153" y="747"/>
                      <a:pt x="156" y="754"/>
                      <a:pt x="157" y="759"/>
                    </a:cubicBezTo>
                    <a:cubicBezTo>
                      <a:pt x="159" y="762"/>
                      <a:pt x="163" y="772"/>
                      <a:pt x="165" y="773"/>
                    </a:cubicBezTo>
                    <a:cubicBezTo>
                      <a:pt x="165" y="772"/>
                      <a:pt x="164" y="769"/>
                      <a:pt x="164" y="767"/>
                    </a:cubicBezTo>
                    <a:cubicBezTo>
                      <a:pt x="164" y="763"/>
                      <a:pt x="164" y="758"/>
                      <a:pt x="164" y="753"/>
                    </a:cubicBezTo>
                    <a:cubicBezTo>
                      <a:pt x="164" y="761"/>
                      <a:pt x="173" y="768"/>
                      <a:pt x="178" y="771"/>
                    </a:cubicBezTo>
                    <a:cubicBezTo>
                      <a:pt x="178" y="769"/>
                      <a:pt x="179" y="768"/>
                      <a:pt x="179" y="766"/>
                    </a:cubicBezTo>
                    <a:cubicBezTo>
                      <a:pt x="180" y="763"/>
                      <a:pt x="180" y="760"/>
                      <a:pt x="180" y="757"/>
                    </a:cubicBezTo>
                    <a:cubicBezTo>
                      <a:pt x="181" y="751"/>
                      <a:pt x="182" y="742"/>
                      <a:pt x="180" y="735"/>
                    </a:cubicBezTo>
                    <a:cubicBezTo>
                      <a:pt x="182" y="740"/>
                      <a:pt x="184" y="745"/>
                      <a:pt x="186" y="751"/>
                    </a:cubicBezTo>
                    <a:cubicBezTo>
                      <a:pt x="187" y="757"/>
                      <a:pt x="189" y="764"/>
                      <a:pt x="190" y="771"/>
                    </a:cubicBezTo>
                    <a:cubicBezTo>
                      <a:pt x="191" y="758"/>
                      <a:pt x="190" y="765"/>
                      <a:pt x="195" y="753"/>
                    </a:cubicBezTo>
                    <a:cubicBezTo>
                      <a:pt x="198" y="745"/>
                      <a:pt x="199" y="737"/>
                      <a:pt x="200" y="730"/>
                    </a:cubicBezTo>
                    <a:cubicBezTo>
                      <a:pt x="200" y="722"/>
                      <a:pt x="200" y="715"/>
                      <a:pt x="198" y="711"/>
                    </a:cubicBezTo>
                    <a:cubicBezTo>
                      <a:pt x="198" y="713"/>
                      <a:pt x="204" y="722"/>
                      <a:pt x="205" y="726"/>
                    </a:cubicBezTo>
                    <a:cubicBezTo>
                      <a:pt x="205" y="736"/>
                      <a:pt x="202" y="742"/>
                      <a:pt x="202" y="751"/>
                    </a:cubicBezTo>
                    <a:cubicBezTo>
                      <a:pt x="200" y="766"/>
                      <a:pt x="199" y="759"/>
                      <a:pt x="209" y="768"/>
                    </a:cubicBezTo>
                    <a:cubicBezTo>
                      <a:pt x="209" y="768"/>
                      <a:pt x="208" y="765"/>
                      <a:pt x="208" y="764"/>
                    </a:cubicBezTo>
                    <a:cubicBezTo>
                      <a:pt x="208" y="758"/>
                      <a:pt x="208" y="754"/>
                      <a:pt x="209" y="749"/>
                    </a:cubicBezTo>
                    <a:cubicBezTo>
                      <a:pt x="210" y="745"/>
                      <a:pt x="211" y="740"/>
                      <a:pt x="213" y="734"/>
                    </a:cubicBezTo>
                    <a:cubicBezTo>
                      <a:pt x="213" y="742"/>
                      <a:pt x="216" y="756"/>
                      <a:pt x="222" y="762"/>
                    </a:cubicBezTo>
                    <a:cubicBezTo>
                      <a:pt x="222" y="761"/>
                      <a:pt x="221" y="759"/>
                      <a:pt x="221" y="758"/>
                    </a:cubicBezTo>
                    <a:cubicBezTo>
                      <a:pt x="221" y="756"/>
                      <a:pt x="221" y="757"/>
                      <a:pt x="221" y="753"/>
                    </a:cubicBezTo>
                    <a:cubicBezTo>
                      <a:pt x="220" y="754"/>
                      <a:pt x="222" y="758"/>
                      <a:pt x="224" y="759"/>
                    </a:cubicBezTo>
                    <a:cubicBezTo>
                      <a:pt x="225" y="759"/>
                      <a:pt x="226" y="761"/>
                      <a:pt x="228" y="762"/>
                    </a:cubicBezTo>
                    <a:cubicBezTo>
                      <a:pt x="228" y="760"/>
                      <a:pt x="229" y="757"/>
                      <a:pt x="230" y="755"/>
                    </a:cubicBezTo>
                    <a:cubicBezTo>
                      <a:pt x="232" y="752"/>
                      <a:pt x="233" y="748"/>
                      <a:pt x="234" y="743"/>
                    </a:cubicBezTo>
                    <a:cubicBezTo>
                      <a:pt x="233" y="743"/>
                      <a:pt x="232" y="742"/>
                      <a:pt x="231" y="741"/>
                    </a:cubicBezTo>
                    <a:cubicBezTo>
                      <a:pt x="232" y="740"/>
                      <a:pt x="233" y="741"/>
                      <a:pt x="234" y="741"/>
                    </a:cubicBezTo>
                    <a:cubicBezTo>
                      <a:pt x="234" y="739"/>
                      <a:pt x="234" y="736"/>
                      <a:pt x="235" y="734"/>
                    </a:cubicBezTo>
                    <a:cubicBezTo>
                      <a:pt x="235" y="734"/>
                      <a:pt x="235" y="736"/>
                      <a:pt x="235" y="736"/>
                    </a:cubicBezTo>
                    <a:cubicBezTo>
                      <a:pt x="236" y="738"/>
                      <a:pt x="236" y="740"/>
                      <a:pt x="237" y="742"/>
                    </a:cubicBezTo>
                    <a:cubicBezTo>
                      <a:pt x="239" y="744"/>
                      <a:pt x="242" y="746"/>
                      <a:pt x="244" y="749"/>
                    </a:cubicBezTo>
                    <a:cubicBezTo>
                      <a:pt x="246" y="742"/>
                      <a:pt x="250" y="735"/>
                      <a:pt x="254" y="729"/>
                    </a:cubicBezTo>
                    <a:cubicBezTo>
                      <a:pt x="254" y="727"/>
                      <a:pt x="256" y="725"/>
                      <a:pt x="257" y="723"/>
                    </a:cubicBezTo>
                    <a:cubicBezTo>
                      <a:pt x="260" y="716"/>
                      <a:pt x="264" y="710"/>
                      <a:pt x="267" y="702"/>
                    </a:cubicBezTo>
                    <a:cubicBezTo>
                      <a:pt x="266" y="710"/>
                      <a:pt x="266" y="716"/>
                      <a:pt x="262" y="723"/>
                    </a:cubicBezTo>
                    <a:cubicBezTo>
                      <a:pt x="261" y="725"/>
                      <a:pt x="260" y="726"/>
                      <a:pt x="260" y="728"/>
                    </a:cubicBezTo>
                    <a:cubicBezTo>
                      <a:pt x="259" y="732"/>
                      <a:pt x="259" y="736"/>
                      <a:pt x="260" y="740"/>
                    </a:cubicBezTo>
                    <a:cubicBezTo>
                      <a:pt x="265" y="734"/>
                      <a:pt x="271" y="730"/>
                      <a:pt x="279" y="728"/>
                    </a:cubicBezTo>
                    <a:cubicBezTo>
                      <a:pt x="278" y="732"/>
                      <a:pt x="269" y="736"/>
                      <a:pt x="267" y="740"/>
                    </a:cubicBezTo>
                    <a:cubicBezTo>
                      <a:pt x="265" y="744"/>
                      <a:pt x="264" y="748"/>
                      <a:pt x="264" y="753"/>
                    </a:cubicBezTo>
                    <a:cubicBezTo>
                      <a:pt x="264" y="754"/>
                      <a:pt x="265" y="756"/>
                      <a:pt x="265" y="757"/>
                    </a:cubicBezTo>
                    <a:cubicBezTo>
                      <a:pt x="267" y="762"/>
                      <a:pt x="267" y="768"/>
                      <a:pt x="268" y="775"/>
                    </a:cubicBezTo>
                    <a:cubicBezTo>
                      <a:pt x="270" y="773"/>
                      <a:pt x="273" y="771"/>
                      <a:pt x="274" y="769"/>
                    </a:cubicBezTo>
                    <a:lnTo>
                      <a:pt x="274" y="769"/>
                    </a:lnTo>
                    <a:cubicBezTo>
                      <a:pt x="274" y="764"/>
                      <a:pt x="274" y="758"/>
                      <a:pt x="273" y="753"/>
                    </a:cubicBezTo>
                    <a:cubicBezTo>
                      <a:pt x="273" y="754"/>
                      <a:pt x="274" y="755"/>
                      <a:pt x="275" y="756"/>
                    </a:cubicBezTo>
                    <a:cubicBezTo>
                      <a:pt x="276" y="757"/>
                      <a:pt x="277" y="759"/>
                      <a:pt x="278" y="761"/>
                    </a:cubicBezTo>
                    <a:cubicBezTo>
                      <a:pt x="278" y="759"/>
                      <a:pt x="278" y="757"/>
                      <a:pt x="278" y="755"/>
                    </a:cubicBezTo>
                    <a:cubicBezTo>
                      <a:pt x="280" y="757"/>
                      <a:pt x="282" y="760"/>
                      <a:pt x="283" y="762"/>
                    </a:cubicBezTo>
                    <a:cubicBezTo>
                      <a:pt x="285" y="764"/>
                      <a:pt x="287" y="767"/>
                      <a:pt x="288" y="770"/>
                    </a:cubicBezTo>
                    <a:cubicBezTo>
                      <a:pt x="288" y="768"/>
                      <a:pt x="287" y="766"/>
                      <a:pt x="288" y="765"/>
                    </a:cubicBezTo>
                    <a:cubicBezTo>
                      <a:pt x="288" y="762"/>
                      <a:pt x="290" y="758"/>
                      <a:pt x="290" y="755"/>
                    </a:cubicBezTo>
                    <a:cubicBezTo>
                      <a:pt x="290" y="758"/>
                      <a:pt x="290" y="760"/>
                      <a:pt x="291" y="763"/>
                    </a:cubicBezTo>
                    <a:cubicBezTo>
                      <a:pt x="291" y="763"/>
                      <a:pt x="291" y="762"/>
                      <a:pt x="291" y="762"/>
                    </a:cubicBezTo>
                    <a:cubicBezTo>
                      <a:pt x="291" y="759"/>
                      <a:pt x="291" y="754"/>
                      <a:pt x="292" y="751"/>
                    </a:cubicBezTo>
                    <a:cubicBezTo>
                      <a:pt x="292" y="745"/>
                      <a:pt x="290" y="739"/>
                      <a:pt x="286" y="736"/>
                    </a:cubicBezTo>
                    <a:cubicBezTo>
                      <a:pt x="287" y="736"/>
                      <a:pt x="292" y="742"/>
                      <a:pt x="292" y="743"/>
                    </a:cubicBezTo>
                    <a:cubicBezTo>
                      <a:pt x="295" y="747"/>
                      <a:pt x="296" y="752"/>
                      <a:pt x="298" y="757"/>
                    </a:cubicBezTo>
                    <a:cubicBezTo>
                      <a:pt x="299" y="762"/>
                      <a:pt x="300" y="767"/>
                      <a:pt x="301" y="772"/>
                    </a:cubicBezTo>
                    <a:cubicBezTo>
                      <a:pt x="301" y="770"/>
                      <a:pt x="302" y="768"/>
                      <a:pt x="302" y="766"/>
                    </a:cubicBezTo>
                    <a:cubicBezTo>
                      <a:pt x="302" y="761"/>
                      <a:pt x="301" y="756"/>
                      <a:pt x="300" y="751"/>
                    </a:cubicBezTo>
                    <a:cubicBezTo>
                      <a:pt x="299" y="746"/>
                      <a:pt x="298" y="742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7" y="736"/>
                      <a:pt x="297" y="736"/>
                      <a:pt x="297" y="736"/>
                    </a:cubicBezTo>
                    <a:cubicBezTo>
                      <a:pt x="298" y="738"/>
                      <a:pt x="300" y="741"/>
                      <a:pt x="300" y="742"/>
                    </a:cubicBezTo>
                    <a:cubicBezTo>
                      <a:pt x="302" y="745"/>
                      <a:pt x="304" y="750"/>
                      <a:pt x="305" y="753"/>
                    </a:cubicBezTo>
                    <a:cubicBezTo>
                      <a:pt x="305" y="754"/>
                      <a:pt x="305" y="756"/>
                      <a:pt x="306" y="758"/>
                    </a:cubicBezTo>
                    <a:cubicBezTo>
                      <a:pt x="307" y="754"/>
                      <a:pt x="309" y="750"/>
                      <a:pt x="311" y="747"/>
                    </a:cubicBezTo>
                    <a:cubicBezTo>
                      <a:pt x="310" y="750"/>
                      <a:pt x="310" y="753"/>
                      <a:pt x="309" y="756"/>
                    </a:cubicBezTo>
                    <a:cubicBezTo>
                      <a:pt x="309" y="758"/>
                      <a:pt x="310" y="759"/>
                      <a:pt x="309" y="761"/>
                    </a:cubicBezTo>
                    <a:cubicBezTo>
                      <a:pt x="309" y="762"/>
                      <a:pt x="310" y="765"/>
                      <a:pt x="310" y="766"/>
                    </a:cubicBezTo>
                    <a:cubicBezTo>
                      <a:pt x="310" y="767"/>
                      <a:pt x="310" y="768"/>
                      <a:pt x="310" y="770"/>
                    </a:cubicBezTo>
                    <a:cubicBezTo>
                      <a:pt x="311" y="772"/>
                      <a:pt x="313" y="773"/>
                      <a:pt x="315" y="773"/>
                    </a:cubicBezTo>
                    <a:cubicBezTo>
                      <a:pt x="315" y="771"/>
                      <a:pt x="316" y="769"/>
                      <a:pt x="317" y="767"/>
                    </a:cubicBezTo>
                    <a:cubicBezTo>
                      <a:pt x="317" y="763"/>
                      <a:pt x="317" y="758"/>
                      <a:pt x="317" y="754"/>
                    </a:cubicBezTo>
                    <a:cubicBezTo>
                      <a:pt x="317" y="757"/>
                      <a:pt x="318" y="760"/>
                      <a:pt x="320" y="762"/>
                    </a:cubicBezTo>
                    <a:cubicBezTo>
                      <a:pt x="323" y="757"/>
                      <a:pt x="326" y="752"/>
                      <a:pt x="328" y="749"/>
                    </a:cubicBezTo>
                    <a:cubicBezTo>
                      <a:pt x="329" y="746"/>
                      <a:pt x="332" y="744"/>
                      <a:pt x="334" y="741"/>
                    </a:cubicBezTo>
                    <a:cubicBezTo>
                      <a:pt x="333" y="738"/>
                      <a:pt x="332" y="735"/>
                      <a:pt x="331" y="733"/>
                    </a:cubicBezTo>
                    <a:cubicBezTo>
                      <a:pt x="333" y="735"/>
                      <a:pt x="334" y="737"/>
                      <a:pt x="335" y="739"/>
                    </a:cubicBezTo>
                    <a:cubicBezTo>
                      <a:pt x="339" y="734"/>
                      <a:pt x="343" y="729"/>
                      <a:pt x="344" y="723"/>
                    </a:cubicBezTo>
                    <a:cubicBezTo>
                      <a:pt x="343" y="730"/>
                      <a:pt x="340" y="736"/>
                      <a:pt x="337" y="742"/>
                    </a:cubicBezTo>
                    <a:cubicBezTo>
                      <a:pt x="339" y="747"/>
                      <a:pt x="340" y="751"/>
                      <a:pt x="341" y="756"/>
                    </a:cubicBezTo>
                    <a:cubicBezTo>
                      <a:pt x="342" y="761"/>
                      <a:pt x="342" y="766"/>
                      <a:pt x="343" y="771"/>
                    </a:cubicBezTo>
                    <a:cubicBezTo>
                      <a:pt x="343" y="765"/>
                      <a:pt x="344" y="760"/>
                      <a:pt x="345" y="755"/>
                    </a:cubicBezTo>
                    <a:cubicBezTo>
                      <a:pt x="345" y="751"/>
                      <a:pt x="346" y="746"/>
                      <a:pt x="348" y="740"/>
                    </a:cubicBezTo>
                    <a:cubicBezTo>
                      <a:pt x="350" y="733"/>
                      <a:pt x="352" y="727"/>
                      <a:pt x="353" y="722"/>
                    </a:cubicBezTo>
                    <a:cubicBezTo>
                      <a:pt x="353" y="718"/>
                      <a:pt x="353" y="713"/>
                      <a:pt x="349" y="709"/>
                    </a:cubicBezTo>
                    <a:cubicBezTo>
                      <a:pt x="361" y="709"/>
                      <a:pt x="358" y="729"/>
                      <a:pt x="357" y="737"/>
                    </a:cubicBezTo>
                    <a:cubicBezTo>
                      <a:pt x="357" y="745"/>
                      <a:pt x="355" y="750"/>
                      <a:pt x="355" y="755"/>
                    </a:cubicBezTo>
                    <a:cubicBezTo>
                      <a:pt x="355" y="760"/>
                      <a:pt x="357" y="764"/>
                      <a:pt x="362" y="769"/>
                    </a:cubicBezTo>
                    <a:cubicBezTo>
                      <a:pt x="362" y="768"/>
                      <a:pt x="361" y="765"/>
                      <a:pt x="361" y="764"/>
                    </a:cubicBezTo>
                    <a:cubicBezTo>
                      <a:pt x="361" y="758"/>
                      <a:pt x="361" y="754"/>
                      <a:pt x="362" y="750"/>
                    </a:cubicBezTo>
                    <a:cubicBezTo>
                      <a:pt x="363" y="745"/>
                      <a:pt x="364" y="741"/>
                      <a:pt x="366" y="7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" name="Freeform 37">
                <a:extLst>
                  <a:ext uri="{FF2B5EF4-FFF2-40B4-BE49-F238E27FC236}">
                    <a16:creationId xmlns:a16="http://schemas.microsoft.com/office/drawing/2014/main" id="{00102713-F80D-F298-E6AA-448368E984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7156" y="3934013"/>
                <a:ext cx="1810" cy="3620"/>
              </a:xfrm>
              <a:custGeom>
                <a:avLst/>
                <a:gdLst>
                  <a:gd name="T0" fmla="*/ 2 w 3"/>
                  <a:gd name="T1" fmla="*/ 0 h 12"/>
                  <a:gd name="T2" fmla="*/ 0 w 3"/>
                  <a:gd name="T3" fmla="*/ 12 h 12"/>
                  <a:gd name="T4" fmla="*/ 3 w 3"/>
                  <a:gd name="T5" fmla="*/ 6 h 12"/>
                  <a:gd name="T6" fmla="*/ 3 w 3"/>
                  <a:gd name="T7" fmla="*/ 5 h 12"/>
                  <a:gd name="T8" fmla="*/ 2 w 3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2">
                    <a:moveTo>
                      <a:pt x="2" y="0"/>
                    </a:moveTo>
                    <a:cubicBezTo>
                      <a:pt x="2" y="4"/>
                      <a:pt x="1" y="7"/>
                      <a:pt x="0" y="12"/>
                    </a:cubicBezTo>
                    <a:cubicBezTo>
                      <a:pt x="0" y="11"/>
                      <a:pt x="2" y="8"/>
                      <a:pt x="3" y="6"/>
                    </a:cubicBezTo>
                    <a:cubicBezTo>
                      <a:pt x="3" y="6"/>
                      <a:pt x="3" y="5"/>
                      <a:pt x="3" y="5"/>
                    </a:cubicBezTo>
                    <a:cubicBezTo>
                      <a:pt x="3" y="3"/>
                      <a:pt x="3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" name="Freeform 38">
                <a:extLst>
                  <a:ext uri="{FF2B5EF4-FFF2-40B4-BE49-F238E27FC236}">
                    <a16:creationId xmlns:a16="http://schemas.microsoft.com/office/drawing/2014/main" id="{C85F8C66-56B6-BE49-E2E5-0ED4508BE1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1726" y="3934013"/>
                <a:ext cx="1810" cy="5430"/>
              </a:xfrm>
              <a:custGeom>
                <a:avLst/>
                <a:gdLst>
                  <a:gd name="T0" fmla="*/ 0 w 5"/>
                  <a:gd name="T1" fmla="*/ 0 h 14"/>
                  <a:gd name="T2" fmla="*/ 3 w 5"/>
                  <a:gd name="T3" fmla="*/ 14 h 14"/>
                  <a:gd name="T4" fmla="*/ 5 w 5"/>
                  <a:gd name="T5" fmla="*/ 6 h 14"/>
                  <a:gd name="T6" fmla="*/ 0 w 5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4">
                    <a:moveTo>
                      <a:pt x="0" y="0"/>
                    </a:moveTo>
                    <a:cubicBezTo>
                      <a:pt x="1" y="4"/>
                      <a:pt x="2" y="9"/>
                      <a:pt x="3" y="14"/>
                    </a:cubicBezTo>
                    <a:cubicBezTo>
                      <a:pt x="4" y="11"/>
                      <a:pt x="4" y="9"/>
                      <a:pt x="5" y="6"/>
                    </a:cubicBezTo>
                    <a:cubicBezTo>
                      <a:pt x="4" y="4"/>
                      <a:pt x="2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" name="Freeform 39">
                <a:extLst>
                  <a:ext uri="{FF2B5EF4-FFF2-40B4-BE49-F238E27FC236}">
                    <a16:creationId xmlns:a16="http://schemas.microsoft.com/office/drawing/2014/main" id="{169DC683-33DE-75F3-83BA-CE7F9156A0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1051" y="393220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" name="Freeform 40">
                <a:extLst>
                  <a:ext uri="{FF2B5EF4-FFF2-40B4-BE49-F238E27FC236}">
                    <a16:creationId xmlns:a16="http://schemas.microsoft.com/office/drawing/2014/main" id="{D0FB1E34-6293-E0C4-CB40-EA2DC4A063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2861" y="3934013"/>
                <a:ext cx="0" cy="0"/>
              </a:xfrm>
              <a:custGeom>
                <a:avLst/>
                <a:gdLst>
                  <a:gd name="T0" fmla="*/ 0 w 1"/>
                  <a:gd name="T1" fmla="*/ 1 w 1"/>
                  <a:gd name="T2" fmla="*/ 1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" name="Freeform 41">
                <a:extLst>
                  <a:ext uri="{FF2B5EF4-FFF2-40B4-BE49-F238E27FC236}">
                    <a16:creationId xmlns:a16="http://schemas.microsoft.com/office/drawing/2014/main" id="{837E03C4-DAA6-9F8C-0E78-C1491BB6E1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37923" y="3932203"/>
                <a:ext cx="3620" cy="10859"/>
              </a:xfrm>
              <a:custGeom>
                <a:avLst/>
                <a:gdLst>
                  <a:gd name="T0" fmla="*/ 9 w 10"/>
                  <a:gd name="T1" fmla="*/ 11 h 24"/>
                  <a:gd name="T2" fmla="*/ 10 w 10"/>
                  <a:gd name="T3" fmla="*/ 0 h 24"/>
                  <a:gd name="T4" fmla="*/ 0 w 10"/>
                  <a:gd name="T5" fmla="*/ 21 h 24"/>
                  <a:gd name="T6" fmla="*/ 6 w 10"/>
                  <a:gd name="T7" fmla="*/ 24 h 24"/>
                  <a:gd name="T8" fmla="*/ 7 w 10"/>
                  <a:gd name="T9" fmla="*/ 20 h 24"/>
                  <a:gd name="T10" fmla="*/ 9 w 10"/>
                  <a:gd name="T11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4">
                    <a:moveTo>
                      <a:pt x="9" y="11"/>
                    </a:moveTo>
                    <a:cubicBezTo>
                      <a:pt x="10" y="8"/>
                      <a:pt x="10" y="4"/>
                      <a:pt x="10" y="0"/>
                    </a:cubicBezTo>
                    <a:cubicBezTo>
                      <a:pt x="6" y="7"/>
                      <a:pt x="2" y="14"/>
                      <a:pt x="0" y="21"/>
                    </a:cubicBezTo>
                    <a:cubicBezTo>
                      <a:pt x="2" y="23"/>
                      <a:pt x="4" y="24"/>
                      <a:pt x="6" y="24"/>
                    </a:cubicBezTo>
                    <a:cubicBezTo>
                      <a:pt x="6" y="22"/>
                      <a:pt x="7" y="22"/>
                      <a:pt x="7" y="20"/>
                    </a:cubicBezTo>
                    <a:cubicBezTo>
                      <a:pt x="7" y="17"/>
                      <a:pt x="9" y="14"/>
                      <a:pt x="9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3" name="Freeform 42">
                <a:extLst>
                  <a:ext uri="{FF2B5EF4-FFF2-40B4-BE49-F238E27FC236}">
                    <a16:creationId xmlns:a16="http://schemas.microsoft.com/office/drawing/2014/main" id="{7B60766E-2FB2-9CEB-4AC3-CD22FB143B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29360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4" name="Freeform 43">
                <a:extLst>
                  <a:ext uri="{FF2B5EF4-FFF2-40B4-BE49-F238E27FC236}">
                    <a16:creationId xmlns:a16="http://schemas.microsoft.com/office/drawing/2014/main" id="{B03F1811-EC4E-6BFC-122F-0A9089E6DA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56048" y="4004596"/>
                <a:ext cx="54295" cy="74204"/>
              </a:xfrm>
              <a:custGeom>
                <a:avLst/>
                <a:gdLst>
                  <a:gd name="T0" fmla="*/ 84 w 130"/>
                  <a:gd name="T1" fmla="*/ 181 h 181"/>
                  <a:gd name="T2" fmla="*/ 84 w 130"/>
                  <a:gd name="T3" fmla="*/ 33 h 181"/>
                  <a:gd name="T4" fmla="*/ 130 w 130"/>
                  <a:gd name="T5" fmla="*/ 33 h 181"/>
                  <a:gd name="T6" fmla="*/ 130 w 130"/>
                  <a:gd name="T7" fmla="*/ 0 h 181"/>
                  <a:gd name="T8" fmla="*/ 0 w 130"/>
                  <a:gd name="T9" fmla="*/ 0 h 181"/>
                  <a:gd name="T10" fmla="*/ 0 w 130"/>
                  <a:gd name="T11" fmla="*/ 33 h 181"/>
                  <a:gd name="T12" fmla="*/ 45 w 130"/>
                  <a:gd name="T13" fmla="*/ 33 h 181"/>
                  <a:gd name="T14" fmla="*/ 45 w 130"/>
                  <a:gd name="T15" fmla="*/ 181 h 181"/>
                  <a:gd name="T16" fmla="*/ 84 w 130"/>
                  <a:gd name="T17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0" h="181">
                    <a:moveTo>
                      <a:pt x="84" y="181"/>
                    </a:moveTo>
                    <a:lnTo>
                      <a:pt x="84" y="33"/>
                    </a:lnTo>
                    <a:lnTo>
                      <a:pt x="130" y="33"/>
                    </a:lnTo>
                    <a:lnTo>
                      <a:pt x="130" y="0"/>
                    </a:lnTo>
                    <a:lnTo>
                      <a:pt x="0" y="0"/>
                    </a:lnTo>
                    <a:lnTo>
                      <a:pt x="0" y="33"/>
                    </a:lnTo>
                    <a:lnTo>
                      <a:pt x="45" y="33"/>
                    </a:lnTo>
                    <a:lnTo>
                      <a:pt x="45" y="181"/>
                    </a:lnTo>
                    <a:lnTo>
                      <a:pt x="84" y="1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5" name="Freeform 44">
                <a:extLst>
                  <a:ext uri="{FF2B5EF4-FFF2-40B4-BE49-F238E27FC236}">
                    <a16:creationId xmlns:a16="http://schemas.microsoft.com/office/drawing/2014/main" id="{BFE775B3-8083-006F-AF18-0C6E866D6ED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81844" y="4002787"/>
                <a:ext cx="61534" cy="77823"/>
              </a:xfrm>
              <a:custGeom>
                <a:avLst/>
                <a:gdLst>
                  <a:gd name="T0" fmla="*/ 76 w 150"/>
                  <a:gd name="T1" fmla="*/ 154 h 187"/>
                  <a:gd name="T2" fmla="*/ 40 w 150"/>
                  <a:gd name="T3" fmla="*/ 92 h 187"/>
                  <a:gd name="T4" fmla="*/ 74 w 150"/>
                  <a:gd name="T5" fmla="*/ 33 h 187"/>
                  <a:gd name="T6" fmla="*/ 109 w 150"/>
                  <a:gd name="T7" fmla="*/ 95 h 187"/>
                  <a:gd name="T8" fmla="*/ 76 w 150"/>
                  <a:gd name="T9" fmla="*/ 154 h 187"/>
                  <a:gd name="T10" fmla="*/ 76 w 150"/>
                  <a:gd name="T11" fmla="*/ 0 h 187"/>
                  <a:gd name="T12" fmla="*/ 0 w 150"/>
                  <a:gd name="T13" fmla="*/ 95 h 187"/>
                  <a:gd name="T14" fmla="*/ 74 w 150"/>
                  <a:gd name="T15" fmla="*/ 187 h 187"/>
                  <a:gd name="T16" fmla="*/ 150 w 150"/>
                  <a:gd name="T17" fmla="*/ 93 h 187"/>
                  <a:gd name="T18" fmla="*/ 76 w 150"/>
                  <a:gd name="T1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0" h="187">
                    <a:moveTo>
                      <a:pt x="76" y="154"/>
                    </a:moveTo>
                    <a:cubicBezTo>
                      <a:pt x="54" y="154"/>
                      <a:pt x="40" y="138"/>
                      <a:pt x="40" y="92"/>
                    </a:cubicBezTo>
                    <a:cubicBezTo>
                      <a:pt x="40" y="47"/>
                      <a:pt x="54" y="33"/>
                      <a:pt x="74" y="33"/>
                    </a:cubicBezTo>
                    <a:cubicBezTo>
                      <a:pt x="96" y="33"/>
                      <a:pt x="109" y="49"/>
                      <a:pt x="109" y="95"/>
                    </a:cubicBezTo>
                    <a:cubicBezTo>
                      <a:pt x="109" y="139"/>
                      <a:pt x="97" y="154"/>
                      <a:pt x="76" y="154"/>
                    </a:cubicBezTo>
                    <a:close/>
                    <a:moveTo>
                      <a:pt x="76" y="0"/>
                    </a:moveTo>
                    <a:cubicBezTo>
                      <a:pt x="32" y="0"/>
                      <a:pt x="0" y="29"/>
                      <a:pt x="0" y="95"/>
                    </a:cubicBezTo>
                    <a:cubicBezTo>
                      <a:pt x="0" y="163"/>
                      <a:pt x="28" y="187"/>
                      <a:pt x="74" y="187"/>
                    </a:cubicBezTo>
                    <a:cubicBezTo>
                      <a:pt x="118" y="187"/>
                      <a:pt x="150" y="159"/>
                      <a:pt x="150" y="93"/>
                    </a:cubicBezTo>
                    <a:cubicBezTo>
                      <a:pt x="150" y="25"/>
                      <a:pt x="121" y="0"/>
                      <a:pt x="7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6" name="Freeform 45">
                <a:extLst>
                  <a:ext uri="{FF2B5EF4-FFF2-40B4-BE49-F238E27FC236}">
                    <a16:creationId xmlns:a16="http://schemas.microsoft.com/office/drawing/2014/main" id="{358AA208-8407-8B93-3BE7-D4CD53AB8DB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407642" y="4004596"/>
                <a:ext cx="54295" cy="74204"/>
              </a:xfrm>
              <a:custGeom>
                <a:avLst/>
                <a:gdLst>
                  <a:gd name="T0" fmla="*/ 66 w 132"/>
                  <a:gd name="T1" fmla="*/ 149 h 181"/>
                  <a:gd name="T2" fmla="*/ 39 w 132"/>
                  <a:gd name="T3" fmla="*/ 149 h 181"/>
                  <a:gd name="T4" fmla="*/ 39 w 132"/>
                  <a:gd name="T5" fmla="*/ 105 h 181"/>
                  <a:gd name="T6" fmla="*/ 64 w 132"/>
                  <a:gd name="T7" fmla="*/ 105 h 181"/>
                  <a:gd name="T8" fmla="*/ 92 w 132"/>
                  <a:gd name="T9" fmla="*/ 127 h 181"/>
                  <a:gd name="T10" fmla="*/ 66 w 132"/>
                  <a:gd name="T11" fmla="*/ 149 h 181"/>
                  <a:gd name="T12" fmla="*/ 39 w 132"/>
                  <a:gd name="T13" fmla="*/ 33 h 181"/>
                  <a:gd name="T14" fmla="*/ 60 w 132"/>
                  <a:gd name="T15" fmla="*/ 33 h 181"/>
                  <a:gd name="T16" fmla="*/ 85 w 132"/>
                  <a:gd name="T17" fmla="*/ 52 h 181"/>
                  <a:gd name="T18" fmla="*/ 59 w 132"/>
                  <a:gd name="T19" fmla="*/ 73 h 181"/>
                  <a:gd name="T20" fmla="*/ 39 w 132"/>
                  <a:gd name="T21" fmla="*/ 73 h 181"/>
                  <a:gd name="T22" fmla="*/ 39 w 132"/>
                  <a:gd name="T23" fmla="*/ 33 h 181"/>
                  <a:gd name="T24" fmla="*/ 97 w 132"/>
                  <a:gd name="T25" fmla="*/ 86 h 181"/>
                  <a:gd name="T26" fmla="*/ 97 w 132"/>
                  <a:gd name="T27" fmla="*/ 85 h 181"/>
                  <a:gd name="T28" fmla="*/ 123 w 132"/>
                  <a:gd name="T29" fmla="*/ 47 h 181"/>
                  <a:gd name="T30" fmla="*/ 65 w 132"/>
                  <a:gd name="T31" fmla="*/ 0 h 181"/>
                  <a:gd name="T32" fmla="*/ 0 w 132"/>
                  <a:gd name="T33" fmla="*/ 0 h 181"/>
                  <a:gd name="T34" fmla="*/ 0 w 132"/>
                  <a:gd name="T35" fmla="*/ 181 h 181"/>
                  <a:gd name="T36" fmla="*/ 60 w 132"/>
                  <a:gd name="T37" fmla="*/ 181 h 181"/>
                  <a:gd name="T38" fmla="*/ 132 w 132"/>
                  <a:gd name="T39" fmla="*/ 126 h 181"/>
                  <a:gd name="T40" fmla="*/ 97 w 132"/>
                  <a:gd name="T41" fmla="*/ 86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2" h="181">
                    <a:moveTo>
                      <a:pt x="66" y="149"/>
                    </a:moveTo>
                    <a:lnTo>
                      <a:pt x="39" y="149"/>
                    </a:lnTo>
                    <a:lnTo>
                      <a:pt x="39" y="105"/>
                    </a:lnTo>
                    <a:lnTo>
                      <a:pt x="64" y="105"/>
                    </a:lnTo>
                    <a:cubicBezTo>
                      <a:pt x="79" y="105"/>
                      <a:pt x="92" y="111"/>
                      <a:pt x="92" y="127"/>
                    </a:cubicBezTo>
                    <a:cubicBezTo>
                      <a:pt x="92" y="137"/>
                      <a:pt x="86" y="149"/>
                      <a:pt x="66" y="149"/>
                    </a:cubicBezTo>
                    <a:close/>
                    <a:moveTo>
                      <a:pt x="39" y="33"/>
                    </a:moveTo>
                    <a:lnTo>
                      <a:pt x="60" y="33"/>
                    </a:lnTo>
                    <a:cubicBezTo>
                      <a:pt x="79" y="33"/>
                      <a:pt x="85" y="41"/>
                      <a:pt x="85" y="52"/>
                    </a:cubicBezTo>
                    <a:cubicBezTo>
                      <a:pt x="85" y="63"/>
                      <a:pt x="78" y="73"/>
                      <a:pt x="59" y="73"/>
                    </a:cubicBezTo>
                    <a:lnTo>
                      <a:pt x="39" y="73"/>
                    </a:lnTo>
                    <a:lnTo>
                      <a:pt x="39" y="33"/>
                    </a:lnTo>
                    <a:close/>
                    <a:moveTo>
                      <a:pt x="97" y="86"/>
                    </a:moveTo>
                    <a:lnTo>
                      <a:pt x="97" y="85"/>
                    </a:lnTo>
                    <a:cubicBezTo>
                      <a:pt x="111" y="80"/>
                      <a:pt x="123" y="67"/>
                      <a:pt x="123" y="47"/>
                    </a:cubicBezTo>
                    <a:cubicBezTo>
                      <a:pt x="123" y="10"/>
                      <a:pt x="97" y="0"/>
                      <a:pt x="65" y="0"/>
                    </a:cubicBezTo>
                    <a:lnTo>
                      <a:pt x="0" y="0"/>
                    </a:lnTo>
                    <a:lnTo>
                      <a:pt x="0" y="181"/>
                    </a:lnTo>
                    <a:lnTo>
                      <a:pt x="60" y="181"/>
                    </a:lnTo>
                    <a:cubicBezTo>
                      <a:pt x="120" y="181"/>
                      <a:pt x="132" y="149"/>
                      <a:pt x="132" y="126"/>
                    </a:cubicBezTo>
                    <a:cubicBezTo>
                      <a:pt x="132" y="100"/>
                      <a:pt x="114" y="88"/>
                      <a:pt x="9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7" name="Freeform 46">
                <a:extLst>
                  <a:ext uri="{FF2B5EF4-FFF2-40B4-BE49-F238E27FC236}">
                    <a16:creationId xmlns:a16="http://schemas.microsoft.com/office/drawing/2014/main" id="{B9A4E418-5F19-A9D8-41DA-D990C09DBB1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7182" y="4104138"/>
                <a:ext cx="30768" cy="39816"/>
              </a:xfrm>
              <a:custGeom>
                <a:avLst/>
                <a:gdLst>
                  <a:gd name="T0" fmla="*/ 53 w 74"/>
                  <a:gd name="T1" fmla="*/ 61 h 97"/>
                  <a:gd name="T2" fmla="*/ 38 w 74"/>
                  <a:gd name="T3" fmla="*/ 80 h 97"/>
                  <a:gd name="T4" fmla="*/ 21 w 74"/>
                  <a:gd name="T5" fmla="*/ 59 h 97"/>
                  <a:gd name="T6" fmla="*/ 21 w 74"/>
                  <a:gd name="T7" fmla="*/ 0 h 97"/>
                  <a:gd name="T8" fmla="*/ 0 w 74"/>
                  <a:gd name="T9" fmla="*/ 0 h 97"/>
                  <a:gd name="T10" fmla="*/ 0 w 74"/>
                  <a:gd name="T11" fmla="*/ 63 h 97"/>
                  <a:gd name="T12" fmla="*/ 35 w 74"/>
                  <a:gd name="T13" fmla="*/ 97 h 97"/>
                  <a:gd name="T14" fmla="*/ 74 w 74"/>
                  <a:gd name="T15" fmla="*/ 58 h 97"/>
                  <a:gd name="T16" fmla="*/ 74 w 74"/>
                  <a:gd name="T17" fmla="*/ 0 h 97"/>
                  <a:gd name="T18" fmla="*/ 53 w 74"/>
                  <a:gd name="T19" fmla="*/ 0 h 97"/>
                  <a:gd name="T20" fmla="*/ 53 w 74"/>
                  <a:gd name="T21" fmla="*/ 61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4" h="97">
                    <a:moveTo>
                      <a:pt x="53" y="61"/>
                    </a:moveTo>
                    <a:cubicBezTo>
                      <a:pt x="53" y="74"/>
                      <a:pt x="48" y="80"/>
                      <a:pt x="38" y="80"/>
                    </a:cubicBezTo>
                    <a:cubicBezTo>
                      <a:pt x="26" y="80"/>
                      <a:pt x="21" y="72"/>
                      <a:pt x="21" y="59"/>
                    </a:cubicBezTo>
                    <a:lnTo>
                      <a:pt x="21" y="0"/>
                    </a:lnTo>
                    <a:lnTo>
                      <a:pt x="0" y="0"/>
                    </a:lnTo>
                    <a:lnTo>
                      <a:pt x="0" y="63"/>
                    </a:lnTo>
                    <a:cubicBezTo>
                      <a:pt x="0" y="82"/>
                      <a:pt x="10" y="97"/>
                      <a:pt x="35" y="97"/>
                    </a:cubicBezTo>
                    <a:cubicBezTo>
                      <a:pt x="56" y="97"/>
                      <a:pt x="74" y="87"/>
                      <a:pt x="74" y="58"/>
                    </a:cubicBezTo>
                    <a:lnTo>
                      <a:pt x="74" y="0"/>
                    </a:lnTo>
                    <a:lnTo>
                      <a:pt x="53" y="0"/>
                    </a:lnTo>
                    <a:lnTo>
                      <a:pt x="53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8" name="Freeform 47">
                <a:extLst>
                  <a:ext uri="{FF2B5EF4-FFF2-40B4-BE49-F238E27FC236}">
                    <a16:creationId xmlns:a16="http://schemas.microsoft.com/office/drawing/2014/main" id="{6F804DAF-A807-D21E-F2BF-2D84AC61AB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9176" y="4104138"/>
                <a:ext cx="28957" cy="39816"/>
              </a:xfrm>
              <a:custGeom>
                <a:avLst/>
                <a:gdLst>
                  <a:gd name="T0" fmla="*/ 26 w 69"/>
                  <a:gd name="T1" fmla="*/ 26 h 98"/>
                  <a:gd name="T2" fmla="*/ 36 w 69"/>
                  <a:gd name="T3" fmla="*/ 18 h 98"/>
                  <a:gd name="T4" fmla="*/ 54 w 69"/>
                  <a:gd name="T5" fmla="*/ 27 h 98"/>
                  <a:gd name="T6" fmla="*/ 67 w 69"/>
                  <a:gd name="T7" fmla="*/ 11 h 98"/>
                  <a:gd name="T8" fmla="*/ 38 w 69"/>
                  <a:gd name="T9" fmla="*/ 0 h 98"/>
                  <a:gd name="T10" fmla="*/ 4 w 69"/>
                  <a:gd name="T11" fmla="*/ 28 h 98"/>
                  <a:gd name="T12" fmla="*/ 48 w 69"/>
                  <a:gd name="T13" fmla="*/ 71 h 98"/>
                  <a:gd name="T14" fmla="*/ 36 w 69"/>
                  <a:gd name="T15" fmla="*/ 81 h 98"/>
                  <a:gd name="T16" fmla="*/ 12 w 69"/>
                  <a:gd name="T17" fmla="*/ 69 h 98"/>
                  <a:gd name="T18" fmla="*/ 0 w 69"/>
                  <a:gd name="T19" fmla="*/ 86 h 98"/>
                  <a:gd name="T20" fmla="*/ 33 w 69"/>
                  <a:gd name="T21" fmla="*/ 98 h 98"/>
                  <a:gd name="T22" fmla="*/ 69 w 69"/>
                  <a:gd name="T23" fmla="*/ 70 h 98"/>
                  <a:gd name="T24" fmla="*/ 26 w 69"/>
                  <a:gd name="T25" fmla="*/ 2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98">
                    <a:moveTo>
                      <a:pt x="26" y="26"/>
                    </a:moveTo>
                    <a:cubicBezTo>
                      <a:pt x="26" y="22"/>
                      <a:pt x="29" y="18"/>
                      <a:pt x="36" y="18"/>
                    </a:cubicBezTo>
                    <a:cubicBezTo>
                      <a:pt x="46" y="18"/>
                      <a:pt x="52" y="24"/>
                      <a:pt x="54" y="27"/>
                    </a:cubicBezTo>
                    <a:lnTo>
                      <a:pt x="67" y="11"/>
                    </a:lnTo>
                    <a:cubicBezTo>
                      <a:pt x="64" y="7"/>
                      <a:pt x="54" y="0"/>
                      <a:pt x="38" y="0"/>
                    </a:cubicBezTo>
                    <a:cubicBezTo>
                      <a:pt x="18" y="0"/>
                      <a:pt x="4" y="12"/>
                      <a:pt x="4" y="28"/>
                    </a:cubicBezTo>
                    <a:cubicBezTo>
                      <a:pt x="4" y="58"/>
                      <a:pt x="48" y="56"/>
                      <a:pt x="48" y="71"/>
                    </a:cubicBezTo>
                    <a:cubicBezTo>
                      <a:pt x="48" y="76"/>
                      <a:pt x="44" y="81"/>
                      <a:pt x="36" y="81"/>
                    </a:cubicBezTo>
                    <a:cubicBezTo>
                      <a:pt x="24" y="81"/>
                      <a:pt x="16" y="73"/>
                      <a:pt x="12" y="69"/>
                    </a:cubicBezTo>
                    <a:lnTo>
                      <a:pt x="0" y="86"/>
                    </a:lnTo>
                    <a:cubicBezTo>
                      <a:pt x="4" y="90"/>
                      <a:pt x="15" y="98"/>
                      <a:pt x="33" y="98"/>
                    </a:cubicBezTo>
                    <a:cubicBezTo>
                      <a:pt x="58" y="98"/>
                      <a:pt x="69" y="84"/>
                      <a:pt x="69" y="70"/>
                    </a:cubicBezTo>
                    <a:cubicBezTo>
                      <a:pt x="69" y="40"/>
                      <a:pt x="26" y="42"/>
                      <a:pt x="2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9" name="Freeform 48">
                <a:extLst>
                  <a:ext uri="{FF2B5EF4-FFF2-40B4-BE49-F238E27FC236}">
                    <a16:creationId xmlns:a16="http://schemas.microsoft.com/office/drawing/2014/main" id="{BBDA6C6F-E7EB-C01D-7266-8D0F1393217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83628" y="4104138"/>
                <a:ext cx="27148" cy="39816"/>
              </a:xfrm>
              <a:custGeom>
                <a:avLst/>
                <a:gdLst>
                  <a:gd name="T0" fmla="*/ 27 w 66"/>
                  <a:gd name="T1" fmla="*/ 45 h 96"/>
                  <a:gd name="T2" fmla="*/ 21 w 66"/>
                  <a:gd name="T3" fmla="*/ 45 h 96"/>
                  <a:gd name="T4" fmla="*/ 21 w 66"/>
                  <a:gd name="T5" fmla="*/ 18 h 96"/>
                  <a:gd name="T6" fmla="*/ 29 w 66"/>
                  <a:gd name="T7" fmla="*/ 18 h 96"/>
                  <a:gd name="T8" fmla="*/ 44 w 66"/>
                  <a:gd name="T9" fmla="*/ 31 h 96"/>
                  <a:gd name="T10" fmla="*/ 27 w 66"/>
                  <a:gd name="T11" fmla="*/ 45 h 96"/>
                  <a:gd name="T12" fmla="*/ 32 w 66"/>
                  <a:gd name="T13" fmla="*/ 0 h 96"/>
                  <a:gd name="T14" fmla="*/ 0 w 66"/>
                  <a:gd name="T15" fmla="*/ 0 h 96"/>
                  <a:gd name="T16" fmla="*/ 0 w 66"/>
                  <a:gd name="T17" fmla="*/ 96 h 96"/>
                  <a:gd name="T18" fmla="*/ 21 w 66"/>
                  <a:gd name="T19" fmla="*/ 96 h 96"/>
                  <a:gd name="T20" fmla="*/ 21 w 66"/>
                  <a:gd name="T21" fmla="*/ 62 h 96"/>
                  <a:gd name="T22" fmla="*/ 29 w 66"/>
                  <a:gd name="T23" fmla="*/ 62 h 96"/>
                  <a:gd name="T24" fmla="*/ 66 w 66"/>
                  <a:gd name="T25" fmla="*/ 29 h 96"/>
                  <a:gd name="T26" fmla="*/ 32 w 66"/>
                  <a:gd name="T27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6" h="96">
                    <a:moveTo>
                      <a:pt x="27" y="45"/>
                    </a:moveTo>
                    <a:lnTo>
                      <a:pt x="21" y="45"/>
                    </a:lnTo>
                    <a:lnTo>
                      <a:pt x="21" y="18"/>
                    </a:lnTo>
                    <a:lnTo>
                      <a:pt x="29" y="18"/>
                    </a:lnTo>
                    <a:cubicBezTo>
                      <a:pt x="40" y="18"/>
                      <a:pt x="44" y="22"/>
                      <a:pt x="44" y="31"/>
                    </a:cubicBezTo>
                    <a:cubicBezTo>
                      <a:pt x="44" y="39"/>
                      <a:pt x="41" y="45"/>
                      <a:pt x="27" y="45"/>
                    </a:cubicBezTo>
                    <a:close/>
                    <a:moveTo>
                      <a:pt x="32" y="0"/>
                    </a:move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2"/>
                    </a:lnTo>
                    <a:lnTo>
                      <a:pt x="29" y="62"/>
                    </a:lnTo>
                    <a:cubicBezTo>
                      <a:pt x="57" y="62"/>
                      <a:pt x="66" y="46"/>
                      <a:pt x="66" y="29"/>
                    </a:cubicBezTo>
                    <a:cubicBezTo>
                      <a:pt x="66" y="7"/>
                      <a:pt x="52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0" name="Freeform 49">
                <a:extLst>
                  <a:ext uri="{FF2B5EF4-FFF2-40B4-BE49-F238E27FC236}">
                    <a16:creationId xmlns:a16="http://schemas.microsoft.com/office/drawing/2014/main" id="{182408B5-AC66-562D-1917-68D4F7CCB2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31143" y="4104138"/>
                <a:ext cx="39816" cy="39816"/>
              </a:xfrm>
              <a:custGeom>
                <a:avLst/>
                <a:gdLst>
                  <a:gd name="T0" fmla="*/ 51 w 100"/>
                  <a:gd name="T1" fmla="*/ 52 h 96"/>
                  <a:gd name="T2" fmla="*/ 50 w 100"/>
                  <a:gd name="T3" fmla="*/ 52 h 96"/>
                  <a:gd name="T4" fmla="*/ 32 w 100"/>
                  <a:gd name="T5" fmla="*/ 0 h 96"/>
                  <a:gd name="T6" fmla="*/ 0 w 100"/>
                  <a:gd name="T7" fmla="*/ 0 h 96"/>
                  <a:gd name="T8" fmla="*/ 0 w 100"/>
                  <a:gd name="T9" fmla="*/ 96 h 96"/>
                  <a:gd name="T10" fmla="*/ 19 w 100"/>
                  <a:gd name="T11" fmla="*/ 96 h 96"/>
                  <a:gd name="T12" fmla="*/ 19 w 100"/>
                  <a:gd name="T13" fmla="*/ 25 h 96"/>
                  <a:gd name="T14" fmla="*/ 20 w 100"/>
                  <a:gd name="T15" fmla="*/ 25 h 96"/>
                  <a:gd name="T16" fmla="*/ 41 w 100"/>
                  <a:gd name="T17" fmla="*/ 84 h 96"/>
                  <a:gd name="T18" fmla="*/ 58 w 100"/>
                  <a:gd name="T19" fmla="*/ 84 h 96"/>
                  <a:gd name="T20" fmla="*/ 80 w 100"/>
                  <a:gd name="T21" fmla="*/ 25 h 96"/>
                  <a:gd name="T22" fmla="*/ 80 w 100"/>
                  <a:gd name="T23" fmla="*/ 25 h 96"/>
                  <a:gd name="T24" fmla="*/ 80 w 100"/>
                  <a:gd name="T25" fmla="*/ 96 h 96"/>
                  <a:gd name="T26" fmla="*/ 100 w 100"/>
                  <a:gd name="T27" fmla="*/ 96 h 96"/>
                  <a:gd name="T28" fmla="*/ 100 w 100"/>
                  <a:gd name="T29" fmla="*/ 0 h 96"/>
                  <a:gd name="T30" fmla="*/ 69 w 100"/>
                  <a:gd name="T31" fmla="*/ 0 h 96"/>
                  <a:gd name="T32" fmla="*/ 51 w 100"/>
                  <a:gd name="T33" fmla="*/ 5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0" h="96">
                    <a:moveTo>
                      <a:pt x="51" y="52"/>
                    </a:moveTo>
                    <a:lnTo>
                      <a:pt x="50" y="52"/>
                    </a:lnTo>
                    <a:lnTo>
                      <a:pt x="32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25"/>
                    </a:lnTo>
                    <a:lnTo>
                      <a:pt x="20" y="25"/>
                    </a:lnTo>
                    <a:lnTo>
                      <a:pt x="41" y="84"/>
                    </a:lnTo>
                    <a:lnTo>
                      <a:pt x="58" y="84"/>
                    </a:lnTo>
                    <a:lnTo>
                      <a:pt x="80" y="25"/>
                    </a:lnTo>
                    <a:lnTo>
                      <a:pt x="80" y="25"/>
                    </a:lnTo>
                    <a:lnTo>
                      <a:pt x="80" y="96"/>
                    </a:lnTo>
                    <a:lnTo>
                      <a:pt x="100" y="96"/>
                    </a:lnTo>
                    <a:lnTo>
                      <a:pt x="100" y="0"/>
                    </a:lnTo>
                    <a:lnTo>
                      <a:pt x="69" y="0"/>
                    </a:lnTo>
                    <a:lnTo>
                      <a:pt x="51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1" name="Freeform 50">
                <a:extLst>
                  <a:ext uri="{FF2B5EF4-FFF2-40B4-BE49-F238E27FC236}">
                    <a16:creationId xmlns:a16="http://schemas.microsoft.com/office/drawing/2014/main" id="{B481B0F9-3E02-888C-472C-5D966D729DD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1077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4 w 87"/>
                  <a:gd name="T7" fmla="*/ 15 h 96"/>
                  <a:gd name="T8" fmla="*/ 51 w 87"/>
                  <a:gd name="T9" fmla="*/ 43 h 96"/>
                  <a:gd name="T10" fmla="*/ 55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2" y="23"/>
                      <a:pt x="43" y="15"/>
                    </a:cubicBezTo>
                    <a:lnTo>
                      <a:pt x="44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5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2" name="Freeform 51">
                <a:extLst>
                  <a:ext uri="{FF2B5EF4-FFF2-40B4-BE49-F238E27FC236}">
                    <a16:creationId xmlns:a16="http://schemas.microsoft.com/office/drawing/2014/main" id="{A1756FBB-6E99-6291-D4A0-9A77D2806D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81819" y="4004596"/>
                <a:ext cx="59725" cy="74204"/>
              </a:xfrm>
              <a:custGeom>
                <a:avLst/>
                <a:gdLst>
                  <a:gd name="T0" fmla="*/ 0 w 146"/>
                  <a:gd name="T1" fmla="*/ 0 h 181"/>
                  <a:gd name="T2" fmla="*/ 0 w 146"/>
                  <a:gd name="T3" fmla="*/ 181 h 181"/>
                  <a:gd name="T4" fmla="*/ 38 w 146"/>
                  <a:gd name="T5" fmla="*/ 181 h 181"/>
                  <a:gd name="T6" fmla="*/ 38 w 146"/>
                  <a:gd name="T7" fmla="*/ 113 h 181"/>
                  <a:gd name="T8" fmla="*/ 35 w 146"/>
                  <a:gd name="T9" fmla="*/ 49 h 181"/>
                  <a:gd name="T10" fmla="*/ 36 w 146"/>
                  <a:gd name="T11" fmla="*/ 49 h 181"/>
                  <a:gd name="T12" fmla="*/ 60 w 146"/>
                  <a:gd name="T13" fmla="*/ 105 h 181"/>
                  <a:gd name="T14" fmla="*/ 100 w 146"/>
                  <a:gd name="T15" fmla="*/ 181 h 181"/>
                  <a:gd name="T16" fmla="*/ 146 w 146"/>
                  <a:gd name="T17" fmla="*/ 181 h 181"/>
                  <a:gd name="T18" fmla="*/ 146 w 146"/>
                  <a:gd name="T19" fmla="*/ 0 h 181"/>
                  <a:gd name="T20" fmla="*/ 109 w 146"/>
                  <a:gd name="T21" fmla="*/ 0 h 181"/>
                  <a:gd name="T22" fmla="*/ 109 w 146"/>
                  <a:gd name="T23" fmla="*/ 57 h 181"/>
                  <a:gd name="T24" fmla="*/ 111 w 146"/>
                  <a:gd name="T25" fmla="*/ 127 h 181"/>
                  <a:gd name="T26" fmla="*/ 110 w 146"/>
                  <a:gd name="T27" fmla="*/ 127 h 181"/>
                  <a:gd name="T28" fmla="*/ 84 w 146"/>
                  <a:gd name="T29" fmla="*/ 71 h 181"/>
                  <a:gd name="T30" fmla="*/ 47 w 146"/>
                  <a:gd name="T31" fmla="*/ 0 h 181"/>
                  <a:gd name="T32" fmla="*/ 0 w 146"/>
                  <a:gd name="T33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6" h="181">
                    <a:moveTo>
                      <a:pt x="0" y="0"/>
                    </a:moveTo>
                    <a:lnTo>
                      <a:pt x="0" y="181"/>
                    </a:lnTo>
                    <a:lnTo>
                      <a:pt x="38" y="181"/>
                    </a:lnTo>
                    <a:lnTo>
                      <a:pt x="38" y="113"/>
                    </a:lnTo>
                    <a:cubicBezTo>
                      <a:pt x="38" y="81"/>
                      <a:pt x="37" y="67"/>
                      <a:pt x="35" y="49"/>
                    </a:cubicBezTo>
                    <a:lnTo>
                      <a:pt x="36" y="49"/>
                    </a:lnTo>
                    <a:cubicBezTo>
                      <a:pt x="44" y="69"/>
                      <a:pt x="51" y="87"/>
                      <a:pt x="60" y="105"/>
                    </a:cubicBezTo>
                    <a:lnTo>
                      <a:pt x="100" y="181"/>
                    </a:lnTo>
                    <a:lnTo>
                      <a:pt x="146" y="181"/>
                    </a:lnTo>
                    <a:lnTo>
                      <a:pt x="146" y="0"/>
                    </a:lnTo>
                    <a:lnTo>
                      <a:pt x="109" y="0"/>
                    </a:lnTo>
                    <a:lnTo>
                      <a:pt x="109" y="57"/>
                    </a:lnTo>
                    <a:cubicBezTo>
                      <a:pt x="109" y="77"/>
                      <a:pt x="109" y="102"/>
                      <a:pt x="111" y="127"/>
                    </a:cubicBezTo>
                    <a:lnTo>
                      <a:pt x="110" y="127"/>
                    </a:lnTo>
                    <a:cubicBezTo>
                      <a:pt x="103" y="109"/>
                      <a:pt x="93" y="89"/>
                      <a:pt x="84" y="71"/>
                    </a:cubicBezTo>
                    <a:lnTo>
                      <a:pt x="4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3" name="Freeform 52">
                <a:extLst>
                  <a:ext uri="{FF2B5EF4-FFF2-40B4-BE49-F238E27FC236}">
                    <a16:creationId xmlns:a16="http://schemas.microsoft.com/office/drawing/2014/main" id="{F7F4CDD7-9F50-E97A-0FD5-BAA45F9BA7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5421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20 w 77"/>
                  <a:gd name="T15" fmla="*/ 96 h 96"/>
                  <a:gd name="T16" fmla="*/ 20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2 w 77"/>
                  <a:gd name="T23" fmla="*/ 55 h 96"/>
                  <a:gd name="T24" fmla="*/ 53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20" y="96"/>
                    </a:lnTo>
                    <a:lnTo>
                      <a:pt x="20" y="60"/>
                    </a:lnTo>
                    <a:cubicBezTo>
                      <a:pt x="20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2" y="55"/>
                    </a:cubicBezTo>
                    <a:lnTo>
                      <a:pt x="53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4" name="Freeform 53">
                <a:extLst>
                  <a:ext uri="{FF2B5EF4-FFF2-40B4-BE49-F238E27FC236}">
                    <a16:creationId xmlns:a16="http://schemas.microsoft.com/office/drawing/2014/main" id="{7C67911B-2465-4FF4-5F76-1F8A2EB081EE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959641" y="4004596"/>
                <a:ext cx="68774" cy="74204"/>
              </a:xfrm>
              <a:custGeom>
                <a:avLst/>
                <a:gdLst>
                  <a:gd name="T0" fmla="*/ 61 w 165"/>
                  <a:gd name="T1" fmla="*/ 107 h 181"/>
                  <a:gd name="T2" fmla="*/ 68 w 165"/>
                  <a:gd name="T3" fmla="*/ 81 h 181"/>
                  <a:gd name="T4" fmla="*/ 82 w 165"/>
                  <a:gd name="T5" fmla="*/ 27 h 181"/>
                  <a:gd name="T6" fmla="*/ 83 w 165"/>
                  <a:gd name="T7" fmla="*/ 27 h 181"/>
                  <a:gd name="T8" fmla="*/ 96 w 165"/>
                  <a:gd name="T9" fmla="*/ 82 h 181"/>
                  <a:gd name="T10" fmla="*/ 103 w 165"/>
                  <a:gd name="T11" fmla="*/ 107 h 181"/>
                  <a:gd name="T12" fmla="*/ 61 w 165"/>
                  <a:gd name="T13" fmla="*/ 107 h 181"/>
                  <a:gd name="T14" fmla="*/ 55 w 165"/>
                  <a:gd name="T15" fmla="*/ 0 h 181"/>
                  <a:gd name="T16" fmla="*/ 0 w 165"/>
                  <a:gd name="T17" fmla="*/ 181 h 181"/>
                  <a:gd name="T18" fmla="*/ 40 w 165"/>
                  <a:gd name="T19" fmla="*/ 181 h 181"/>
                  <a:gd name="T20" fmla="*/ 52 w 165"/>
                  <a:gd name="T21" fmla="*/ 140 h 181"/>
                  <a:gd name="T22" fmla="*/ 112 w 165"/>
                  <a:gd name="T23" fmla="*/ 140 h 181"/>
                  <a:gd name="T24" fmla="*/ 124 w 165"/>
                  <a:gd name="T25" fmla="*/ 181 h 181"/>
                  <a:gd name="T26" fmla="*/ 165 w 165"/>
                  <a:gd name="T27" fmla="*/ 181 h 181"/>
                  <a:gd name="T28" fmla="*/ 110 w 165"/>
                  <a:gd name="T29" fmla="*/ 0 h 181"/>
                  <a:gd name="T30" fmla="*/ 55 w 165"/>
                  <a:gd name="T31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1" y="107"/>
                    </a:moveTo>
                    <a:lnTo>
                      <a:pt x="68" y="81"/>
                    </a:lnTo>
                    <a:cubicBezTo>
                      <a:pt x="75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close/>
                    <a:moveTo>
                      <a:pt x="55" y="0"/>
                    </a:move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5" name="Freeform 54">
                <a:extLst>
                  <a:ext uri="{FF2B5EF4-FFF2-40B4-BE49-F238E27FC236}">
                    <a16:creationId xmlns:a16="http://schemas.microsoft.com/office/drawing/2014/main" id="{0E96849B-2856-FE42-23C7-BE95DA837A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94028" y="4104138"/>
                <a:ext cx="34387" cy="39816"/>
              </a:xfrm>
              <a:custGeom>
                <a:avLst/>
                <a:gdLst>
                  <a:gd name="T0" fmla="*/ 63 w 85"/>
                  <a:gd name="T1" fmla="*/ 0 h 96"/>
                  <a:gd name="T2" fmla="*/ 43 w 85"/>
                  <a:gd name="T3" fmla="*/ 44 h 96"/>
                  <a:gd name="T4" fmla="*/ 43 w 85"/>
                  <a:gd name="T5" fmla="*/ 44 h 96"/>
                  <a:gd name="T6" fmla="*/ 23 w 85"/>
                  <a:gd name="T7" fmla="*/ 0 h 96"/>
                  <a:gd name="T8" fmla="*/ 0 w 85"/>
                  <a:gd name="T9" fmla="*/ 0 h 96"/>
                  <a:gd name="T10" fmla="*/ 32 w 85"/>
                  <a:gd name="T11" fmla="*/ 65 h 96"/>
                  <a:gd name="T12" fmla="*/ 32 w 85"/>
                  <a:gd name="T13" fmla="*/ 96 h 96"/>
                  <a:gd name="T14" fmla="*/ 53 w 85"/>
                  <a:gd name="T15" fmla="*/ 96 h 96"/>
                  <a:gd name="T16" fmla="*/ 53 w 85"/>
                  <a:gd name="T17" fmla="*/ 65 h 96"/>
                  <a:gd name="T18" fmla="*/ 85 w 85"/>
                  <a:gd name="T19" fmla="*/ 0 h 96"/>
                  <a:gd name="T20" fmla="*/ 63 w 85"/>
                  <a:gd name="T2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5" h="96">
                    <a:moveTo>
                      <a:pt x="63" y="0"/>
                    </a:moveTo>
                    <a:lnTo>
                      <a:pt x="43" y="44"/>
                    </a:lnTo>
                    <a:lnTo>
                      <a:pt x="43" y="44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32" y="65"/>
                    </a:lnTo>
                    <a:lnTo>
                      <a:pt x="32" y="96"/>
                    </a:lnTo>
                    <a:lnTo>
                      <a:pt x="53" y="96"/>
                    </a:lnTo>
                    <a:lnTo>
                      <a:pt x="53" y="65"/>
                    </a:lnTo>
                    <a:lnTo>
                      <a:pt x="85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6" name="Freeform 55">
                <a:extLst>
                  <a:ext uri="{FF2B5EF4-FFF2-40B4-BE49-F238E27FC236}">
                    <a16:creationId xmlns:a16="http://schemas.microsoft.com/office/drawing/2014/main" id="{83E40355-2793-40E4-EF6C-1A9E65D18D94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94946" y="4004596"/>
                <a:ext cx="66964" cy="74204"/>
              </a:xfrm>
              <a:custGeom>
                <a:avLst/>
                <a:gdLst>
                  <a:gd name="T0" fmla="*/ 68 w 165"/>
                  <a:gd name="T1" fmla="*/ 81 h 181"/>
                  <a:gd name="T2" fmla="*/ 82 w 165"/>
                  <a:gd name="T3" fmla="*/ 27 h 181"/>
                  <a:gd name="T4" fmla="*/ 83 w 165"/>
                  <a:gd name="T5" fmla="*/ 27 h 181"/>
                  <a:gd name="T6" fmla="*/ 96 w 165"/>
                  <a:gd name="T7" fmla="*/ 82 h 181"/>
                  <a:gd name="T8" fmla="*/ 103 w 165"/>
                  <a:gd name="T9" fmla="*/ 107 h 181"/>
                  <a:gd name="T10" fmla="*/ 61 w 165"/>
                  <a:gd name="T11" fmla="*/ 107 h 181"/>
                  <a:gd name="T12" fmla="*/ 68 w 165"/>
                  <a:gd name="T13" fmla="*/ 81 h 181"/>
                  <a:gd name="T14" fmla="*/ 52 w 165"/>
                  <a:gd name="T15" fmla="*/ 140 h 181"/>
                  <a:gd name="T16" fmla="*/ 112 w 165"/>
                  <a:gd name="T17" fmla="*/ 140 h 181"/>
                  <a:gd name="T18" fmla="*/ 124 w 165"/>
                  <a:gd name="T19" fmla="*/ 181 h 181"/>
                  <a:gd name="T20" fmla="*/ 165 w 165"/>
                  <a:gd name="T21" fmla="*/ 181 h 181"/>
                  <a:gd name="T22" fmla="*/ 110 w 165"/>
                  <a:gd name="T23" fmla="*/ 0 h 181"/>
                  <a:gd name="T24" fmla="*/ 55 w 165"/>
                  <a:gd name="T25" fmla="*/ 0 h 181"/>
                  <a:gd name="T26" fmla="*/ 0 w 165"/>
                  <a:gd name="T27" fmla="*/ 181 h 181"/>
                  <a:gd name="T28" fmla="*/ 40 w 165"/>
                  <a:gd name="T29" fmla="*/ 181 h 181"/>
                  <a:gd name="T30" fmla="*/ 52 w 165"/>
                  <a:gd name="T31" fmla="*/ 14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5" h="181">
                    <a:moveTo>
                      <a:pt x="68" y="81"/>
                    </a:moveTo>
                    <a:cubicBezTo>
                      <a:pt x="74" y="58"/>
                      <a:pt x="78" y="43"/>
                      <a:pt x="82" y="27"/>
                    </a:cubicBezTo>
                    <a:lnTo>
                      <a:pt x="83" y="27"/>
                    </a:lnTo>
                    <a:cubicBezTo>
                      <a:pt x="86" y="43"/>
                      <a:pt x="89" y="57"/>
                      <a:pt x="96" y="82"/>
                    </a:cubicBezTo>
                    <a:lnTo>
                      <a:pt x="103" y="107"/>
                    </a:lnTo>
                    <a:lnTo>
                      <a:pt x="61" y="107"/>
                    </a:lnTo>
                    <a:lnTo>
                      <a:pt x="68" y="81"/>
                    </a:lnTo>
                    <a:close/>
                    <a:moveTo>
                      <a:pt x="52" y="140"/>
                    </a:moveTo>
                    <a:lnTo>
                      <a:pt x="112" y="140"/>
                    </a:lnTo>
                    <a:lnTo>
                      <a:pt x="124" y="181"/>
                    </a:lnTo>
                    <a:lnTo>
                      <a:pt x="165" y="181"/>
                    </a:lnTo>
                    <a:lnTo>
                      <a:pt x="110" y="0"/>
                    </a:lnTo>
                    <a:lnTo>
                      <a:pt x="55" y="0"/>
                    </a:lnTo>
                    <a:lnTo>
                      <a:pt x="0" y="181"/>
                    </a:lnTo>
                    <a:lnTo>
                      <a:pt x="40" y="181"/>
                    </a:lnTo>
                    <a:lnTo>
                      <a:pt x="52" y="1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7" name="Freeform 56">
                <a:extLst>
                  <a:ext uri="{FF2B5EF4-FFF2-40B4-BE49-F238E27FC236}">
                    <a16:creationId xmlns:a16="http://schemas.microsoft.com/office/drawing/2014/main" id="{167A037E-F9D3-0A90-893B-0B6126C15F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24822" y="4104138"/>
                <a:ext cx="32577" cy="39816"/>
              </a:xfrm>
              <a:custGeom>
                <a:avLst/>
                <a:gdLst>
                  <a:gd name="T0" fmla="*/ 57 w 77"/>
                  <a:gd name="T1" fmla="*/ 30 h 96"/>
                  <a:gd name="T2" fmla="*/ 58 w 77"/>
                  <a:gd name="T3" fmla="*/ 67 h 96"/>
                  <a:gd name="T4" fmla="*/ 58 w 77"/>
                  <a:gd name="T5" fmla="*/ 67 h 96"/>
                  <a:gd name="T6" fmla="*/ 44 w 77"/>
                  <a:gd name="T7" fmla="*/ 38 h 96"/>
                  <a:gd name="T8" fmla="*/ 25 w 77"/>
                  <a:gd name="T9" fmla="*/ 0 h 96"/>
                  <a:gd name="T10" fmla="*/ 0 w 77"/>
                  <a:gd name="T11" fmla="*/ 0 h 96"/>
                  <a:gd name="T12" fmla="*/ 0 w 77"/>
                  <a:gd name="T13" fmla="*/ 96 h 96"/>
                  <a:gd name="T14" fmla="*/ 19 w 77"/>
                  <a:gd name="T15" fmla="*/ 96 h 96"/>
                  <a:gd name="T16" fmla="*/ 19 w 77"/>
                  <a:gd name="T17" fmla="*/ 60 h 96"/>
                  <a:gd name="T18" fmla="*/ 18 w 77"/>
                  <a:gd name="T19" fmla="*/ 26 h 96"/>
                  <a:gd name="T20" fmla="*/ 19 w 77"/>
                  <a:gd name="T21" fmla="*/ 26 h 96"/>
                  <a:gd name="T22" fmla="*/ 31 w 77"/>
                  <a:gd name="T23" fmla="*/ 55 h 96"/>
                  <a:gd name="T24" fmla="*/ 52 w 77"/>
                  <a:gd name="T25" fmla="*/ 96 h 96"/>
                  <a:gd name="T26" fmla="*/ 77 w 77"/>
                  <a:gd name="T27" fmla="*/ 96 h 96"/>
                  <a:gd name="T28" fmla="*/ 77 w 77"/>
                  <a:gd name="T29" fmla="*/ 0 h 96"/>
                  <a:gd name="T30" fmla="*/ 57 w 77"/>
                  <a:gd name="T31" fmla="*/ 0 h 96"/>
                  <a:gd name="T32" fmla="*/ 57 w 77"/>
                  <a:gd name="T33" fmla="*/ 3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7" h="96">
                    <a:moveTo>
                      <a:pt x="57" y="30"/>
                    </a:moveTo>
                    <a:cubicBezTo>
                      <a:pt x="57" y="41"/>
                      <a:pt x="57" y="54"/>
                      <a:pt x="58" y="67"/>
                    </a:cubicBezTo>
                    <a:lnTo>
                      <a:pt x="58" y="67"/>
                    </a:lnTo>
                    <a:cubicBezTo>
                      <a:pt x="54" y="58"/>
                      <a:pt x="49" y="47"/>
                      <a:pt x="44" y="38"/>
                    </a:cubicBezTo>
                    <a:lnTo>
                      <a:pt x="25" y="0"/>
                    </a:lnTo>
                    <a:lnTo>
                      <a:pt x="0" y="0"/>
                    </a:lnTo>
                    <a:lnTo>
                      <a:pt x="0" y="96"/>
                    </a:lnTo>
                    <a:lnTo>
                      <a:pt x="19" y="96"/>
                    </a:lnTo>
                    <a:lnTo>
                      <a:pt x="19" y="60"/>
                    </a:lnTo>
                    <a:cubicBezTo>
                      <a:pt x="19" y="43"/>
                      <a:pt x="19" y="36"/>
                      <a:pt x="18" y="26"/>
                    </a:cubicBezTo>
                    <a:lnTo>
                      <a:pt x="19" y="26"/>
                    </a:lnTo>
                    <a:cubicBezTo>
                      <a:pt x="23" y="37"/>
                      <a:pt x="27" y="46"/>
                      <a:pt x="31" y="55"/>
                    </a:cubicBezTo>
                    <a:lnTo>
                      <a:pt x="52" y="96"/>
                    </a:lnTo>
                    <a:lnTo>
                      <a:pt x="77" y="96"/>
                    </a:lnTo>
                    <a:lnTo>
                      <a:pt x="77" y="0"/>
                    </a:lnTo>
                    <a:lnTo>
                      <a:pt x="57" y="0"/>
                    </a:lnTo>
                    <a:lnTo>
                      <a:pt x="57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8" name="Freeform 57">
                <a:extLst>
                  <a:ext uri="{FF2B5EF4-FFF2-40B4-BE49-F238E27FC236}">
                    <a16:creationId xmlns:a16="http://schemas.microsoft.com/office/drawing/2014/main" id="{09740E95-3734-3789-E5A5-536F9BC2DF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6448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9" name="Freeform 58">
                <a:extLst>
                  <a:ext uri="{FF2B5EF4-FFF2-40B4-BE49-F238E27FC236}">
                    <a16:creationId xmlns:a16="http://schemas.microsoft.com/office/drawing/2014/main" id="{5D4C8882-63EF-5BA7-5953-8DC23842FA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19392" y="4002787"/>
                <a:ext cx="54295" cy="77823"/>
              </a:xfrm>
              <a:custGeom>
                <a:avLst/>
                <a:gdLst>
                  <a:gd name="T0" fmla="*/ 68 w 131"/>
                  <a:gd name="T1" fmla="*/ 154 h 187"/>
                  <a:gd name="T2" fmla="*/ 22 w 131"/>
                  <a:gd name="T3" fmla="*/ 132 h 187"/>
                  <a:gd name="T4" fmla="*/ 0 w 131"/>
                  <a:gd name="T5" fmla="*/ 164 h 187"/>
                  <a:gd name="T6" fmla="*/ 63 w 131"/>
                  <a:gd name="T7" fmla="*/ 187 h 187"/>
                  <a:gd name="T8" fmla="*/ 131 w 131"/>
                  <a:gd name="T9" fmla="*/ 133 h 187"/>
                  <a:gd name="T10" fmla="*/ 48 w 131"/>
                  <a:gd name="T11" fmla="*/ 51 h 187"/>
                  <a:gd name="T12" fmla="*/ 68 w 131"/>
                  <a:gd name="T13" fmla="*/ 35 h 187"/>
                  <a:gd name="T14" fmla="*/ 102 w 131"/>
                  <a:gd name="T15" fmla="*/ 51 h 187"/>
                  <a:gd name="T16" fmla="*/ 127 w 131"/>
                  <a:gd name="T17" fmla="*/ 22 h 187"/>
                  <a:gd name="T18" fmla="*/ 72 w 131"/>
                  <a:gd name="T19" fmla="*/ 0 h 187"/>
                  <a:gd name="T20" fmla="*/ 8 w 131"/>
                  <a:gd name="T21" fmla="*/ 54 h 187"/>
                  <a:gd name="T22" fmla="*/ 91 w 131"/>
                  <a:gd name="T23" fmla="*/ 136 h 187"/>
                  <a:gd name="T24" fmla="*/ 68 w 131"/>
                  <a:gd name="T25" fmla="*/ 154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1" h="187">
                    <a:moveTo>
                      <a:pt x="68" y="154"/>
                    </a:moveTo>
                    <a:cubicBezTo>
                      <a:pt x="46" y="154"/>
                      <a:pt x="30" y="140"/>
                      <a:pt x="22" y="132"/>
                    </a:cubicBezTo>
                    <a:lnTo>
                      <a:pt x="0" y="164"/>
                    </a:lnTo>
                    <a:cubicBezTo>
                      <a:pt x="6" y="171"/>
                      <a:pt x="28" y="187"/>
                      <a:pt x="63" y="187"/>
                    </a:cubicBezTo>
                    <a:cubicBezTo>
                      <a:pt x="109" y="187"/>
                      <a:pt x="131" y="160"/>
                      <a:pt x="131" y="133"/>
                    </a:cubicBezTo>
                    <a:cubicBezTo>
                      <a:pt x="131" y="76"/>
                      <a:pt x="48" y="80"/>
                      <a:pt x="48" y="51"/>
                    </a:cubicBezTo>
                    <a:cubicBezTo>
                      <a:pt x="48" y="42"/>
                      <a:pt x="55" y="35"/>
                      <a:pt x="68" y="35"/>
                    </a:cubicBezTo>
                    <a:cubicBezTo>
                      <a:pt x="87" y="35"/>
                      <a:pt x="98" y="46"/>
                      <a:pt x="102" y="51"/>
                    </a:cubicBezTo>
                    <a:lnTo>
                      <a:pt x="127" y="22"/>
                    </a:lnTo>
                    <a:cubicBezTo>
                      <a:pt x="121" y="14"/>
                      <a:pt x="102" y="0"/>
                      <a:pt x="72" y="0"/>
                    </a:cubicBezTo>
                    <a:cubicBezTo>
                      <a:pt x="34" y="0"/>
                      <a:pt x="8" y="24"/>
                      <a:pt x="8" y="54"/>
                    </a:cubicBezTo>
                    <a:cubicBezTo>
                      <a:pt x="8" y="111"/>
                      <a:pt x="91" y="107"/>
                      <a:pt x="91" y="136"/>
                    </a:cubicBezTo>
                    <a:cubicBezTo>
                      <a:pt x="91" y="145"/>
                      <a:pt x="84" y="154"/>
                      <a:pt x="68" y="1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0" name="Freeform 59">
                <a:extLst>
                  <a:ext uri="{FF2B5EF4-FFF2-40B4-BE49-F238E27FC236}">
                    <a16:creationId xmlns:a16="http://schemas.microsoft.com/office/drawing/2014/main" id="{23A1802E-18CE-C7E0-8F36-9AA6BE9D249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48809" y="4104138"/>
                <a:ext cx="28957" cy="39816"/>
              </a:xfrm>
              <a:custGeom>
                <a:avLst/>
                <a:gdLst>
                  <a:gd name="T0" fmla="*/ 29 w 71"/>
                  <a:gd name="T1" fmla="*/ 44 h 96"/>
                  <a:gd name="T2" fmla="*/ 21 w 71"/>
                  <a:gd name="T3" fmla="*/ 44 h 96"/>
                  <a:gd name="T4" fmla="*/ 21 w 71"/>
                  <a:gd name="T5" fmla="*/ 17 h 96"/>
                  <a:gd name="T6" fmla="*/ 29 w 71"/>
                  <a:gd name="T7" fmla="*/ 17 h 96"/>
                  <a:gd name="T8" fmla="*/ 43 w 71"/>
                  <a:gd name="T9" fmla="*/ 30 h 96"/>
                  <a:gd name="T10" fmla="*/ 29 w 71"/>
                  <a:gd name="T11" fmla="*/ 44 h 96"/>
                  <a:gd name="T12" fmla="*/ 44 w 71"/>
                  <a:gd name="T13" fmla="*/ 55 h 96"/>
                  <a:gd name="T14" fmla="*/ 44 w 71"/>
                  <a:gd name="T15" fmla="*/ 55 h 96"/>
                  <a:gd name="T16" fmla="*/ 64 w 71"/>
                  <a:gd name="T17" fmla="*/ 28 h 96"/>
                  <a:gd name="T18" fmla="*/ 31 w 71"/>
                  <a:gd name="T19" fmla="*/ 0 h 96"/>
                  <a:gd name="T20" fmla="*/ 0 w 71"/>
                  <a:gd name="T21" fmla="*/ 0 h 96"/>
                  <a:gd name="T22" fmla="*/ 0 w 71"/>
                  <a:gd name="T23" fmla="*/ 96 h 96"/>
                  <a:gd name="T24" fmla="*/ 21 w 71"/>
                  <a:gd name="T25" fmla="*/ 96 h 96"/>
                  <a:gd name="T26" fmla="*/ 21 w 71"/>
                  <a:gd name="T27" fmla="*/ 60 h 96"/>
                  <a:gd name="T28" fmla="*/ 22 w 71"/>
                  <a:gd name="T29" fmla="*/ 60 h 96"/>
                  <a:gd name="T30" fmla="*/ 31 w 71"/>
                  <a:gd name="T31" fmla="*/ 65 h 96"/>
                  <a:gd name="T32" fmla="*/ 47 w 71"/>
                  <a:gd name="T33" fmla="*/ 96 h 96"/>
                  <a:gd name="T34" fmla="*/ 71 w 71"/>
                  <a:gd name="T35" fmla="*/ 96 h 96"/>
                  <a:gd name="T36" fmla="*/ 57 w 71"/>
                  <a:gd name="T37" fmla="*/ 69 h 96"/>
                  <a:gd name="T38" fmla="*/ 44 w 71"/>
                  <a:gd name="T39" fmla="*/ 55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" h="96">
                    <a:moveTo>
                      <a:pt x="29" y="44"/>
                    </a:moveTo>
                    <a:lnTo>
                      <a:pt x="21" y="44"/>
                    </a:lnTo>
                    <a:lnTo>
                      <a:pt x="21" y="17"/>
                    </a:lnTo>
                    <a:lnTo>
                      <a:pt x="29" y="17"/>
                    </a:lnTo>
                    <a:cubicBezTo>
                      <a:pt x="38" y="17"/>
                      <a:pt x="43" y="21"/>
                      <a:pt x="43" y="30"/>
                    </a:cubicBezTo>
                    <a:cubicBezTo>
                      <a:pt x="43" y="39"/>
                      <a:pt x="40" y="44"/>
                      <a:pt x="29" y="44"/>
                    </a:cubicBezTo>
                    <a:close/>
                    <a:moveTo>
                      <a:pt x="44" y="55"/>
                    </a:moveTo>
                    <a:lnTo>
                      <a:pt x="44" y="55"/>
                    </a:lnTo>
                    <a:cubicBezTo>
                      <a:pt x="55" y="53"/>
                      <a:pt x="64" y="45"/>
                      <a:pt x="64" y="28"/>
                    </a:cubicBezTo>
                    <a:cubicBezTo>
                      <a:pt x="64" y="8"/>
                      <a:pt x="52" y="0"/>
                      <a:pt x="31" y="0"/>
                    </a:cubicBezTo>
                    <a:lnTo>
                      <a:pt x="0" y="0"/>
                    </a:lnTo>
                    <a:lnTo>
                      <a:pt x="0" y="96"/>
                    </a:lnTo>
                    <a:lnTo>
                      <a:pt x="21" y="96"/>
                    </a:lnTo>
                    <a:lnTo>
                      <a:pt x="21" y="60"/>
                    </a:lnTo>
                    <a:lnTo>
                      <a:pt x="22" y="60"/>
                    </a:lnTo>
                    <a:cubicBezTo>
                      <a:pt x="26" y="60"/>
                      <a:pt x="29" y="61"/>
                      <a:pt x="31" y="65"/>
                    </a:cubicBezTo>
                    <a:lnTo>
                      <a:pt x="47" y="96"/>
                    </a:lnTo>
                    <a:lnTo>
                      <a:pt x="71" y="96"/>
                    </a:lnTo>
                    <a:lnTo>
                      <a:pt x="57" y="69"/>
                    </a:lnTo>
                    <a:cubicBezTo>
                      <a:pt x="52" y="61"/>
                      <a:pt x="49" y="58"/>
                      <a:pt x="44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1" name="Freeform 60">
                <a:extLst>
                  <a:ext uri="{FF2B5EF4-FFF2-40B4-BE49-F238E27FC236}">
                    <a16:creationId xmlns:a16="http://schemas.microsoft.com/office/drawing/2014/main" id="{BF492A24-FE08-C68C-C1BD-58864EB5A14F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581386" y="4104138"/>
                <a:ext cx="36197" cy="39816"/>
              </a:xfrm>
              <a:custGeom>
                <a:avLst/>
                <a:gdLst>
                  <a:gd name="T0" fmla="*/ 32 w 87"/>
                  <a:gd name="T1" fmla="*/ 57 h 96"/>
                  <a:gd name="T2" fmla="*/ 36 w 87"/>
                  <a:gd name="T3" fmla="*/ 43 h 96"/>
                  <a:gd name="T4" fmla="*/ 43 w 87"/>
                  <a:gd name="T5" fmla="*/ 15 h 96"/>
                  <a:gd name="T6" fmla="*/ 43 w 87"/>
                  <a:gd name="T7" fmla="*/ 15 h 96"/>
                  <a:gd name="T8" fmla="*/ 51 w 87"/>
                  <a:gd name="T9" fmla="*/ 43 h 96"/>
                  <a:gd name="T10" fmla="*/ 54 w 87"/>
                  <a:gd name="T11" fmla="*/ 57 h 96"/>
                  <a:gd name="T12" fmla="*/ 32 w 87"/>
                  <a:gd name="T13" fmla="*/ 57 h 96"/>
                  <a:gd name="T14" fmla="*/ 29 w 87"/>
                  <a:gd name="T15" fmla="*/ 0 h 96"/>
                  <a:gd name="T16" fmla="*/ 0 w 87"/>
                  <a:gd name="T17" fmla="*/ 96 h 96"/>
                  <a:gd name="T18" fmla="*/ 21 w 87"/>
                  <a:gd name="T19" fmla="*/ 96 h 96"/>
                  <a:gd name="T20" fmla="*/ 27 w 87"/>
                  <a:gd name="T21" fmla="*/ 74 h 96"/>
                  <a:gd name="T22" fmla="*/ 59 w 87"/>
                  <a:gd name="T23" fmla="*/ 74 h 96"/>
                  <a:gd name="T24" fmla="*/ 65 w 87"/>
                  <a:gd name="T25" fmla="*/ 96 h 96"/>
                  <a:gd name="T26" fmla="*/ 87 w 87"/>
                  <a:gd name="T27" fmla="*/ 96 h 96"/>
                  <a:gd name="T28" fmla="*/ 58 w 87"/>
                  <a:gd name="T29" fmla="*/ 0 h 96"/>
                  <a:gd name="T30" fmla="*/ 29 w 87"/>
                  <a:gd name="T31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" h="96">
                    <a:moveTo>
                      <a:pt x="32" y="57"/>
                    </a:moveTo>
                    <a:lnTo>
                      <a:pt x="36" y="43"/>
                    </a:lnTo>
                    <a:cubicBezTo>
                      <a:pt x="39" y="31"/>
                      <a:pt x="41" y="23"/>
                      <a:pt x="43" y="15"/>
                    </a:cubicBezTo>
                    <a:lnTo>
                      <a:pt x="43" y="15"/>
                    </a:lnTo>
                    <a:cubicBezTo>
                      <a:pt x="45" y="23"/>
                      <a:pt x="47" y="30"/>
                      <a:pt x="51" y="43"/>
                    </a:cubicBezTo>
                    <a:lnTo>
                      <a:pt x="54" y="57"/>
                    </a:lnTo>
                    <a:lnTo>
                      <a:pt x="32" y="57"/>
                    </a:lnTo>
                    <a:close/>
                    <a:moveTo>
                      <a:pt x="29" y="0"/>
                    </a:moveTo>
                    <a:lnTo>
                      <a:pt x="0" y="96"/>
                    </a:lnTo>
                    <a:lnTo>
                      <a:pt x="21" y="96"/>
                    </a:lnTo>
                    <a:lnTo>
                      <a:pt x="27" y="74"/>
                    </a:lnTo>
                    <a:lnTo>
                      <a:pt x="59" y="74"/>
                    </a:lnTo>
                    <a:lnTo>
                      <a:pt x="65" y="96"/>
                    </a:lnTo>
                    <a:lnTo>
                      <a:pt x="87" y="96"/>
                    </a:lnTo>
                    <a:lnTo>
                      <a:pt x="58" y="0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2" name="Freeform 61">
                <a:extLst>
                  <a:ext uri="{FF2B5EF4-FFF2-40B4-BE49-F238E27FC236}">
                    <a16:creationId xmlns:a16="http://schemas.microsoft.com/office/drawing/2014/main" id="{D654EDF0-EFA4-FE05-E372-33C40BDF561C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789516" y="4104138"/>
                <a:ext cx="32577" cy="39816"/>
              </a:xfrm>
              <a:custGeom>
                <a:avLst/>
                <a:gdLst>
                  <a:gd name="T0" fmla="*/ 40 w 79"/>
                  <a:gd name="T1" fmla="*/ 81 h 98"/>
                  <a:gd name="T2" fmla="*/ 21 w 79"/>
                  <a:gd name="T3" fmla="*/ 48 h 98"/>
                  <a:gd name="T4" fmla="*/ 39 w 79"/>
                  <a:gd name="T5" fmla="*/ 17 h 98"/>
                  <a:gd name="T6" fmla="*/ 57 w 79"/>
                  <a:gd name="T7" fmla="*/ 49 h 98"/>
                  <a:gd name="T8" fmla="*/ 40 w 79"/>
                  <a:gd name="T9" fmla="*/ 81 h 98"/>
                  <a:gd name="T10" fmla="*/ 40 w 79"/>
                  <a:gd name="T11" fmla="*/ 0 h 98"/>
                  <a:gd name="T12" fmla="*/ 0 w 79"/>
                  <a:gd name="T13" fmla="*/ 50 h 98"/>
                  <a:gd name="T14" fmla="*/ 39 w 79"/>
                  <a:gd name="T15" fmla="*/ 98 h 98"/>
                  <a:gd name="T16" fmla="*/ 79 w 79"/>
                  <a:gd name="T17" fmla="*/ 48 h 98"/>
                  <a:gd name="T18" fmla="*/ 40 w 79"/>
                  <a:gd name="T19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98">
                    <a:moveTo>
                      <a:pt x="40" y="81"/>
                    </a:moveTo>
                    <a:cubicBezTo>
                      <a:pt x="28" y="81"/>
                      <a:pt x="21" y="72"/>
                      <a:pt x="21" y="48"/>
                    </a:cubicBezTo>
                    <a:cubicBezTo>
                      <a:pt x="21" y="25"/>
                      <a:pt x="28" y="17"/>
                      <a:pt x="39" y="17"/>
                    </a:cubicBezTo>
                    <a:cubicBezTo>
                      <a:pt x="50" y="17"/>
                      <a:pt x="57" y="26"/>
                      <a:pt x="57" y="49"/>
                    </a:cubicBezTo>
                    <a:cubicBezTo>
                      <a:pt x="57" y="73"/>
                      <a:pt x="51" y="81"/>
                      <a:pt x="40" y="81"/>
                    </a:cubicBezTo>
                    <a:close/>
                    <a:moveTo>
                      <a:pt x="40" y="0"/>
                    </a:moveTo>
                    <a:cubicBezTo>
                      <a:pt x="17" y="0"/>
                      <a:pt x="0" y="15"/>
                      <a:pt x="0" y="50"/>
                    </a:cubicBezTo>
                    <a:cubicBezTo>
                      <a:pt x="0" y="85"/>
                      <a:pt x="15" y="98"/>
                      <a:pt x="39" y="98"/>
                    </a:cubicBezTo>
                    <a:cubicBezTo>
                      <a:pt x="62" y="98"/>
                      <a:pt x="79" y="83"/>
                      <a:pt x="79" y="48"/>
                    </a:cubicBezTo>
                    <a:cubicBezTo>
                      <a:pt x="79" y="13"/>
                      <a:pt x="64" y="0"/>
                      <a:pt x="4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3" name="Freeform 62">
                <a:extLst>
                  <a:ext uri="{FF2B5EF4-FFF2-40B4-BE49-F238E27FC236}">
                    <a16:creationId xmlns:a16="http://schemas.microsoft.com/office/drawing/2014/main" id="{539DAE25-993E-B276-201C-C3E009599E9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04455" y="4104138"/>
                <a:ext cx="23528" cy="39816"/>
              </a:xfrm>
              <a:custGeom>
                <a:avLst/>
                <a:gdLst>
                  <a:gd name="T0" fmla="*/ 0 w 58"/>
                  <a:gd name="T1" fmla="*/ 0 h 96"/>
                  <a:gd name="T2" fmla="*/ 0 w 58"/>
                  <a:gd name="T3" fmla="*/ 96 h 96"/>
                  <a:gd name="T4" fmla="*/ 58 w 58"/>
                  <a:gd name="T5" fmla="*/ 96 h 96"/>
                  <a:gd name="T6" fmla="*/ 58 w 58"/>
                  <a:gd name="T7" fmla="*/ 79 h 96"/>
                  <a:gd name="T8" fmla="*/ 20 w 58"/>
                  <a:gd name="T9" fmla="*/ 79 h 96"/>
                  <a:gd name="T10" fmla="*/ 20 w 58"/>
                  <a:gd name="T11" fmla="*/ 56 h 96"/>
                  <a:gd name="T12" fmla="*/ 51 w 58"/>
                  <a:gd name="T13" fmla="*/ 56 h 96"/>
                  <a:gd name="T14" fmla="*/ 51 w 58"/>
                  <a:gd name="T15" fmla="*/ 39 h 96"/>
                  <a:gd name="T16" fmla="*/ 20 w 58"/>
                  <a:gd name="T17" fmla="*/ 39 h 96"/>
                  <a:gd name="T18" fmla="*/ 20 w 58"/>
                  <a:gd name="T19" fmla="*/ 17 h 96"/>
                  <a:gd name="T20" fmla="*/ 56 w 58"/>
                  <a:gd name="T21" fmla="*/ 17 h 96"/>
                  <a:gd name="T22" fmla="*/ 56 w 58"/>
                  <a:gd name="T23" fmla="*/ 0 h 96"/>
                  <a:gd name="T24" fmla="*/ 0 w 58"/>
                  <a:gd name="T25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8" h="96">
                    <a:moveTo>
                      <a:pt x="0" y="0"/>
                    </a:moveTo>
                    <a:lnTo>
                      <a:pt x="0" y="96"/>
                    </a:lnTo>
                    <a:lnTo>
                      <a:pt x="58" y="96"/>
                    </a:lnTo>
                    <a:lnTo>
                      <a:pt x="58" y="79"/>
                    </a:lnTo>
                    <a:lnTo>
                      <a:pt x="20" y="79"/>
                    </a:lnTo>
                    <a:lnTo>
                      <a:pt x="20" y="56"/>
                    </a:lnTo>
                    <a:lnTo>
                      <a:pt x="51" y="56"/>
                    </a:lnTo>
                    <a:lnTo>
                      <a:pt x="51" y="39"/>
                    </a:lnTo>
                    <a:lnTo>
                      <a:pt x="20" y="39"/>
                    </a:lnTo>
                    <a:lnTo>
                      <a:pt x="20" y="17"/>
                    </a:lnTo>
                    <a:lnTo>
                      <a:pt x="56" y="17"/>
                    </a:lnTo>
                    <a:lnTo>
                      <a:pt x="5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4" name="Freeform 63">
                <a:extLst>
                  <a:ext uri="{FF2B5EF4-FFF2-40B4-BE49-F238E27FC236}">
                    <a16:creationId xmlns:a16="http://schemas.microsoft.com/office/drawing/2014/main" id="{02800B69-AEEA-2C17-3501-3F0C1C3B73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3320" y="4104138"/>
                <a:ext cx="28957" cy="39816"/>
              </a:xfrm>
              <a:custGeom>
                <a:avLst/>
                <a:gdLst>
                  <a:gd name="T0" fmla="*/ 41 w 72"/>
                  <a:gd name="T1" fmla="*/ 18 h 98"/>
                  <a:gd name="T2" fmla="*/ 58 w 72"/>
                  <a:gd name="T3" fmla="*/ 26 h 98"/>
                  <a:gd name="T4" fmla="*/ 72 w 72"/>
                  <a:gd name="T5" fmla="*/ 11 h 98"/>
                  <a:gd name="T6" fmla="*/ 42 w 72"/>
                  <a:gd name="T7" fmla="*/ 0 h 98"/>
                  <a:gd name="T8" fmla="*/ 0 w 72"/>
                  <a:gd name="T9" fmla="*/ 50 h 98"/>
                  <a:gd name="T10" fmla="*/ 41 w 72"/>
                  <a:gd name="T11" fmla="*/ 98 h 98"/>
                  <a:gd name="T12" fmla="*/ 71 w 72"/>
                  <a:gd name="T13" fmla="*/ 87 h 98"/>
                  <a:gd name="T14" fmla="*/ 59 w 72"/>
                  <a:gd name="T15" fmla="*/ 72 h 98"/>
                  <a:gd name="T16" fmla="*/ 42 w 72"/>
                  <a:gd name="T17" fmla="*/ 80 h 98"/>
                  <a:gd name="T18" fmla="*/ 21 w 72"/>
                  <a:gd name="T19" fmla="*/ 49 h 98"/>
                  <a:gd name="T20" fmla="*/ 41 w 72"/>
                  <a:gd name="T21" fmla="*/ 18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" h="98">
                    <a:moveTo>
                      <a:pt x="41" y="18"/>
                    </a:moveTo>
                    <a:cubicBezTo>
                      <a:pt x="51" y="18"/>
                      <a:pt x="55" y="22"/>
                      <a:pt x="58" y="26"/>
                    </a:cubicBezTo>
                    <a:lnTo>
                      <a:pt x="72" y="11"/>
                    </a:lnTo>
                    <a:cubicBezTo>
                      <a:pt x="69" y="8"/>
                      <a:pt x="61" y="0"/>
                      <a:pt x="42" y="0"/>
                    </a:cubicBezTo>
                    <a:cubicBezTo>
                      <a:pt x="14" y="0"/>
                      <a:pt x="0" y="20"/>
                      <a:pt x="0" y="50"/>
                    </a:cubicBezTo>
                    <a:cubicBezTo>
                      <a:pt x="0" y="78"/>
                      <a:pt x="11" y="98"/>
                      <a:pt x="41" y="98"/>
                    </a:cubicBezTo>
                    <a:cubicBezTo>
                      <a:pt x="57" y="98"/>
                      <a:pt x="67" y="92"/>
                      <a:pt x="71" y="87"/>
                    </a:cubicBezTo>
                    <a:lnTo>
                      <a:pt x="59" y="72"/>
                    </a:lnTo>
                    <a:cubicBezTo>
                      <a:pt x="57" y="76"/>
                      <a:pt x="51" y="80"/>
                      <a:pt x="42" y="80"/>
                    </a:cubicBezTo>
                    <a:cubicBezTo>
                      <a:pt x="28" y="80"/>
                      <a:pt x="21" y="68"/>
                      <a:pt x="21" y="49"/>
                    </a:cubicBezTo>
                    <a:cubicBezTo>
                      <a:pt x="21" y="27"/>
                      <a:pt x="28" y="18"/>
                      <a:pt x="41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5" name="Freeform 64">
                <a:extLst>
                  <a:ext uri="{FF2B5EF4-FFF2-40B4-BE49-F238E27FC236}">
                    <a16:creationId xmlns:a16="http://schemas.microsoft.com/office/drawing/2014/main" id="{31BBA995-36A6-D09E-6568-B6EFB4C708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6356" y="4004596"/>
                <a:ext cx="101351" cy="74204"/>
              </a:xfrm>
              <a:custGeom>
                <a:avLst/>
                <a:gdLst>
                  <a:gd name="T0" fmla="*/ 188 w 246"/>
                  <a:gd name="T1" fmla="*/ 77 h 181"/>
                  <a:gd name="T2" fmla="*/ 178 w 246"/>
                  <a:gd name="T3" fmla="*/ 137 h 181"/>
                  <a:gd name="T4" fmla="*/ 177 w 246"/>
                  <a:gd name="T5" fmla="*/ 137 h 181"/>
                  <a:gd name="T6" fmla="*/ 168 w 246"/>
                  <a:gd name="T7" fmla="*/ 88 h 181"/>
                  <a:gd name="T8" fmla="*/ 148 w 246"/>
                  <a:gd name="T9" fmla="*/ 0 h 181"/>
                  <a:gd name="T10" fmla="*/ 101 w 246"/>
                  <a:gd name="T11" fmla="*/ 0 h 181"/>
                  <a:gd name="T12" fmla="*/ 81 w 246"/>
                  <a:gd name="T13" fmla="*/ 89 h 181"/>
                  <a:gd name="T14" fmla="*/ 73 w 246"/>
                  <a:gd name="T15" fmla="*/ 137 h 181"/>
                  <a:gd name="T16" fmla="*/ 72 w 246"/>
                  <a:gd name="T17" fmla="*/ 137 h 181"/>
                  <a:gd name="T18" fmla="*/ 61 w 246"/>
                  <a:gd name="T19" fmla="*/ 73 h 181"/>
                  <a:gd name="T20" fmla="*/ 43 w 246"/>
                  <a:gd name="T21" fmla="*/ 0 h 181"/>
                  <a:gd name="T22" fmla="*/ 0 w 246"/>
                  <a:gd name="T23" fmla="*/ 0 h 181"/>
                  <a:gd name="T24" fmla="*/ 46 w 246"/>
                  <a:gd name="T25" fmla="*/ 181 h 181"/>
                  <a:gd name="T26" fmla="*/ 93 w 246"/>
                  <a:gd name="T27" fmla="*/ 181 h 181"/>
                  <a:gd name="T28" fmla="*/ 114 w 246"/>
                  <a:gd name="T29" fmla="*/ 93 h 181"/>
                  <a:gd name="T30" fmla="*/ 123 w 246"/>
                  <a:gd name="T31" fmla="*/ 44 h 181"/>
                  <a:gd name="T32" fmla="*/ 124 w 246"/>
                  <a:gd name="T33" fmla="*/ 44 h 181"/>
                  <a:gd name="T34" fmla="*/ 134 w 246"/>
                  <a:gd name="T35" fmla="*/ 101 h 181"/>
                  <a:gd name="T36" fmla="*/ 153 w 246"/>
                  <a:gd name="T37" fmla="*/ 181 h 181"/>
                  <a:gd name="T38" fmla="*/ 199 w 246"/>
                  <a:gd name="T39" fmla="*/ 181 h 181"/>
                  <a:gd name="T40" fmla="*/ 246 w 246"/>
                  <a:gd name="T41" fmla="*/ 0 h 181"/>
                  <a:gd name="T42" fmla="*/ 206 w 246"/>
                  <a:gd name="T43" fmla="*/ 0 h 181"/>
                  <a:gd name="T44" fmla="*/ 188 w 246"/>
                  <a:gd name="T45" fmla="*/ 77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6" h="181">
                    <a:moveTo>
                      <a:pt x="188" y="77"/>
                    </a:moveTo>
                    <a:cubicBezTo>
                      <a:pt x="183" y="100"/>
                      <a:pt x="179" y="121"/>
                      <a:pt x="178" y="137"/>
                    </a:cubicBezTo>
                    <a:lnTo>
                      <a:pt x="177" y="137"/>
                    </a:lnTo>
                    <a:cubicBezTo>
                      <a:pt x="175" y="120"/>
                      <a:pt x="173" y="108"/>
                      <a:pt x="168" y="88"/>
                    </a:cubicBezTo>
                    <a:lnTo>
                      <a:pt x="148" y="0"/>
                    </a:lnTo>
                    <a:lnTo>
                      <a:pt x="101" y="0"/>
                    </a:lnTo>
                    <a:lnTo>
                      <a:pt x="81" y="89"/>
                    </a:lnTo>
                    <a:cubicBezTo>
                      <a:pt x="78" y="106"/>
                      <a:pt x="75" y="116"/>
                      <a:pt x="73" y="137"/>
                    </a:cubicBezTo>
                    <a:lnTo>
                      <a:pt x="72" y="137"/>
                    </a:lnTo>
                    <a:cubicBezTo>
                      <a:pt x="71" y="118"/>
                      <a:pt x="66" y="93"/>
                      <a:pt x="61" y="73"/>
                    </a:cubicBezTo>
                    <a:lnTo>
                      <a:pt x="43" y="0"/>
                    </a:lnTo>
                    <a:lnTo>
                      <a:pt x="0" y="0"/>
                    </a:lnTo>
                    <a:lnTo>
                      <a:pt x="46" y="181"/>
                    </a:lnTo>
                    <a:lnTo>
                      <a:pt x="93" y="181"/>
                    </a:lnTo>
                    <a:lnTo>
                      <a:pt x="114" y="93"/>
                    </a:lnTo>
                    <a:cubicBezTo>
                      <a:pt x="118" y="77"/>
                      <a:pt x="120" y="63"/>
                      <a:pt x="123" y="44"/>
                    </a:cubicBezTo>
                    <a:lnTo>
                      <a:pt x="124" y="44"/>
                    </a:lnTo>
                    <a:cubicBezTo>
                      <a:pt x="126" y="62"/>
                      <a:pt x="129" y="76"/>
                      <a:pt x="134" y="101"/>
                    </a:cubicBezTo>
                    <a:lnTo>
                      <a:pt x="153" y="181"/>
                    </a:lnTo>
                    <a:lnTo>
                      <a:pt x="199" y="181"/>
                    </a:lnTo>
                    <a:lnTo>
                      <a:pt x="246" y="0"/>
                    </a:lnTo>
                    <a:lnTo>
                      <a:pt x="206" y="0"/>
                    </a:lnTo>
                    <a:lnTo>
                      <a:pt x="188" y="7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6" name="Freeform 65">
                <a:extLst>
                  <a:ext uri="{FF2B5EF4-FFF2-40B4-BE49-F238E27FC236}">
                    <a16:creationId xmlns:a16="http://schemas.microsoft.com/office/drawing/2014/main" id="{03B0F00D-D792-3D4E-A281-80A5ACFC9B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6815" y="3935822"/>
                <a:ext cx="3620" cy="5430"/>
              </a:xfrm>
              <a:custGeom>
                <a:avLst/>
                <a:gdLst>
                  <a:gd name="T0" fmla="*/ 2 w 7"/>
                  <a:gd name="T1" fmla="*/ 11 h 12"/>
                  <a:gd name="T2" fmla="*/ 3 w 7"/>
                  <a:gd name="T3" fmla="*/ 12 h 12"/>
                  <a:gd name="T4" fmla="*/ 7 w 7"/>
                  <a:gd name="T5" fmla="*/ 0 h 12"/>
                  <a:gd name="T6" fmla="*/ 0 w 7"/>
                  <a:gd name="T7" fmla="*/ 4 h 12"/>
                  <a:gd name="T8" fmla="*/ 2 w 7"/>
                  <a:gd name="T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2">
                    <a:moveTo>
                      <a:pt x="2" y="11"/>
                    </a:moveTo>
                    <a:cubicBezTo>
                      <a:pt x="2" y="11"/>
                      <a:pt x="2" y="12"/>
                      <a:pt x="3" y="12"/>
                    </a:cubicBezTo>
                    <a:cubicBezTo>
                      <a:pt x="3" y="9"/>
                      <a:pt x="5" y="5"/>
                      <a:pt x="7" y="0"/>
                    </a:cubicBezTo>
                    <a:cubicBezTo>
                      <a:pt x="5" y="2"/>
                      <a:pt x="3" y="3"/>
                      <a:pt x="0" y="4"/>
                    </a:cubicBezTo>
                    <a:cubicBezTo>
                      <a:pt x="1" y="6"/>
                      <a:pt x="2" y="6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7" name="Freeform 66">
                <a:extLst>
                  <a:ext uri="{FF2B5EF4-FFF2-40B4-BE49-F238E27FC236}">
                    <a16:creationId xmlns:a16="http://schemas.microsoft.com/office/drawing/2014/main" id="{E59F84A9-2DD1-F499-6759-797E8F9B05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81386" y="3941252"/>
                <a:ext cx="0" cy="0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" name="Freeform 67">
                <a:extLst>
                  <a:ext uri="{FF2B5EF4-FFF2-40B4-BE49-F238E27FC236}">
                    <a16:creationId xmlns:a16="http://schemas.microsoft.com/office/drawing/2014/main" id="{F3CD517E-784D-25EA-EB19-EDA20FFA44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08992" y="3937633"/>
                <a:ext cx="0" cy="5430"/>
              </a:xfrm>
              <a:custGeom>
                <a:avLst/>
                <a:gdLst>
                  <a:gd name="T0" fmla="*/ 1 w 2"/>
                  <a:gd name="T1" fmla="*/ 0 h 14"/>
                  <a:gd name="T2" fmla="*/ 1 w 2"/>
                  <a:gd name="T3" fmla="*/ 11 h 14"/>
                  <a:gd name="T4" fmla="*/ 2 w 2"/>
                  <a:gd name="T5" fmla="*/ 14 h 14"/>
                  <a:gd name="T6" fmla="*/ 1 w 2"/>
                  <a:gd name="T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4">
                    <a:moveTo>
                      <a:pt x="1" y="0"/>
                    </a:moveTo>
                    <a:cubicBezTo>
                      <a:pt x="0" y="4"/>
                      <a:pt x="1" y="8"/>
                      <a:pt x="1" y="11"/>
                    </a:cubicBezTo>
                    <a:cubicBezTo>
                      <a:pt x="1" y="12"/>
                      <a:pt x="2" y="13"/>
                      <a:pt x="2" y="14"/>
                    </a:cubicBezTo>
                    <a:cubicBezTo>
                      <a:pt x="2" y="9"/>
                      <a:pt x="2" y="5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9" name="Freeform 68">
                <a:extLst>
                  <a:ext uri="{FF2B5EF4-FFF2-40B4-BE49-F238E27FC236}">
                    <a16:creationId xmlns:a16="http://schemas.microsoft.com/office/drawing/2014/main" id="{3D3EDB9B-94E0-0B70-7C54-8964238E56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6907" y="3926774"/>
                <a:ext cx="7239" cy="16289"/>
              </a:xfrm>
              <a:custGeom>
                <a:avLst/>
                <a:gdLst>
                  <a:gd name="T0" fmla="*/ 6 w 19"/>
                  <a:gd name="T1" fmla="*/ 26 h 42"/>
                  <a:gd name="T2" fmla="*/ 13 w 19"/>
                  <a:gd name="T3" fmla="*/ 34 h 42"/>
                  <a:gd name="T4" fmla="*/ 15 w 19"/>
                  <a:gd name="T5" fmla="*/ 23 h 42"/>
                  <a:gd name="T6" fmla="*/ 19 w 19"/>
                  <a:gd name="T7" fmla="*/ 27 h 42"/>
                  <a:gd name="T8" fmla="*/ 19 w 19"/>
                  <a:gd name="T9" fmla="*/ 25 h 42"/>
                  <a:gd name="T10" fmla="*/ 13 w 19"/>
                  <a:gd name="T11" fmla="*/ 0 h 42"/>
                  <a:gd name="T12" fmla="*/ 4 w 19"/>
                  <a:gd name="T13" fmla="*/ 8 h 42"/>
                  <a:gd name="T14" fmla="*/ 0 w 19"/>
                  <a:gd name="T15" fmla="*/ 25 h 42"/>
                  <a:gd name="T16" fmla="*/ 4 w 19"/>
                  <a:gd name="T17" fmla="*/ 42 h 42"/>
                  <a:gd name="T18" fmla="*/ 7 w 19"/>
                  <a:gd name="T19" fmla="*/ 40 h 42"/>
                  <a:gd name="T20" fmla="*/ 7 w 19"/>
                  <a:gd name="T21" fmla="*/ 39 h 42"/>
                  <a:gd name="T22" fmla="*/ 3 w 19"/>
                  <a:gd name="T23" fmla="*/ 26 h 42"/>
                  <a:gd name="T24" fmla="*/ 3 w 19"/>
                  <a:gd name="T25" fmla="*/ 20 h 42"/>
                  <a:gd name="T26" fmla="*/ 6 w 19"/>
                  <a:gd name="T27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42">
                    <a:moveTo>
                      <a:pt x="6" y="26"/>
                    </a:moveTo>
                    <a:cubicBezTo>
                      <a:pt x="8" y="28"/>
                      <a:pt x="10" y="30"/>
                      <a:pt x="13" y="34"/>
                    </a:cubicBezTo>
                    <a:cubicBezTo>
                      <a:pt x="14" y="31"/>
                      <a:pt x="15" y="26"/>
                      <a:pt x="15" y="23"/>
                    </a:cubicBezTo>
                    <a:cubicBezTo>
                      <a:pt x="16" y="24"/>
                      <a:pt x="18" y="25"/>
                      <a:pt x="19" y="27"/>
                    </a:cubicBezTo>
                    <a:lnTo>
                      <a:pt x="19" y="25"/>
                    </a:lnTo>
                    <a:cubicBezTo>
                      <a:pt x="19" y="17"/>
                      <a:pt x="15" y="8"/>
                      <a:pt x="13" y="0"/>
                    </a:cubicBezTo>
                    <a:cubicBezTo>
                      <a:pt x="10" y="3"/>
                      <a:pt x="5" y="5"/>
                      <a:pt x="4" y="8"/>
                    </a:cubicBezTo>
                    <a:cubicBezTo>
                      <a:pt x="2" y="13"/>
                      <a:pt x="1" y="19"/>
                      <a:pt x="0" y="25"/>
                    </a:cubicBezTo>
                    <a:cubicBezTo>
                      <a:pt x="0" y="31"/>
                      <a:pt x="1" y="37"/>
                      <a:pt x="4" y="42"/>
                    </a:cubicBezTo>
                    <a:cubicBezTo>
                      <a:pt x="5" y="42"/>
                      <a:pt x="6" y="41"/>
                      <a:pt x="7" y="40"/>
                    </a:cubicBezTo>
                    <a:cubicBezTo>
                      <a:pt x="7" y="40"/>
                      <a:pt x="7" y="40"/>
                      <a:pt x="7" y="39"/>
                    </a:cubicBezTo>
                    <a:cubicBezTo>
                      <a:pt x="6" y="35"/>
                      <a:pt x="4" y="30"/>
                      <a:pt x="3" y="26"/>
                    </a:cubicBezTo>
                    <a:cubicBezTo>
                      <a:pt x="3" y="23"/>
                      <a:pt x="2" y="25"/>
                      <a:pt x="3" y="20"/>
                    </a:cubicBezTo>
                    <a:cubicBezTo>
                      <a:pt x="2" y="22"/>
                      <a:pt x="4" y="25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0" name="Freeform 69">
                <a:extLst>
                  <a:ext uri="{FF2B5EF4-FFF2-40B4-BE49-F238E27FC236}">
                    <a16:creationId xmlns:a16="http://schemas.microsoft.com/office/drawing/2014/main" id="{CACDB4EE-9ABE-68E5-AED5-0FB86C97FD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98133" y="3785607"/>
                <a:ext cx="18098" cy="9050"/>
              </a:xfrm>
              <a:custGeom>
                <a:avLst/>
                <a:gdLst>
                  <a:gd name="T0" fmla="*/ 36 w 44"/>
                  <a:gd name="T1" fmla="*/ 20 h 25"/>
                  <a:gd name="T2" fmla="*/ 22 w 44"/>
                  <a:gd name="T3" fmla="*/ 3 h 25"/>
                  <a:gd name="T4" fmla="*/ 1 w 44"/>
                  <a:gd name="T5" fmla="*/ 10 h 25"/>
                  <a:gd name="T6" fmla="*/ 36 w 44"/>
                  <a:gd name="T7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4" h="25">
                    <a:moveTo>
                      <a:pt x="36" y="20"/>
                    </a:moveTo>
                    <a:cubicBezTo>
                      <a:pt x="27" y="12"/>
                      <a:pt x="32" y="6"/>
                      <a:pt x="22" y="3"/>
                    </a:cubicBezTo>
                    <a:cubicBezTo>
                      <a:pt x="12" y="0"/>
                      <a:pt x="0" y="4"/>
                      <a:pt x="1" y="10"/>
                    </a:cubicBezTo>
                    <a:cubicBezTo>
                      <a:pt x="3" y="19"/>
                      <a:pt x="44" y="25"/>
                      <a:pt x="3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1" name="Freeform 70">
                <a:extLst>
                  <a:ext uri="{FF2B5EF4-FFF2-40B4-BE49-F238E27FC236}">
                    <a16:creationId xmlns:a16="http://schemas.microsoft.com/office/drawing/2014/main" id="{63385BC2-AD5D-2097-D57E-F4069EF221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9451" y="3628150"/>
                <a:ext cx="217180" cy="322151"/>
              </a:xfrm>
              <a:custGeom>
                <a:avLst/>
                <a:gdLst>
                  <a:gd name="T0" fmla="*/ 357 w 531"/>
                  <a:gd name="T1" fmla="*/ 727 h 784"/>
                  <a:gd name="T2" fmla="*/ 383 w 531"/>
                  <a:gd name="T3" fmla="*/ 715 h 784"/>
                  <a:gd name="T4" fmla="*/ 380 w 531"/>
                  <a:gd name="T5" fmla="*/ 734 h 784"/>
                  <a:gd name="T6" fmla="*/ 400 w 531"/>
                  <a:gd name="T7" fmla="*/ 720 h 784"/>
                  <a:gd name="T8" fmla="*/ 413 w 531"/>
                  <a:gd name="T9" fmla="*/ 743 h 784"/>
                  <a:gd name="T10" fmla="*/ 421 w 531"/>
                  <a:gd name="T11" fmla="*/ 759 h 784"/>
                  <a:gd name="T12" fmla="*/ 420 w 531"/>
                  <a:gd name="T13" fmla="*/ 690 h 784"/>
                  <a:gd name="T14" fmla="*/ 431 w 531"/>
                  <a:gd name="T15" fmla="*/ 748 h 784"/>
                  <a:gd name="T16" fmla="*/ 440 w 531"/>
                  <a:gd name="T17" fmla="*/ 746 h 784"/>
                  <a:gd name="T18" fmla="*/ 449 w 531"/>
                  <a:gd name="T19" fmla="*/ 731 h 784"/>
                  <a:gd name="T20" fmla="*/ 465 w 531"/>
                  <a:gd name="T21" fmla="*/ 727 h 784"/>
                  <a:gd name="T22" fmla="*/ 501 w 531"/>
                  <a:gd name="T23" fmla="*/ 448 h 784"/>
                  <a:gd name="T24" fmla="*/ 455 w 531"/>
                  <a:gd name="T25" fmla="*/ 349 h 784"/>
                  <a:gd name="T26" fmla="*/ 463 w 531"/>
                  <a:gd name="T27" fmla="*/ 58 h 784"/>
                  <a:gd name="T28" fmla="*/ 0 w 531"/>
                  <a:gd name="T29" fmla="*/ 0 h 784"/>
                  <a:gd name="T30" fmla="*/ 203 w 531"/>
                  <a:gd name="T31" fmla="*/ 234 h 784"/>
                  <a:gd name="T32" fmla="*/ 274 w 531"/>
                  <a:gd name="T33" fmla="*/ 227 h 784"/>
                  <a:gd name="T34" fmla="*/ 341 w 531"/>
                  <a:gd name="T35" fmla="*/ 226 h 784"/>
                  <a:gd name="T36" fmla="*/ 269 w 531"/>
                  <a:gd name="T37" fmla="*/ 284 h 784"/>
                  <a:gd name="T38" fmla="*/ 321 w 531"/>
                  <a:gd name="T39" fmla="*/ 312 h 784"/>
                  <a:gd name="T40" fmla="*/ 362 w 531"/>
                  <a:gd name="T41" fmla="*/ 425 h 784"/>
                  <a:gd name="T42" fmla="*/ 99 w 531"/>
                  <a:gd name="T43" fmla="*/ 574 h 784"/>
                  <a:gd name="T44" fmla="*/ 65 w 531"/>
                  <a:gd name="T45" fmla="*/ 605 h 784"/>
                  <a:gd name="T46" fmla="*/ 63 w 531"/>
                  <a:gd name="T47" fmla="*/ 728 h 784"/>
                  <a:gd name="T48" fmla="*/ 151 w 531"/>
                  <a:gd name="T49" fmla="*/ 776 h 784"/>
                  <a:gd name="T50" fmla="*/ 158 w 531"/>
                  <a:gd name="T51" fmla="*/ 772 h 784"/>
                  <a:gd name="T52" fmla="*/ 160 w 531"/>
                  <a:gd name="T53" fmla="*/ 753 h 784"/>
                  <a:gd name="T54" fmla="*/ 171 w 531"/>
                  <a:gd name="T55" fmla="*/ 751 h 784"/>
                  <a:gd name="T56" fmla="*/ 172 w 531"/>
                  <a:gd name="T57" fmla="*/ 754 h 784"/>
                  <a:gd name="T58" fmla="*/ 181 w 531"/>
                  <a:gd name="T59" fmla="*/ 763 h 784"/>
                  <a:gd name="T60" fmla="*/ 190 w 531"/>
                  <a:gd name="T61" fmla="*/ 747 h 784"/>
                  <a:gd name="T62" fmla="*/ 196 w 531"/>
                  <a:gd name="T63" fmla="*/ 750 h 784"/>
                  <a:gd name="T64" fmla="*/ 202 w 531"/>
                  <a:gd name="T65" fmla="*/ 756 h 784"/>
                  <a:gd name="T66" fmla="*/ 211 w 531"/>
                  <a:gd name="T67" fmla="*/ 760 h 784"/>
                  <a:gd name="T68" fmla="*/ 217 w 531"/>
                  <a:gd name="T69" fmla="*/ 746 h 784"/>
                  <a:gd name="T70" fmla="*/ 221 w 531"/>
                  <a:gd name="T71" fmla="*/ 735 h 784"/>
                  <a:gd name="T72" fmla="*/ 229 w 531"/>
                  <a:gd name="T73" fmla="*/ 733 h 784"/>
                  <a:gd name="T74" fmla="*/ 237 w 531"/>
                  <a:gd name="T75" fmla="*/ 770 h 784"/>
                  <a:gd name="T76" fmla="*/ 247 w 531"/>
                  <a:gd name="T77" fmla="*/ 754 h 784"/>
                  <a:gd name="T78" fmla="*/ 253 w 531"/>
                  <a:gd name="T79" fmla="*/ 769 h 784"/>
                  <a:gd name="T80" fmla="*/ 256 w 531"/>
                  <a:gd name="T81" fmla="*/ 753 h 784"/>
                  <a:gd name="T82" fmla="*/ 264 w 531"/>
                  <a:gd name="T83" fmla="*/ 753 h 784"/>
                  <a:gd name="T84" fmla="*/ 267 w 531"/>
                  <a:gd name="T85" fmla="*/ 774 h 784"/>
                  <a:gd name="T86" fmla="*/ 266 w 531"/>
                  <a:gd name="T87" fmla="*/ 726 h 784"/>
                  <a:gd name="T88" fmla="*/ 280 w 531"/>
                  <a:gd name="T89" fmla="*/ 761 h 784"/>
                  <a:gd name="T90" fmla="*/ 286 w 531"/>
                  <a:gd name="T91" fmla="*/ 763 h 784"/>
                  <a:gd name="T92" fmla="*/ 289 w 531"/>
                  <a:gd name="T93" fmla="*/ 753 h 784"/>
                  <a:gd name="T94" fmla="*/ 298 w 531"/>
                  <a:gd name="T95" fmla="*/ 760 h 784"/>
                  <a:gd name="T96" fmla="*/ 299 w 531"/>
                  <a:gd name="T97" fmla="*/ 724 h 784"/>
                  <a:gd name="T98" fmla="*/ 316 w 531"/>
                  <a:gd name="T99" fmla="*/ 730 h 784"/>
                  <a:gd name="T100" fmla="*/ 324 w 531"/>
                  <a:gd name="T101" fmla="*/ 745 h 784"/>
                  <a:gd name="T102" fmla="*/ 334 w 531"/>
                  <a:gd name="T103" fmla="*/ 725 h 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31" h="784">
                    <a:moveTo>
                      <a:pt x="349" y="756"/>
                    </a:moveTo>
                    <a:cubicBezTo>
                      <a:pt x="349" y="754"/>
                      <a:pt x="350" y="748"/>
                      <a:pt x="351" y="746"/>
                    </a:cubicBezTo>
                    <a:cubicBezTo>
                      <a:pt x="354" y="741"/>
                      <a:pt x="355" y="732"/>
                      <a:pt x="356" y="726"/>
                    </a:cubicBezTo>
                    <a:cubicBezTo>
                      <a:pt x="356" y="726"/>
                      <a:pt x="356" y="727"/>
                      <a:pt x="357" y="727"/>
                    </a:cubicBezTo>
                    <a:cubicBezTo>
                      <a:pt x="359" y="736"/>
                      <a:pt x="360" y="742"/>
                      <a:pt x="363" y="753"/>
                    </a:cubicBezTo>
                    <a:cubicBezTo>
                      <a:pt x="364" y="742"/>
                      <a:pt x="368" y="732"/>
                      <a:pt x="373" y="723"/>
                    </a:cubicBezTo>
                    <a:cubicBezTo>
                      <a:pt x="378" y="714"/>
                      <a:pt x="384" y="705"/>
                      <a:pt x="388" y="694"/>
                    </a:cubicBezTo>
                    <a:cubicBezTo>
                      <a:pt x="387" y="702"/>
                      <a:pt x="388" y="708"/>
                      <a:pt x="383" y="715"/>
                    </a:cubicBezTo>
                    <a:cubicBezTo>
                      <a:pt x="379" y="722"/>
                      <a:pt x="377" y="725"/>
                      <a:pt x="376" y="730"/>
                    </a:cubicBezTo>
                    <a:cubicBezTo>
                      <a:pt x="375" y="734"/>
                      <a:pt x="374" y="740"/>
                      <a:pt x="371" y="751"/>
                    </a:cubicBezTo>
                    <a:cubicBezTo>
                      <a:pt x="371" y="750"/>
                      <a:pt x="374" y="747"/>
                      <a:pt x="374" y="745"/>
                    </a:cubicBezTo>
                    <a:cubicBezTo>
                      <a:pt x="375" y="741"/>
                      <a:pt x="378" y="737"/>
                      <a:pt x="380" y="734"/>
                    </a:cubicBezTo>
                    <a:cubicBezTo>
                      <a:pt x="384" y="727"/>
                      <a:pt x="390" y="723"/>
                      <a:pt x="396" y="721"/>
                    </a:cubicBezTo>
                    <a:cubicBezTo>
                      <a:pt x="396" y="721"/>
                      <a:pt x="396" y="720"/>
                      <a:pt x="395" y="720"/>
                    </a:cubicBezTo>
                    <a:cubicBezTo>
                      <a:pt x="396" y="720"/>
                      <a:pt x="396" y="720"/>
                      <a:pt x="397" y="721"/>
                    </a:cubicBezTo>
                    <a:cubicBezTo>
                      <a:pt x="398" y="720"/>
                      <a:pt x="399" y="720"/>
                      <a:pt x="400" y="720"/>
                    </a:cubicBezTo>
                    <a:cubicBezTo>
                      <a:pt x="399" y="721"/>
                      <a:pt x="399" y="722"/>
                      <a:pt x="398" y="722"/>
                    </a:cubicBezTo>
                    <a:cubicBezTo>
                      <a:pt x="400" y="725"/>
                      <a:pt x="403" y="730"/>
                      <a:pt x="405" y="735"/>
                    </a:cubicBezTo>
                    <a:cubicBezTo>
                      <a:pt x="407" y="741"/>
                      <a:pt x="410" y="747"/>
                      <a:pt x="412" y="753"/>
                    </a:cubicBezTo>
                    <a:cubicBezTo>
                      <a:pt x="412" y="750"/>
                      <a:pt x="413" y="746"/>
                      <a:pt x="413" y="743"/>
                    </a:cubicBezTo>
                    <a:cubicBezTo>
                      <a:pt x="413" y="736"/>
                      <a:pt x="411" y="731"/>
                      <a:pt x="407" y="727"/>
                    </a:cubicBezTo>
                    <a:cubicBezTo>
                      <a:pt x="408" y="727"/>
                      <a:pt x="413" y="734"/>
                      <a:pt x="413" y="735"/>
                    </a:cubicBezTo>
                    <a:cubicBezTo>
                      <a:pt x="418" y="741"/>
                      <a:pt x="419" y="751"/>
                      <a:pt x="421" y="759"/>
                    </a:cubicBezTo>
                    <a:cubicBezTo>
                      <a:pt x="421" y="759"/>
                      <a:pt x="421" y="759"/>
                      <a:pt x="421" y="759"/>
                    </a:cubicBezTo>
                    <a:cubicBezTo>
                      <a:pt x="421" y="755"/>
                      <a:pt x="421" y="751"/>
                      <a:pt x="421" y="747"/>
                    </a:cubicBezTo>
                    <a:cubicBezTo>
                      <a:pt x="420" y="742"/>
                      <a:pt x="419" y="737"/>
                      <a:pt x="419" y="731"/>
                    </a:cubicBezTo>
                    <a:cubicBezTo>
                      <a:pt x="418" y="725"/>
                      <a:pt x="418" y="718"/>
                      <a:pt x="418" y="711"/>
                    </a:cubicBezTo>
                    <a:cubicBezTo>
                      <a:pt x="418" y="704"/>
                      <a:pt x="419" y="697"/>
                      <a:pt x="420" y="690"/>
                    </a:cubicBezTo>
                    <a:cubicBezTo>
                      <a:pt x="419" y="699"/>
                      <a:pt x="420" y="709"/>
                      <a:pt x="422" y="718"/>
                    </a:cubicBezTo>
                    <a:cubicBezTo>
                      <a:pt x="424" y="727"/>
                      <a:pt x="427" y="736"/>
                      <a:pt x="429" y="744"/>
                    </a:cubicBezTo>
                    <a:cubicBezTo>
                      <a:pt x="430" y="743"/>
                      <a:pt x="431" y="740"/>
                      <a:pt x="432" y="739"/>
                    </a:cubicBezTo>
                    <a:cubicBezTo>
                      <a:pt x="431" y="742"/>
                      <a:pt x="431" y="745"/>
                      <a:pt x="431" y="748"/>
                    </a:cubicBezTo>
                    <a:cubicBezTo>
                      <a:pt x="431" y="748"/>
                      <a:pt x="431" y="748"/>
                      <a:pt x="431" y="749"/>
                    </a:cubicBezTo>
                    <a:cubicBezTo>
                      <a:pt x="432" y="751"/>
                      <a:pt x="432" y="752"/>
                      <a:pt x="433" y="752"/>
                    </a:cubicBezTo>
                    <a:cubicBezTo>
                      <a:pt x="435" y="751"/>
                      <a:pt x="437" y="750"/>
                      <a:pt x="439" y="748"/>
                    </a:cubicBezTo>
                    <a:cubicBezTo>
                      <a:pt x="439" y="747"/>
                      <a:pt x="440" y="747"/>
                      <a:pt x="440" y="746"/>
                    </a:cubicBezTo>
                    <a:cubicBezTo>
                      <a:pt x="440" y="743"/>
                      <a:pt x="439" y="739"/>
                      <a:pt x="439" y="736"/>
                    </a:cubicBezTo>
                    <a:cubicBezTo>
                      <a:pt x="439" y="736"/>
                      <a:pt x="440" y="738"/>
                      <a:pt x="441" y="738"/>
                    </a:cubicBezTo>
                    <a:cubicBezTo>
                      <a:pt x="441" y="739"/>
                      <a:pt x="442" y="740"/>
                      <a:pt x="442" y="742"/>
                    </a:cubicBezTo>
                    <a:cubicBezTo>
                      <a:pt x="445" y="738"/>
                      <a:pt x="447" y="734"/>
                      <a:pt x="449" y="731"/>
                    </a:cubicBezTo>
                    <a:cubicBezTo>
                      <a:pt x="454" y="724"/>
                      <a:pt x="465" y="714"/>
                      <a:pt x="466" y="703"/>
                    </a:cubicBezTo>
                    <a:cubicBezTo>
                      <a:pt x="465" y="712"/>
                      <a:pt x="461" y="720"/>
                      <a:pt x="457" y="728"/>
                    </a:cubicBezTo>
                    <a:cubicBezTo>
                      <a:pt x="455" y="731"/>
                      <a:pt x="452" y="736"/>
                      <a:pt x="451" y="739"/>
                    </a:cubicBezTo>
                    <a:cubicBezTo>
                      <a:pt x="455" y="736"/>
                      <a:pt x="460" y="731"/>
                      <a:pt x="465" y="727"/>
                    </a:cubicBezTo>
                    <a:cubicBezTo>
                      <a:pt x="465" y="726"/>
                      <a:pt x="466" y="726"/>
                      <a:pt x="466" y="725"/>
                    </a:cubicBezTo>
                    <a:cubicBezTo>
                      <a:pt x="468" y="724"/>
                      <a:pt x="469" y="723"/>
                      <a:pt x="470" y="722"/>
                    </a:cubicBezTo>
                    <a:cubicBezTo>
                      <a:pt x="510" y="683"/>
                      <a:pt x="530" y="629"/>
                      <a:pt x="531" y="561"/>
                    </a:cubicBezTo>
                    <a:cubicBezTo>
                      <a:pt x="531" y="520"/>
                      <a:pt x="521" y="482"/>
                      <a:pt x="501" y="448"/>
                    </a:cubicBezTo>
                    <a:cubicBezTo>
                      <a:pt x="489" y="429"/>
                      <a:pt x="473" y="413"/>
                      <a:pt x="455" y="401"/>
                    </a:cubicBezTo>
                    <a:lnTo>
                      <a:pt x="407" y="381"/>
                    </a:lnTo>
                    <a:lnTo>
                      <a:pt x="407" y="378"/>
                    </a:lnTo>
                    <a:cubicBezTo>
                      <a:pt x="426" y="369"/>
                      <a:pt x="441" y="360"/>
                      <a:pt x="455" y="349"/>
                    </a:cubicBezTo>
                    <a:cubicBezTo>
                      <a:pt x="457" y="347"/>
                      <a:pt x="460" y="345"/>
                      <a:pt x="463" y="343"/>
                    </a:cubicBezTo>
                    <a:cubicBezTo>
                      <a:pt x="477" y="330"/>
                      <a:pt x="489" y="317"/>
                      <a:pt x="497" y="303"/>
                    </a:cubicBezTo>
                    <a:cubicBezTo>
                      <a:pt x="512" y="273"/>
                      <a:pt x="520" y="242"/>
                      <a:pt x="519" y="210"/>
                    </a:cubicBezTo>
                    <a:cubicBezTo>
                      <a:pt x="519" y="147"/>
                      <a:pt x="500" y="96"/>
                      <a:pt x="463" y="58"/>
                    </a:cubicBezTo>
                    <a:cubicBezTo>
                      <a:pt x="460" y="56"/>
                      <a:pt x="457" y="53"/>
                      <a:pt x="455" y="51"/>
                    </a:cubicBezTo>
                    <a:cubicBezTo>
                      <a:pt x="448" y="45"/>
                      <a:pt x="442" y="40"/>
                      <a:pt x="434" y="36"/>
                    </a:cubicBezTo>
                    <a:cubicBezTo>
                      <a:pt x="399" y="13"/>
                      <a:pt x="352" y="0"/>
                      <a:pt x="294" y="0"/>
                    </a:cubicBezTo>
                    <a:lnTo>
                      <a:pt x="0" y="0"/>
                    </a:lnTo>
                    <a:lnTo>
                      <a:pt x="0" y="275"/>
                    </a:lnTo>
                    <a:cubicBezTo>
                      <a:pt x="70" y="281"/>
                      <a:pt x="147" y="280"/>
                      <a:pt x="168" y="249"/>
                    </a:cubicBezTo>
                    <a:cubicBezTo>
                      <a:pt x="172" y="244"/>
                      <a:pt x="173" y="231"/>
                      <a:pt x="193" y="233"/>
                    </a:cubicBezTo>
                    <a:cubicBezTo>
                      <a:pt x="195" y="233"/>
                      <a:pt x="199" y="233"/>
                      <a:pt x="203" y="234"/>
                    </a:cubicBezTo>
                    <a:cubicBezTo>
                      <a:pt x="205" y="234"/>
                      <a:pt x="207" y="234"/>
                      <a:pt x="209" y="234"/>
                    </a:cubicBezTo>
                    <a:cubicBezTo>
                      <a:pt x="225" y="234"/>
                      <a:pt x="246" y="233"/>
                      <a:pt x="269" y="229"/>
                    </a:cubicBezTo>
                    <a:cubicBezTo>
                      <a:pt x="270" y="228"/>
                      <a:pt x="272" y="228"/>
                      <a:pt x="273" y="228"/>
                    </a:cubicBezTo>
                    <a:cubicBezTo>
                      <a:pt x="273" y="227"/>
                      <a:pt x="273" y="227"/>
                      <a:pt x="274" y="227"/>
                    </a:cubicBezTo>
                    <a:cubicBezTo>
                      <a:pt x="282" y="225"/>
                      <a:pt x="290" y="223"/>
                      <a:pt x="298" y="220"/>
                    </a:cubicBezTo>
                    <a:cubicBezTo>
                      <a:pt x="303" y="218"/>
                      <a:pt x="309" y="215"/>
                      <a:pt x="314" y="212"/>
                    </a:cubicBezTo>
                    <a:cubicBezTo>
                      <a:pt x="357" y="188"/>
                      <a:pt x="379" y="160"/>
                      <a:pt x="379" y="160"/>
                    </a:cubicBezTo>
                    <a:cubicBezTo>
                      <a:pt x="379" y="160"/>
                      <a:pt x="366" y="196"/>
                      <a:pt x="341" y="226"/>
                    </a:cubicBezTo>
                    <a:cubicBezTo>
                      <a:pt x="326" y="245"/>
                      <a:pt x="311" y="259"/>
                      <a:pt x="295" y="270"/>
                    </a:cubicBezTo>
                    <a:cubicBezTo>
                      <a:pt x="288" y="275"/>
                      <a:pt x="280" y="279"/>
                      <a:pt x="273" y="282"/>
                    </a:cubicBezTo>
                    <a:cubicBezTo>
                      <a:pt x="272" y="283"/>
                      <a:pt x="271" y="283"/>
                      <a:pt x="270" y="284"/>
                    </a:cubicBezTo>
                    <a:cubicBezTo>
                      <a:pt x="270" y="284"/>
                      <a:pt x="270" y="284"/>
                      <a:pt x="269" y="284"/>
                    </a:cubicBezTo>
                    <a:cubicBezTo>
                      <a:pt x="232" y="301"/>
                      <a:pt x="203" y="299"/>
                      <a:pt x="203" y="299"/>
                    </a:cubicBezTo>
                    <a:cubicBezTo>
                      <a:pt x="244" y="303"/>
                      <a:pt x="282" y="299"/>
                      <a:pt x="319" y="280"/>
                    </a:cubicBezTo>
                    <a:cubicBezTo>
                      <a:pt x="352" y="264"/>
                      <a:pt x="361" y="248"/>
                      <a:pt x="363" y="244"/>
                    </a:cubicBezTo>
                    <a:cubicBezTo>
                      <a:pt x="360" y="251"/>
                      <a:pt x="339" y="297"/>
                      <a:pt x="321" y="312"/>
                    </a:cubicBezTo>
                    <a:lnTo>
                      <a:pt x="302" y="329"/>
                    </a:lnTo>
                    <a:lnTo>
                      <a:pt x="288" y="340"/>
                    </a:lnTo>
                    <a:cubicBezTo>
                      <a:pt x="288" y="340"/>
                      <a:pt x="284" y="352"/>
                      <a:pt x="314" y="383"/>
                    </a:cubicBezTo>
                    <a:cubicBezTo>
                      <a:pt x="326" y="394"/>
                      <a:pt x="345" y="411"/>
                      <a:pt x="362" y="425"/>
                    </a:cubicBezTo>
                    <a:cubicBezTo>
                      <a:pt x="371" y="433"/>
                      <a:pt x="379" y="440"/>
                      <a:pt x="385" y="446"/>
                    </a:cubicBezTo>
                    <a:cubicBezTo>
                      <a:pt x="418" y="478"/>
                      <a:pt x="348" y="531"/>
                      <a:pt x="304" y="504"/>
                    </a:cubicBezTo>
                    <a:cubicBezTo>
                      <a:pt x="282" y="491"/>
                      <a:pt x="211" y="521"/>
                      <a:pt x="167" y="515"/>
                    </a:cubicBezTo>
                    <a:cubicBezTo>
                      <a:pt x="111" y="508"/>
                      <a:pt x="121" y="546"/>
                      <a:pt x="99" y="574"/>
                    </a:cubicBezTo>
                    <a:cubicBezTo>
                      <a:pt x="68" y="614"/>
                      <a:pt x="45" y="559"/>
                      <a:pt x="42" y="540"/>
                    </a:cubicBezTo>
                    <a:cubicBezTo>
                      <a:pt x="38" y="513"/>
                      <a:pt x="28" y="484"/>
                      <a:pt x="0" y="472"/>
                    </a:cubicBezTo>
                    <a:lnTo>
                      <a:pt x="0" y="474"/>
                    </a:lnTo>
                    <a:cubicBezTo>
                      <a:pt x="50" y="501"/>
                      <a:pt x="11" y="562"/>
                      <a:pt x="65" y="605"/>
                    </a:cubicBezTo>
                    <a:cubicBezTo>
                      <a:pt x="58" y="622"/>
                      <a:pt x="49" y="636"/>
                      <a:pt x="45" y="650"/>
                    </a:cubicBezTo>
                    <a:cubicBezTo>
                      <a:pt x="46" y="653"/>
                      <a:pt x="48" y="655"/>
                      <a:pt x="49" y="657"/>
                    </a:cubicBezTo>
                    <a:cubicBezTo>
                      <a:pt x="54" y="665"/>
                      <a:pt x="69" y="666"/>
                      <a:pt x="69" y="675"/>
                    </a:cubicBezTo>
                    <a:cubicBezTo>
                      <a:pt x="70" y="683"/>
                      <a:pt x="68" y="722"/>
                      <a:pt x="63" y="728"/>
                    </a:cubicBezTo>
                    <a:cubicBezTo>
                      <a:pt x="59" y="733"/>
                      <a:pt x="60" y="761"/>
                      <a:pt x="41" y="784"/>
                    </a:cubicBezTo>
                    <a:lnTo>
                      <a:pt x="129" y="784"/>
                    </a:lnTo>
                    <a:cubicBezTo>
                      <a:pt x="136" y="782"/>
                      <a:pt x="143" y="779"/>
                      <a:pt x="151" y="777"/>
                    </a:cubicBezTo>
                    <a:cubicBezTo>
                      <a:pt x="151" y="777"/>
                      <a:pt x="151" y="776"/>
                      <a:pt x="151" y="776"/>
                    </a:cubicBezTo>
                    <a:cubicBezTo>
                      <a:pt x="153" y="768"/>
                      <a:pt x="150" y="762"/>
                      <a:pt x="146" y="756"/>
                    </a:cubicBezTo>
                    <a:cubicBezTo>
                      <a:pt x="143" y="749"/>
                      <a:pt x="139" y="743"/>
                      <a:pt x="138" y="736"/>
                    </a:cubicBezTo>
                    <a:cubicBezTo>
                      <a:pt x="139" y="743"/>
                      <a:pt x="146" y="749"/>
                      <a:pt x="149" y="754"/>
                    </a:cubicBezTo>
                    <a:cubicBezTo>
                      <a:pt x="152" y="758"/>
                      <a:pt x="158" y="767"/>
                      <a:pt x="158" y="772"/>
                    </a:cubicBezTo>
                    <a:cubicBezTo>
                      <a:pt x="159" y="770"/>
                      <a:pt x="161" y="767"/>
                      <a:pt x="161" y="765"/>
                    </a:cubicBezTo>
                    <a:lnTo>
                      <a:pt x="161" y="762"/>
                    </a:lnTo>
                    <a:cubicBezTo>
                      <a:pt x="161" y="761"/>
                      <a:pt x="161" y="760"/>
                      <a:pt x="161" y="759"/>
                    </a:cubicBezTo>
                    <a:cubicBezTo>
                      <a:pt x="161" y="757"/>
                      <a:pt x="160" y="755"/>
                      <a:pt x="160" y="753"/>
                    </a:cubicBezTo>
                    <a:cubicBezTo>
                      <a:pt x="161" y="756"/>
                      <a:pt x="162" y="758"/>
                      <a:pt x="163" y="761"/>
                    </a:cubicBezTo>
                    <a:cubicBezTo>
                      <a:pt x="164" y="763"/>
                      <a:pt x="166" y="766"/>
                      <a:pt x="166" y="769"/>
                    </a:cubicBezTo>
                    <a:cubicBezTo>
                      <a:pt x="167" y="764"/>
                      <a:pt x="168" y="759"/>
                      <a:pt x="170" y="755"/>
                    </a:cubicBezTo>
                    <a:cubicBezTo>
                      <a:pt x="170" y="753"/>
                      <a:pt x="171" y="752"/>
                      <a:pt x="171" y="751"/>
                    </a:cubicBezTo>
                    <a:cubicBezTo>
                      <a:pt x="171" y="751"/>
                      <a:pt x="171" y="752"/>
                      <a:pt x="171" y="752"/>
                    </a:cubicBezTo>
                    <a:cubicBezTo>
                      <a:pt x="171" y="752"/>
                      <a:pt x="171" y="751"/>
                      <a:pt x="172" y="751"/>
                    </a:cubicBezTo>
                    <a:cubicBezTo>
                      <a:pt x="172" y="750"/>
                      <a:pt x="175" y="747"/>
                      <a:pt x="176" y="747"/>
                    </a:cubicBezTo>
                    <a:cubicBezTo>
                      <a:pt x="173" y="749"/>
                      <a:pt x="172" y="751"/>
                      <a:pt x="172" y="754"/>
                    </a:cubicBezTo>
                    <a:cubicBezTo>
                      <a:pt x="173" y="756"/>
                      <a:pt x="174" y="757"/>
                      <a:pt x="175" y="758"/>
                    </a:cubicBezTo>
                    <a:cubicBezTo>
                      <a:pt x="175" y="759"/>
                      <a:pt x="177" y="760"/>
                      <a:pt x="179" y="761"/>
                    </a:cubicBezTo>
                    <a:cubicBezTo>
                      <a:pt x="179" y="760"/>
                      <a:pt x="180" y="760"/>
                      <a:pt x="181" y="759"/>
                    </a:cubicBezTo>
                    <a:cubicBezTo>
                      <a:pt x="181" y="760"/>
                      <a:pt x="181" y="761"/>
                      <a:pt x="181" y="763"/>
                    </a:cubicBezTo>
                    <a:cubicBezTo>
                      <a:pt x="184" y="764"/>
                      <a:pt x="187" y="765"/>
                      <a:pt x="190" y="765"/>
                    </a:cubicBezTo>
                    <a:cubicBezTo>
                      <a:pt x="191" y="760"/>
                      <a:pt x="189" y="754"/>
                      <a:pt x="188" y="750"/>
                    </a:cubicBezTo>
                    <a:cubicBezTo>
                      <a:pt x="187" y="747"/>
                      <a:pt x="181" y="745"/>
                      <a:pt x="180" y="742"/>
                    </a:cubicBezTo>
                    <a:cubicBezTo>
                      <a:pt x="184" y="743"/>
                      <a:pt x="187" y="745"/>
                      <a:pt x="190" y="747"/>
                    </a:cubicBezTo>
                    <a:cubicBezTo>
                      <a:pt x="189" y="747"/>
                      <a:pt x="189" y="746"/>
                      <a:pt x="189" y="746"/>
                    </a:cubicBezTo>
                    <a:cubicBezTo>
                      <a:pt x="189" y="744"/>
                      <a:pt x="189" y="745"/>
                      <a:pt x="189" y="741"/>
                    </a:cubicBezTo>
                    <a:cubicBezTo>
                      <a:pt x="189" y="742"/>
                      <a:pt x="191" y="746"/>
                      <a:pt x="192" y="746"/>
                    </a:cubicBezTo>
                    <a:cubicBezTo>
                      <a:pt x="193" y="747"/>
                      <a:pt x="194" y="748"/>
                      <a:pt x="196" y="750"/>
                    </a:cubicBezTo>
                    <a:cubicBezTo>
                      <a:pt x="195" y="746"/>
                      <a:pt x="193" y="744"/>
                      <a:pt x="191" y="739"/>
                    </a:cubicBezTo>
                    <a:cubicBezTo>
                      <a:pt x="188" y="735"/>
                      <a:pt x="188" y="731"/>
                      <a:pt x="188" y="726"/>
                    </a:cubicBezTo>
                    <a:cubicBezTo>
                      <a:pt x="190" y="732"/>
                      <a:pt x="193" y="737"/>
                      <a:pt x="195" y="741"/>
                    </a:cubicBezTo>
                    <a:cubicBezTo>
                      <a:pt x="198" y="746"/>
                      <a:pt x="200" y="751"/>
                      <a:pt x="202" y="756"/>
                    </a:cubicBezTo>
                    <a:cubicBezTo>
                      <a:pt x="203" y="757"/>
                      <a:pt x="204" y="758"/>
                      <a:pt x="205" y="759"/>
                    </a:cubicBezTo>
                    <a:cubicBezTo>
                      <a:pt x="206" y="755"/>
                      <a:pt x="207" y="752"/>
                      <a:pt x="208" y="748"/>
                    </a:cubicBezTo>
                    <a:cubicBezTo>
                      <a:pt x="208" y="748"/>
                      <a:pt x="208" y="747"/>
                      <a:pt x="208" y="747"/>
                    </a:cubicBezTo>
                    <a:cubicBezTo>
                      <a:pt x="209" y="751"/>
                      <a:pt x="209" y="756"/>
                      <a:pt x="211" y="760"/>
                    </a:cubicBezTo>
                    <a:lnTo>
                      <a:pt x="211" y="760"/>
                    </a:lnTo>
                    <a:cubicBezTo>
                      <a:pt x="212" y="757"/>
                      <a:pt x="212" y="754"/>
                      <a:pt x="212" y="751"/>
                    </a:cubicBezTo>
                    <a:cubicBezTo>
                      <a:pt x="214" y="740"/>
                      <a:pt x="206" y="737"/>
                      <a:pt x="199" y="729"/>
                    </a:cubicBezTo>
                    <a:cubicBezTo>
                      <a:pt x="204" y="728"/>
                      <a:pt x="213" y="736"/>
                      <a:pt x="217" y="746"/>
                    </a:cubicBezTo>
                    <a:cubicBezTo>
                      <a:pt x="219" y="749"/>
                      <a:pt x="220" y="753"/>
                      <a:pt x="221" y="757"/>
                    </a:cubicBezTo>
                    <a:cubicBezTo>
                      <a:pt x="222" y="753"/>
                      <a:pt x="222" y="750"/>
                      <a:pt x="222" y="747"/>
                    </a:cubicBezTo>
                    <a:cubicBezTo>
                      <a:pt x="223" y="749"/>
                      <a:pt x="223" y="751"/>
                      <a:pt x="224" y="753"/>
                    </a:cubicBezTo>
                    <a:cubicBezTo>
                      <a:pt x="223" y="748"/>
                      <a:pt x="222" y="742"/>
                      <a:pt x="221" y="735"/>
                    </a:cubicBezTo>
                    <a:cubicBezTo>
                      <a:pt x="219" y="727"/>
                      <a:pt x="220" y="721"/>
                      <a:pt x="223" y="716"/>
                    </a:cubicBezTo>
                    <a:cubicBezTo>
                      <a:pt x="225" y="711"/>
                      <a:pt x="229" y="708"/>
                      <a:pt x="231" y="704"/>
                    </a:cubicBezTo>
                    <a:cubicBezTo>
                      <a:pt x="229" y="711"/>
                      <a:pt x="228" y="715"/>
                      <a:pt x="228" y="720"/>
                    </a:cubicBezTo>
                    <a:cubicBezTo>
                      <a:pt x="227" y="724"/>
                      <a:pt x="228" y="728"/>
                      <a:pt x="229" y="733"/>
                    </a:cubicBezTo>
                    <a:cubicBezTo>
                      <a:pt x="230" y="732"/>
                      <a:pt x="231" y="731"/>
                      <a:pt x="232" y="731"/>
                    </a:cubicBezTo>
                    <a:cubicBezTo>
                      <a:pt x="231" y="733"/>
                      <a:pt x="231" y="734"/>
                      <a:pt x="230" y="736"/>
                    </a:cubicBezTo>
                    <a:cubicBezTo>
                      <a:pt x="231" y="739"/>
                      <a:pt x="232" y="742"/>
                      <a:pt x="233" y="746"/>
                    </a:cubicBezTo>
                    <a:cubicBezTo>
                      <a:pt x="236" y="752"/>
                      <a:pt x="236" y="761"/>
                      <a:pt x="237" y="770"/>
                    </a:cubicBezTo>
                    <a:cubicBezTo>
                      <a:pt x="237" y="763"/>
                      <a:pt x="237" y="755"/>
                      <a:pt x="242" y="749"/>
                    </a:cubicBezTo>
                    <a:cubicBezTo>
                      <a:pt x="242" y="747"/>
                      <a:pt x="242" y="744"/>
                      <a:pt x="241" y="742"/>
                    </a:cubicBezTo>
                    <a:cubicBezTo>
                      <a:pt x="241" y="743"/>
                      <a:pt x="243" y="744"/>
                      <a:pt x="243" y="745"/>
                    </a:cubicBezTo>
                    <a:cubicBezTo>
                      <a:pt x="245" y="747"/>
                      <a:pt x="247" y="752"/>
                      <a:pt x="247" y="754"/>
                    </a:cubicBezTo>
                    <a:cubicBezTo>
                      <a:pt x="248" y="758"/>
                      <a:pt x="250" y="762"/>
                      <a:pt x="251" y="765"/>
                    </a:cubicBezTo>
                    <a:cubicBezTo>
                      <a:pt x="252" y="764"/>
                      <a:pt x="253" y="762"/>
                      <a:pt x="253" y="760"/>
                    </a:cubicBezTo>
                    <a:cubicBezTo>
                      <a:pt x="253" y="763"/>
                      <a:pt x="253" y="766"/>
                      <a:pt x="253" y="769"/>
                    </a:cubicBezTo>
                    <a:lnTo>
                      <a:pt x="253" y="769"/>
                    </a:lnTo>
                    <a:cubicBezTo>
                      <a:pt x="253" y="770"/>
                      <a:pt x="254" y="771"/>
                      <a:pt x="254" y="772"/>
                    </a:cubicBezTo>
                    <a:cubicBezTo>
                      <a:pt x="254" y="772"/>
                      <a:pt x="255" y="772"/>
                      <a:pt x="255" y="771"/>
                    </a:cubicBezTo>
                    <a:cubicBezTo>
                      <a:pt x="256" y="768"/>
                      <a:pt x="256" y="765"/>
                      <a:pt x="256" y="762"/>
                    </a:cubicBezTo>
                    <a:cubicBezTo>
                      <a:pt x="256" y="759"/>
                      <a:pt x="256" y="756"/>
                      <a:pt x="256" y="753"/>
                    </a:cubicBezTo>
                    <a:cubicBezTo>
                      <a:pt x="256" y="751"/>
                      <a:pt x="258" y="747"/>
                      <a:pt x="259" y="744"/>
                    </a:cubicBezTo>
                    <a:cubicBezTo>
                      <a:pt x="258" y="749"/>
                      <a:pt x="259" y="755"/>
                      <a:pt x="261" y="760"/>
                    </a:cubicBezTo>
                    <a:cubicBezTo>
                      <a:pt x="261" y="760"/>
                      <a:pt x="261" y="760"/>
                      <a:pt x="261" y="759"/>
                    </a:cubicBezTo>
                    <a:cubicBezTo>
                      <a:pt x="261" y="758"/>
                      <a:pt x="263" y="754"/>
                      <a:pt x="264" y="753"/>
                    </a:cubicBezTo>
                    <a:cubicBezTo>
                      <a:pt x="264" y="752"/>
                      <a:pt x="266" y="750"/>
                      <a:pt x="266" y="749"/>
                    </a:cubicBezTo>
                    <a:cubicBezTo>
                      <a:pt x="264" y="754"/>
                      <a:pt x="263" y="760"/>
                      <a:pt x="263" y="765"/>
                    </a:cubicBezTo>
                    <a:cubicBezTo>
                      <a:pt x="264" y="768"/>
                      <a:pt x="265" y="770"/>
                      <a:pt x="266" y="772"/>
                    </a:cubicBezTo>
                    <a:cubicBezTo>
                      <a:pt x="267" y="773"/>
                      <a:pt x="267" y="774"/>
                      <a:pt x="267" y="774"/>
                    </a:cubicBezTo>
                    <a:cubicBezTo>
                      <a:pt x="269" y="770"/>
                      <a:pt x="270" y="765"/>
                      <a:pt x="270" y="761"/>
                    </a:cubicBezTo>
                    <a:cubicBezTo>
                      <a:pt x="270" y="762"/>
                      <a:pt x="271" y="763"/>
                      <a:pt x="271" y="764"/>
                    </a:cubicBezTo>
                    <a:cubicBezTo>
                      <a:pt x="271" y="758"/>
                      <a:pt x="270" y="751"/>
                      <a:pt x="269" y="745"/>
                    </a:cubicBezTo>
                    <a:cubicBezTo>
                      <a:pt x="269" y="739"/>
                      <a:pt x="267" y="733"/>
                      <a:pt x="266" y="726"/>
                    </a:cubicBezTo>
                    <a:cubicBezTo>
                      <a:pt x="266" y="728"/>
                      <a:pt x="268" y="731"/>
                      <a:pt x="269" y="731"/>
                    </a:cubicBezTo>
                    <a:cubicBezTo>
                      <a:pt x="270" y="734"/>
                      <a:pt x="272" y="739"/>
                      <a:pt x="273" y="743"/>
                    </a:cubicBezTo>
                    <a:cubicBezTo>
                      <a:pt x="274" y="747"/>
                      <a:pt x="277" y="754"/>
                      <a:pt x="279" y="759"/>
                    </a:cubicBezTo>
                    <a:cubicBezTo>
                      <a:pt x="279" y="760"/>
                      <a:pt x="280" y="760"/>
                      <a:pt x="280" y="761"/>
                    </a:cubicBezTo>
                    <a:cubicBezTo>
                      <a:pt x="281" y="761"/>
                      <a:pt x="281" y="760"/>
                      <a:pt x="281" y="760"/>
                    </a:cubicBezTo>
                    <a:lnTo>
                      <a:pt x="281" y="761"/>
                    </a:lnTo>
                    <a:cubicBezTo>
                      <a:pt x="282" y="762"/>
                      <a:pt x="284" y="763"/>
                      <a:pt x="286" y="763"/>
                    </a:cubicBezTo>
                    <a:cubicBezTo>
                      <a:pt x="286" y="763"/>
                      <a:pt x="286" y="763"/>
                      <a:pt x="286" y="763"/>
                    </a:cubicBezTo>
                    <a:cubicBezTo>
                      <a:pt x="286" y="762"/>
                      <a:pt x="286" y="762"/>
                      <a:pt x="286" y="762"/>
                    </a:cubicBezTo>
                    <a:cubicBezTo>
                      <a:pt x="286" y="760"/>
                      <a:pt x="286" y="758"/>
                      <a:pt x="286" y="758"/>
                    </a:cubicBezTo>
                    <a:cubicBezTo>
                      <a:pt x="286" y="753"/>
                      <a:pt x="285" y="748"/>
                      <a:pt x="285" y="743"/>
                    </a:cubicBezTo>
                    <a:cubicBezTo>
                      <a:pt x="285" y="747"/>
                      <a:pt x="287" y="750"/>
                      <a:pt x="289" y="753"/>
                    </a:cubicBezTo>
                    <a:cubicBezTo>
                      <a:pt x="290" y="748"/>
                      <a:pt x="290" y="744"/>
                      <a:pt x="287" y="736"/>
                    </a:cubicBezTo>
                    <a:cubicBezTo>
                      <a:pt x="290" y="740"/>
                      <a:pt x="297" y="746"/>
                      <a:pt x="294" y="756"/>
                    </a:cubicBezTo>
                    <a:cubicBezTo>
                      <a:pt x="294" y="757"/>
                      <a:pt x="294" y="757"/>
                      <a:pt x="294" y="758"/>
                    </a:cubicBezTo>
                    <a:cubicBezTo>
                      <a:pt x="295" y="759"/>
                      <a:pt x="297" y="760"/>
                      <a:pt x="298" y="760"/>
                    </a:cubicBezTo>
                    <a:cubicBezTo>
                      <a:pt x="299" y="759"/>
                      <a:pt x="300" y="758"/>
                      <a:pt x="300" y="757"/>
                    </a:cubicBezTo>
                    <a:cubicBezTo>
                      <a:pt x="300" y="757"/>
                      <a:pt x="300" y="756"/>
                      <a:pt x="300" y="756"/>
                    </a:cubicBezTo>
                    <a:cubicBezTo>
                      <a:pt x="301" y="754"/>
                      <a:pt x="302" y="750"/>
                      <a:pt x="303" y="748"/>
                    </a:cubicBezTo>
                    <a:cubicBezTo>
                      <a:pt x="303" y="740"/>
                      <a:pt x="304" y="730"/>
                      <a:pt x="299" y="724"/>
                    </a:cubicBezTo>
                    <a:cubicBezTo>
                      <a:pt x="305" y="729"/>
                      <a:pt x="307" y="735"/>
                      <a:pt x="309" y="741"/>
                    </a:cubicBezTo>
                    <a:cubicBezTo>
                      <a:pt x="310" y="748"/>
                      <a:pt x="310" y="754"/>
                      <a:pt x="311" y="761"/>
                    </a:cubicBezTo>
                    <a:cubicBezTo>
                      <a:pt x="311" y="755"/>
                      <a:pt x="312" y="750"/>
                      <a:pt x="313" y="745"/>
                    </a:cubicBezTo>
                    <a:cubicBezTo>
                      <a:pt x="313" y="741"/>
                      <a:pt x="315" y="736"/>
                      <a:pt x="316" y="730"/>
                    </a:cubicBezTo>
                    <a:cubicBezTo>
                      <a:pt x="319" y="724"/>
                      <a:pt x="320" y="718"/>
                      <a:pt x="321" y="713"/>
                    </a:cubicBezTo>
                    <a:cubicBezTo>
                      <a:pt x="322" y="708"/>
                      <a:pt x="321" y="704"/>
                      <a:pt x="318" y="700"/>
                    </a:cubicBezTo>
                    <a:cubicBezTo>
                      <a:pt x="330" y="700"/>
                      <a:pt x="327" y="720"/>
                      <a:pt x="326" y="728"/>
                    </a:cubicBezTo>
                    <a:cubicBezTo>
                      <a:pt x="325" y="735"/>
                      <a:pt x="324" y="741"/>
                      <a:pt x="324" y="745"/>
                    </a:cubicBezTo>
                    <a:cubicBezTo>
                      <a:pt x="324" y="750"/>
                      <a:pt x="325" y="754"/>
                      <a:pt x="330" y="759"/>
                    </a:cubicBezTo>
                    <a:cubicBezTo>
                      <a:pt x="330" y="758"/>
                      <a:pt x="330" y="756"/>
                      <a:pt x="330" y="754"/>
                    </a:cubicBezTo>
                    <a:cubicBezTo>
                      <a:pt x="329" y="749"/>
                      <a:pt x="330" y="744"/>
                      <a:pt x="330" y="740"/>
                    </a:cubicBezTo>
                    <a:cubicBezTo>
                      <a:pt x="331" y="736"/>
                      <a:pt x="333" y="731"/>
                      <a:pt x="334" y="725"/>
                    </a:cubicBezTo>
                    <a:cubicBezTo>
                      <a:pt x="334" y="730"/>
                      <a:pt x="335" y="738"/>
                      <a:pt x="338" y="744"/>
                    </a:cubicBezTo>
                    <a:cubicBezTo>
                      <a:pt x="340" y="750"/>
                      <a:pt x="344" y="755"/>
                      <a:pt x="349" y="7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2" name="Freeform 71">
                <a:extLst>
                  <a:ext uri="{FF2B5EF4-FFF2-40B4-BE49-F238E27FC236}">
                    <a16:creationId xmlns:a16="http://schemas.microsoft.com/office/drawing/2014/main" id="{48E7D9DE-E691-AE76-7B9E-B00E9DCF46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9851" y="3743980"/>
                <a:ext cx="1810" cy="1810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1 w 4"/>
                  <a:gd name="T5" fmla="*/ 2 h 2"/>
                  <a:gd name="T6" fmla="*/ 4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cubicBezTo>
                      <a:pt x="3" y="1"/>
                      <a:pt x="2" y="2"/>
                      <a:pt x="0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3" y="1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33" name="Line 72">
              <a:extLst>
                <a:ext uri="{FF2B5EF4-FFF2-40B4-BE49-F238E27FC236}">
                  <a16:creationId xmlns:a16="http://schemas.microsoft.com/office/drawing/2014/main" id="{29AE484C-E5B7-7E56-92F2-1443620D00D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228600" y="3438118"/>
              <a:ext cx="2880000" cy="0"/>
            </a:xfrm>
            <a:prstGeom prst="line">
              <a:avLst/>
            </a:prstGeom>
            <a:grp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7A9D5084-999B-4E7B-7B96-C8449026D5DC}"/>
                </a:ext>
              </a:extLst>
            </p:cNvPr>
            <p:cNvGrpSpPr/>
            <p:nvPr userDrawn="1"/>
          </p:nvGrpSpPr>
          <p:grpSpPr>
            <a:xfrm>
              <a:off x="230912" y="2150376"/>
              <a:ext cx="2904030" cy="1130935"/>
              <a:chOff x="230912" y="1828800"/>
              <a:chExt cx="2904030" cy="1130935"/>
            </a:xfrm>
            <a:grpFill/>
          </p:grpSpPr>
          <p:sp>
            <p:nvSpPr>
              <p:cNvPr id="135" name="Freeform 5">
                <a:extLst>
                  <a:ext uri="{FF2B5EF4-FFF2-40B4-BE49-F238E27FC236}">
                    <a16:creationId xmlns:a16="http://schemas.microsoft.com/office/drawing/2014/main" id="{FC2F5450-0784-81F4-B120-8866FBFC68A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162437" y="2629387"/>
                <a:ext cx="333719" cy="330348"/>
              </a:xfrm>
              <a:custGeom>
                <a:avLst/>
                <a:gdLst>
                  <a:gd name="T0" fmla="*/ 864 w 870"/>
                  <a:gd name="T1" fmla="*/ 406 h 856"/>
                  <a:gd name="T2" fmla="*/ 435 w 870"/>
                  <a:gd name="T3" fmla="*/ 0 h 856"/>
                  <a:gd name="T4" fmla="*/ 0 w 870"/>
                  <a:gd name="T5" fmla="*/ 430 h 856"/>
                  <a:gd name="T6" fmla="*/ 432 w 870"/>
                  <a:gd name="T7" fmla="*/ 856 h 856"/>
                  <a:gd name="T8" fmla="*/ 735 w 870"/>
                  <a:gd name="T9" fmla="*/ 744 h 856"/>
                  <a:gd name="T10" fmla="*/ 864 w 870"/>
                  <a:gd name="T11" fmla="*/ 406 h 856"/>
                  <a:gd name="T12" fmla="*/ 665 w 870"/>
                  <a:gd name="T13" fmla="*/ 684 h 856"/>
                  <a:gd name="T14" fmla="*/ 434 w 870"/>
                  <a:gd name="T15" fmla="*/ 808 h 856"/>
                  <a:gd name="T16" fmla="*/ 148 w 870"/>
                  <a:gd name="T17" fmla="*/ 553 h 856"/>
                  <a:gd name="T18" fmla="*/ 136 w 870"/>
                  <a:gd name="T19" fmla="*/ 422 h 856"/>
                  <a:gd name="T20" fmla="*/ 304 w 870"/>
                  <a:gd name="T21" fmla="*/ 77 h 856"/>
                  <a:gd name="T22" fmla="*/ 431 w 870"/>
                  <a:gd name="T23" fmla="*/ 48 h 856"/>
                  <a:gd name="T24" fmla="*/ 655 w 870"/>
                  <a:gd name="T25" fmla="*/ 159 h 856"/>
                  <a:gd name="T26" fmla="*/ 727 w 870"/>
                  <a:gd name="T27" fmla="*/ 412 h 856"/>
                  <a:gd name="T28" fmla="*/ 665 w 870"/>
                  <a:gd name="T29" fmla="*/ 68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70" h="856">
                    <a:moveTo>
                      <a:pt x="864" y="406"/>
                    </a:moveTo>
                    <a:cubicBezTo>
                      <a:pt x="854" y="204"/>
                      <a:pt x="717" y="0"/>
                      <a:pt x="435" y="0"/>
                    </a:cubicBezTo>
                    <a:cubicBezTo>
                      <a:pt x="175" y="0"/>
                      <a:pt x="0" y="173"/>
                      <a:pt x="0" y="430"/>
                    </a:cubicBezTo>
                    <a:cubicBezTo>
                      <a:pt x="0" y="724"/>
                      <a:pt x="217" y="856"/>
                      <a:pt x="432" y="856"/>
                    </a:cubicBezTo>
                    <a:cubicBezTo>
                      <a:pt x="552" y="856"/>
                      <a:pt x="657" y="817"/>
                      <a:pt x="735" y="744"/>
                    </a:cubicBezTo>
                    <a:cubicBezTo>
                      <a:pt x="825" y="661"/>
                      <a:pt x="870" y="541"/>
                      <a:pt x="864" y="406"/>
                    </a:cubicBezTo>
                    <a:close/>
                    <a:moveTo>
                      <a:pt x="665" y="684"/>
                    </a:moveTo>
                    <a:cubicBezTo>
                      <a:pt x="590" y="796"/>
                      <a:pt x="478" y="808"/>
                      <a:pt x="434" y="808"/>
                    </a:cubicBezTo>
                    <a:cubicBezTo>
                      <a:pt x="395" y="808"/>
                      <a:pt x="199" y="796"/>
                      <a:pt x="148" y="553"/>
                    </a:cubicBezTo>
                    <a:cubicBezTo>
                      <a:pt x="140" y="514"/>
                      <a:pt x="136" y="471"/>
                      <a:pt x="136" y="422"/>
                    </a:cubicBezTo>
                    <a:cubicBezTo>
                      <a:pt x="136" y="249"/>
                      <a:pt x="193" y="133"/>
                      <a:pt x="304" y="77"/>
                    </a:cubicBezTo>
                    <a:cubicBezTo>
                      <a:pt x="341" y="58"/>
                      <a:pt x="386" y="48"/>
                      <a:pt x="431" y="48"/>
                    </a:cubicBezTo>
                    <a:cubicBezTo>
                      <a:pt x="546" y="48"/>
                      <a:pt x="617" y="109"/>
                      <a:pt x="655" y="159"/>
                    </a:cubicBezTo>
                    <a:cubicBezTo>
                      <a:pt x="717" y="243"/>
                      <a:pt x="726" y="344"/>
                      <a:pt x="727" y="412"/>
                    </a:cubicBezTo>
                    <a:cubicBezTo>
                      <a:pt x="729" y="526"/>
                      <a:pt x="708" y="617"/>
                      <a:pt x="665" y="6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6">
                <a:extLst>
                  <a:ext uri="{FF2B5EF4-FFF2-40B4-BE49-F238E27FC236}">
                    <a16:creationId xmlns:a16="http://schemas.microsoft.com/office/drawing/2014/main" id="{0BA7E445-8EE9-4431-C94A-D55FAAF0F3EA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897293" y="2632758"/>
                <a:ext cx="237649" cy="321921"/>
              </a:xfrm>
              <a:custGeom>
                <a:avLst/>
                <a:gdLst>
                  <a:gd name="T0" fmla="*/ 0 w 619"/>
                  <a:gd name="T1" fmla="*/ 839 h 839"/>
                  <a:gd name="T2" fmla="*/ 0 w 619"/>
                  <a:gd name="T3" fmla="*/ 0 h 839"/>
                  <a:gd name="T4" fmla="*/ 239 w 619"/>
                  <a:gd name="T5" fmla="*/ 0 h 839"/>
                  <a:gd name="T6" fmla="*/ 619 w 619"/>
                  <a:gd name="T7" fmla="*/ 230 h 839"/>
                  <a:gd name="T8" fmla="*/ 243 w 619"/>
                  <a:gd name="T9" fmla="*/ 461 h 839"/>
                  <a:gd name="T10" fmla="*/ 122 w 619"/>
                  <a:gd name="T11" fmla="*/ 461 h 839"/>
                  <a:gd name="T12" fmla="*/ 122 w 619"/>
                  <a:gd name="T13" fmla="*/ 839 h 839"/>
                  <a:gd name="T14" fmla="*/ 0 w 619"/>
                  <a:gd name="T15" fmla="*/ 839 h 839"/>
                  <a:gd name="T16" fmla="*/ 227 w 619"/>
                  <a:gd name="T17" fmla="*/ 40 h 839"/>
                  <a:gd name="T18" fmla="*/ 122 w 619"/>
                  <a:gd name="T19" fmla="*/ 49 h 839"/>
                  <a:gd name="T20" fmla="*/ 122 w 619"/>
                  <a:gd name="T21" fmla="*/ 412 h 839"/>
                  <a:gd name="T22" fmla="*/ 218 w 619"/>
                  <a:gd name="T23" fmla="*/ 412 h 839"/>
                  <a:gd name="T24" fmla="*/ 487 w 619"/>
                  <a:gd name="T25" fmla="*/ 231 h 839"/>
                  <a:gd name="T26" fmla="*/ 227 w 619"/>
                  <a:gd name="T27" fmla="*/ 4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9" h="839">
                    <a:moveTo>
                      <a:pt x="0" y="839"/>
                    </a:moveTo>
                    <a:lnTo>
                      <a:pt x="0" y="0"/>
                    </a:lnTo>
                    <a:lnTo>
                      <a:pt x="239" y="0"/>
                    </a:lnTo>
                    <a:cubicBezTo>
                      <a:pt x="494" y="0"/>
                      <a:pt x="619" y="76"/>
                      <a:pt x="619" y="230"/>
                    </a:cubicBezTo>
                    <a:cubicBezTo>
                      <a:pt x="619" y="446"/>
                      <a:pt x="356" y="461"/>
                      <a:pt x="243" y="461"/>
                    </a:cubicBezTo>
                    <a:lnTo>
                      <a:pt x="122" y="461"/>
                    </a:lnTo>
                    <a:lnTo>
                      <a:pt x="122" y="839"/>
                    </a:lnTo>
                    <a:lnTo>
                      <a:pt x="0" y="839"/>
                    </a:lnTo>
                    <a:close/>
                    <a:moveTo>
                      <a:pt x="227" y="40"/>
                    </a:moveTo>
                    <a:cubicBezTo>
                      <a:pt x="165" y="40"/>
                      <a:pt x="122" y="49"/>
                      <a:pt x="122" y="49"/>
                    </a:cubicBezTo>
                    <a:lnTo>
                      <a:pt x="122" y="412"/>
                    </a:lnTo>
                    <a:lnTo>
                      <a:pt x="218" y="412"/>
                    </a:lnTo>
                    <a:cubicBezTo>
                      <a:pt x="397" y="412"/>
                      <a:pt x="487" y="368"/>
                      <a:pt x="487" y="231"/>
                    </a:cubicBezTo>
                    <a:cubicBezTo>
                      <a:pt x="487" y="140"/>
                      <a:pt x="442" y="40"/>
                      <a:pt x="227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7">
                <a:extLst>
                  <a:ext uri="{FF2B5EF4-FFF2-40B4-BE49-F238E27FC236}">
                    <a16:creationId xmlns:a16="http://schemas.microsoft.com/office/drawing/2014/main" id="{E6B0120B-446D-94DF-0B87-98B7D6F8C7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70316" y="2632758"/>
                <a:ext cx="242705" cy="326977"/>
              </a:xfrm>
              <a:custGeom>
                <a:avLst/>
                <a:gdLst>
                  <a:gd name="T0" fmla="*/ 336 w 631"/>
                  <a:gd name="T1" fmla="*/ 848 h 848"/>
                  <a:gd name="T2" fmla="*/ 29 w 631"/>
                  <a:gd name="T3" fmla="*/ 729 h 848"/>
                  <a:gd name="T4" fmla="*/ 0 w 631"/>
                  <a:gd name="T5" fmla="*/ 593 h 848"/>
                  <a:gd name="T6" fmla="*/ 0 w 631"/>
                  <a:gd name="T7" fmla="*/ 0 h 848"/>
                  <a:gd name="T8" fmla="*/ 122 w 631"/>
                  <a:gd name="T9" fmla="*/ 0 h 848"/>
                  <a:gd name="T10" fmla="*/ 122 w 631"/>
                  <a:gd name="T11" fmla="*/ 588 h 848"/>
                  <a:gd name="T12" fmla="*/ 336 w 631"/>
                  <a:gd name="T13" fmla="*/ 800 h 848"/>
                  <a:gd name="T14" fmla="*/ 545 w 631"/>
                  <a:gd name="T15" fmla="*/ 601 h 848"/>
                  <a:gd name="T16" fmla="*/ 545 w 631"/>
                  <a:gd name="T17" fmla="*/ 0 h 848"/>
                  <a:gd name="T18" fmla="*/ 631 w 631"/>
                  <a:gd name="T19" fmla="*/ 0 h 848"/>
                  <a:gd name="T20" fmla="*/ 631 w 631"/>
                  <a:gd name="T21" fmla="*/ 609 h 848"/>
                  <a:gd name="T22" fmla="*/ 604 w 631"/>
                  <a:gd name="T23" fmla="*/ 726 h 848"/>
                  <a:gd name="T24" fmla="*/ 336 w 631"/>
                  <a:gd name="T25" fmla="*/ 848 h 8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1" h="848">
                    <a:moveTo>
                      <a:pt x="336" y="848"/>
                    </a:moveTo>
                    <a:cubicBezTo>
                      <a:pt x="236" y="848"/>
                      <a:pt x="88" y="835"/>
                      <a:pt x="29" y="729"/>
                    </a:cubicBezTo>
                    <a:cubicBezTo>
                      <a:pt x="11" y="697"/>
                      <a:pt x="0" y="651"/>
                      <a:pt x="0" y="593"/>
                    </a:cubicBezTo>
                    <a:lnTo>
                      <a:pt x="0" y="0"/>
                    </a:lnTo>
                    <a:lnTo>
                      <a:pt x="122" y="0"/>
                    </a:lnTo>
                    <a:lnTo>
                      <a:pt x="122" y="588"/>
                    </a:lnTo>
                    <a:cubicBezTo>
                      <a:pt x="123" y="641"/>
                      <a:pt x="128" y="800"/>
                      <a:pt x="336" y="800"/>
                    </a:cubicBezTo>
                    <a:cubicBezTo>
                      <a:pt x="399" y="800"/>
                      <a:pt x="545" y="780"/>
                      <a:pt x="545" y="601"/>
                    </a:cubicBezTo>
                    <a:lnTo>
                      <a:pt x="545" y="0"/>
                    </a:lnTo>
                    <a:lnTo>
                      <a:pt x="631" y="0"/>
                    </a:lnTo>
                    <a:lnTo>
                      <a:pt x="631" y="609"/>
                    </a:lnTo>
                    <a:cubicBezTo>
                      <a:pt x="629" y="645"/>
                      <a:pt x="628" y="686"/>
                      <a:pt x="604" y="726"/>
                    </a:cubicBezTo>
                    <a:cubicBezTo>
                      <a:pt x="579" y="771"/>
                      <a:pt x="529" y="848"/>
                      <a:pt x="336" y="8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8">
                <a:extLst>
                  <a:ext uri="{FF2B5EF4-FFF2-40B4-BE49-F238E27FC236}">
                    <a16:creationId xmlns:a16="http://schemas.microsoft.com/office/drawing/2014/main" id="{F3F6DD97-8A5A-FF45-BCB1-08A472A717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83200" y="2629387"/>
                <a:ext cx="294954" cy="330348"/>
              </a:xfrm>
              <a:custGeom>
                <a:avLst/>
                <a:gdLst>
                  <a:gd name="T0" fmla="*/ 457 w 767"/>
                  <a:gd name="T1" fmla="*/ 856 h 856"/>
                  <a:gd name="T2" fmla="*/ 0 w 767"/>
                  <a:gd name="T3" fmla="*/ 428 h 856"/>
                  <a:gd name="T4" fmla="*/ 443 w 767"/>
                  <a:gd name="T5" fmla="*/ 0 h 856"/>
                  <a:gd name="T6" fmla="*/ 767 w 767"/>
                  <a:gd name="T7" fmla="*/ 156 h 856"/>
                  <a:gd name="T8" fmla="*/ 717 w 767"/>
                  <a:gd name="T9" fmla="*/ 208 h 856"/>
                  <a:gd name="T10" fmla="*/ 651 w 767"/>
                  <a:gd name="T11" fmla="*/ 163 h 856"/>
                  <a:gd name="T12" fmla="*/ 441 w 767"/>
                  <a:gd name="T13" fmla="*/ 48 h 856"/>
                  <a:gd name="T14" fmla="*/ 142 w 767"/>
                  <a:gd name="T15" fmla="*/ 407 h 856"/>
                  <a:gd name="T16" fmla="*/ 471 w 767"/>
                  <a:gd name="T17" fmla="*/ 808 h 856"/>
                  <a:gd name="T18" fmla="*/ 600 w 767"/>
                  <a:gd name="T19" fmla="*/ 779 h 856"/>
                  <a:gd name="T20" fmla="*/ 650 w 767"/>
                  <a:gd name="T21" fmla="*/ 668 h 856"/>
                  <a:gd name="T22" fmla="*/ 650 w 767"/>
                  <a:gd name="T23" fmla="*/ 469 h 856"/>
                  <a:gd name="T24" fmla="*/ 543 w 767"/>
                  <a:gd name="T25" fmla="*/ 469 h 856"/>
                  <a:gd name="T26" fmla="*/ 585 w 767"/>
                  <a:gd name="T27" fmla="*/ 420 h 856"/>
                  <a:gd name="T28" fmla="*/ 766 w 767"/>
                  <a:gd name="T29" fmla="*/ 420 h 856"/>
                  <a:gd name="T30" fmla="*/ 766 w 767"/>
                  <a:gd name="T31" fmla="*/ 746 h 856"/>
                  <a:gd name="T32" fmla="*/ 721 w 767"/>
                  <a:gd name="T33" fmla="*/ 788 h 856"/>
                  <a:gd name="T34" fmla="*/ 457 w 767"/>
                  <a:gd name="T35" fmla="*/ 856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67" h="856">
                    <a:moveTo>
                      <a:pt x="457" y="856"/>
                    </a:moveTo>
                    <a:cubicBezTo>
                      <a:pt x="33" y="856"/>
                      <a:pt x="0" y="529"/>
                      <a:pt x="0" y="428"/>
                    </a:cubicBezTo>
                    <a:cubicBezTo>
                      <a:pt x="0" y="172"/>
                      <a:pt x="178" y="0"/>
                      <a:pt x="443" y="0"/>
                    </a:cubicBezTo>
                    <a:cubicBezTo>
                      <a:pt x="671" y="0"/>
                      <a:pt x="767" y="112"/>
                      <a:pt x="767" y="156"/>
                    </a:cubicBezTo>
                    <a:cubicBezTo>
                      <a:pt x="767" y="182"/>
                      <a:pt x="741" y="208"/>
                      <a:pt x="717" y="208"/>
                    </a:cubicBezTo>
                    <a:cubicBezTo>
                      <a:pt x="686" y="208"/>
                      <a:pt x="673" y="193"/>
                      <a:pt x="651" y="163"/>
                    </a:cubicBezTo>
                    <a:cubicBezTo>
                      <a:pt x="619" y="120"/>
                      <a:pt x="565" y="48"/>
                      <a:pt x="441" y="48"/>
                    </a:cubicBezTo>
                    <a:cubicBezTo>
                      <a:pt x="259" y="48"/>
                      <a:pt x="142" y="182"/>
                      <a:pt x="142" y="407"/>
                    </a:cubicBezTo>
                    <a:cubicBezTo>
                      <a:pt x="142" y="654"/>
                      <a:pt x="268" y="808"/>
                      <a:pt x="471" y="808"/>
                    </a:cubicBezTo>
                    <a:cubicBezTo>
                      <a:pt x="521" y="808"/>
                      <a:pt x="569" y="797"/>
                      <a:pt x="600" y="779"/>
                    </a:cubicBezTo>
                    <a:cubicBezTo>
                      <a:pt x="650" y="748"/>
                      <a:pt x="650" y="706"/>
                      <a:pt x="650" y="668"/>
                    </a:cubicBezTo>
                    <a:lnTo>
                      <a:pt x="650" y="469"/>
                    </a:lnTo>
                    <a:lnTo>
                      <a:pt x="543" y="469"/>
                    </a:lnTo>
                    <a:lnTo>
                      <a:pt x="585" y="420"/>
                    </a:lnTo>
                    <a:lnTo>
                      <a:pt x="766" y="420"/>
                    </a:lnTo>
                    <a:lnTo>
                      <a:pt x="766" y="746"/>
                    </a:lnTo>
                    <a:cubicBezTo>
                      <a:pt x="756" y="759"/>
                      <a:pt x="741" y="773"/>
                      <a:pt x="721" y="788"/>
                    </a:cubicBezTo>
                    <a:cubicBezTo>
                      <a:pt x="682" y="817"/>
                      <a:pt x="613" y="856"/>
                      <a:pt x="457" y="8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9">
                <a:extLst>
                  <a:ext uri="{FF2B5EF4-FFF2-40B4-BE49-F238E27FC236}">
                    <a16:creationId xmlns:a16="http://schemas.microsoft.com/office/drawing/2014/main" id="{E84DEDF0-122F-172A-CDC8-3A322DAA90B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870854" y="2632758"/>
                <a:ext cx="247762" cy="321921"/>
              </a:xfrm>
              <a:custGeom>
                <a:avLst/>
                <a:gdLst>
                  <a:gd name="T0" fmla="*/ 646 w 646"/>
                  <a:gd name="T1" fmla="*/ 839 h 839"/>
                  <a:gd name="T2" fmla="*/ 358 w 646"/>
                  <a:gd name="T3" fmla="*/ 451 h 839"/>
                  <a:gd name="T4" fmla="*/ 410 w 646"/>
                  <a:gd name="T5" fmla="*/ 440 h 839"/>
                  <a:gd name="T6" fmla="*/ 601 w 646"/>
                  <a:gd name="T7" fmla="*/ 230 h 839"/>
                  <a:gd name="T8" fmla="*/ 514 w 646"/>
                  <a:gd name="T9" fmla="*/ 58 h 839"/>
                  <a:gd name="T10" fmla="*/ 231 w 646"/>
                  <a:gd name="T11" fmla="*/ 0 h 839"/>
                  <a:gd name="T12" fmla="*/ 0 w 646"/>
                  <a:gd name="T13" fmla="*/ 0 h 839"/>
                  <a:gd name="T14" fmla="*/ 0 w 646"/>
                  <a:gd name="T15" fmla="*/ 839 h 839"/>
                  <a:gd name="T16" fmla="*/ 121 w 646"/>
                  <a:gd name="T17" fmla="*/ 839 h 839"/>
                  <a:gd name="T18" fmla="*/ 121 w 646"/>
                  <a:gd name="T19" fmla="*/ 527 h 839"/>
                  <a:gd name="T20" fmla="*/ 196 w 646"/>
                  <a:gd name="T21" fmla="*/ 461 h 839"/>
                  <a:gd name="T22" fmla="*/ 279 w 646"/>
                  <a:gd name="T23" fmla="*/ 508 h 839"/>
                  <a:gd name="T24" fmla="*/ 513 w 646"/>
                  <a:gd name="T25" fmla="*/ 839 h 839"/>
                  <a:gd name="T26" fmla="*/ 646 w 646"/>
                  <a:gd name="T27" fmla="*/ 839 h 839"/>
                  <a:gd name="T28" fmla="*/ 258 w 646"/>
                  <a:gd name="T29" fmla="*/ 410 h 839"/>
                  <a:gd name="T30" fmla="*/ 210 w 646"/>
                  <a:gd name="T31" fmla="*/ 412 h 839"/>
                  <a:gd name="T32" fmla="*/ 121 w 646"/>
                  <a:gd name="T33" fmla="*/ 412 h 839"/>
                  <a:gd name="T34" fmla="*/ 121 w 646"/>
                  <a:gd name="T35" fmla="*/ 49 h 839"/>
                  <a:gd name="T36" fmla="*/ 224 w 646"/>
                  <a:gd name="T37" fmla="*/ 40 h 839"/>
                  <a:gd name="T38" fmla="*/ 469 w 646"/>
                  <a:gd name="T39" fmla="*/ 234 h 839"/>
                  <a:gd name="T40" fmla="*/ 258 w 646"/>
                  <a:gd name="T41" fmla="*/ 41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46" h="839">
                    <a:moveTo>
                      <a:pt x="646" y="839"/>
                    </a:moveTo>
                    <a:lnTo>
                      <a:pt x="358" y="451"/>
                    </a:lnTo>
                    <a:cubicBezTo>
                      <a:pt x="358" y="451"/>
                      <a:pt x="398" y="443"/>
                      <a:pt x="410" y="440"/>
                    </a:cubicBezTo>
                    <a:cubicBezTo>
                      <a:pt x="458" y="427"/>
                      <a:pt x="601" y="390"/>
                      <a:pt x="601" y="230"/>
                    </a:cubicBezTo>
                    <a:cubicBezTo>
                      <a:pt x="601" y="153"/>
                      <a:pt x="566" y="94"/>
                      <a:pt x="514" y="58"/>
                    </a:cubicBezTo>
                    <a:cubicBezTo>
                      <a:pt x="440" y="8"/>
                      <a:pt x="330" y="0"/>
                      <a:pt x="231" y="0"/>
                    </a:cubicBezTo>
                    <a:lnTo>
                      <a:pt x="0" y="0"/>
                    </a:lnTo>
                    <a:lnTo>
                      <a:pt x="0" y="839"/>
                    </a:lnTo>
                    <a:lnTo>
                      <a:pt x="121" y="839"/>
                    </a:lnTo>
                    <a:lnTo>
                      <a:pt x="121" y="527"/>
                    </a:lnTo>
                    <a:cubicBezTo>
                      <a:pt x="121" y="474"/>
                      <a:pt x="153" y="461"/>
                      <a:pt x="196" y="461"/>
                    </a:cubicBezTo>
                    <a:cubicBezTo>
                      <a:pt x="220" y="461"/>
                      <a:pt x="254" y="469"/>
                      <a:pt x="279" y="508"/>
                    </a:cubicBezTo>
                    <a:lnTo>
                      <a:pt x="513" y="839"/>
                    </a:lnTo>
                    <a:lnTo>
                      <a:pt x="646" y="839"/>
                    </a:lnTo>
                    <a:close/>
                    <a:moveTo>
                      <a:pt x="258" y="410"/>
                    </a:moveTo>
                    <a:cubicBezTo>
                      <a:pt x="242" y="412"/>
                      <a:pt x="229" y="412"/>
                      <a:pt x="210" y="412"/>
                    </a:cubicBezTo>
                    <a:lnTo>
                      <a:pt x="121" y="412"/>
                    </a:lnTo>
                    <a:lnTo>
                      <a:pt x="121" y="49"/>
                    </a:lnTo>
                    <a:cubicBezTo>
                      <a:pt x="121" y="49"/>
                      <a:pt x="163" y="40"/>
                      <a:pt x="224" y="40"/>
                    </a:cubicBezTo>
                    <a:cubicBezTo>
                      <a:pt x="387" y="40"/>
                      <a:pt x="469" y="110"/>
                      <a:pt x="469" y="234"/>
                    </a:cubicBezTo>
                    <a:cubicBezTo>
                      <a:pt x="469" y="359"/>
                      <a:pt x="390" y="397"/>
                      <a:pt x="258" y="4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10">
                <a:extLst>
                  <a:ext uri="{FF2B5EF4-FFF2-40B4-BE49-F238E27FC236}">
                    <a16:creationId xmlns:a16="http://schemas.microsoft.com/office/drawing/2014/main" id="{379AD957-A48D-B51B-7AAE-34984BDD0B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8330" y="1828800"/>
                <a:ext cx="1324763" cy="571367"/>
              </a:xfrm>
              <a:custGeom>
                <a:avLst/>
                <a:gdLst>
                  <a:gd name="T0" fmla="*/ 3369 w 3451"/>
                  <a:gd name="T1" fmla="*/ 1140 h 1483"/>
                  <a:gd name="T2" fmla="*/ 3309 w 3451"/>
                  <a:gd name="T3" fmla="*/ 1133 h 1483"/>
                  <a:gd name="T4" fmla="*/ 3226 w 3451"/>
                  <a:gd name="T5" fmla="*/ 1142 h 1483"/>
                  <a:gd name="T6" fmla="*/ 3249 w 3451"/>
                  <a:gd name="T7" fmla="*/ 1310 h 1483"/>
                  <a:gd name="T8" fmla="*/ 2720 w 3451"/>
                  <a:gd name="T9" fmla="*/ 1296 h 1483"/>
                  <a:gd name="T10" fmla="*/ 1915 w 3451"/>
                  <a:gd name="T11" fmla="*/ 339 h 1483"/>
                  <a:gd name="T12" fmla="*/ 920 w 3451"/>
                  <a:gd name="T13" fmla="*/ 132 h 1483"/>
                  <a:gd name="T14" fmla="*/ 629 w 3451"/>
                  <a:gd name="T15" fmla="*/ 1140 h 1483"/>
                  <a:gd name="T16" fmla="*/ 477 w 3451"/>
                  <a:gd name="T17" fmla="*/ 602 h 1483"/>
                  <a:gd name="T18" fmla="*/ 432 w 3451"/>
                  <a:gd name="T19" fmla="*/ 614 h 1483"/>
                  <a:gd name="T20" fmla="*/ 1 w 3451"/>
                  <a:gd name="T21" fmla="*/ 502 h 1483"/>
                  <a:gd name="T22" fmla="*/ 1 w 3451"/>
                  <a:gd name="T23" fmla="*/ 508 h 1483"/>
                  <a:gd name="T24" fmla="*/ 318 w 3451"/>
                  <a:gd name="T25" fmla="*/ 709 h 1483"/>
                  <a:gd name="T26" fmla="*/ 783 w 3451"/>
                  <a:gd name="T27" fmla="*/ 1225 h 1483"/>
                  <a:gd name="T28" fmla="*/ 721 w 3451"/>
                  <a:gd name="T29" fmla="*/ 716 h 1483"/>
                  <a:gd name="T30" fmla="*/ 1302 w 3451"/>
                  <a:gd name="T31" fmla="*/ 155 h 1483"/>
                  <a:gd name="T32" fmla="*/ 2060 w 3451"/>
                  <a:gd name="T33" fmla="*/ 739 h 1483"/>
                  <a:gd name="T34" fmla="*/ 2831 w 3451"/>
                  <a:gd name="T35" fmla="*/ 1417 h 1483"/>
                  <a:gd name="T36" fmla="*/ 3332 w 3451"/>
                  <a:gd name="T37" fmla="*/ 1403 h 1483"/>
                  <a:gd name="T38" fmla="*/ 3369 w 3451"/>
                  <a:gd name="T39" fmla="*/ 1140 h 1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451" h="1483">
                    <a:moveTo>
                      <a:pt x="3369" y="1140"/>
                    </a:moveTo>
                    <a:cubicBezTo>
                      <a:pt x="3355" y="1137"/>
                      <a:pt x="3325" y="1134"/>
                      <a:pt x="3309" y="1133"/>
                    </a:cubicBezTo>
                    <a:cubicBezTo>
                      <a:pt x="3280" y="1132"/>
                      <a:pt x="3252" y="1136"/>
                      <a:pt x="3226" y="1142"/>
                    </a:cubicBezTo>
                    <a:cubicBezTo>
                      <a:pt x="3279" y="1188"/>
                      <a:pt x="3277" y="1256"/>
                      <a:pt x="3249" y="1310"/>
                    </a:cubicBezTo>
                    <a:cubicBezTo>
                      <a:pt x="3166" y="1476"/>
                      <a:pt x="2841" y="1377"/>
                      <a:pt x="2720" y="1296"/>
                    </a:cubicBezTo>
                    <a:cubicBezTo>
                      <a:pt x="2348" y="1048"/>
                      <a:pt x="2126" y="577"/>
                      <a:pt x="1915" y="339"/>
                    </a:cubicBezTo>
                    <a:cubicBezTo>
                      <a:pt x="1619" y="7"/>
                      <a:pt x="1185" y="0"/>
                      <a:pt x="920" y="132"/>
                    </a:cubicBezTo>
                    <a:cubicBezTo>
                      <a:pt x="590" y="296"/>
                      <a:pt x="509" y="754"/>
                      <a:pt x="629" y="1140"/>
                    </a:cubicBezTo>
                    <a:cubicBezTo>
                      <a:pt x="469" y="1092"/>
                      <a:pt x="401" y="783"/>
                      <a:pt x="477" y="602"/>
                    </a:cubicBezTo>
                    <a:cubicBezTo>
                      <a:pt x="463" y="606"/>
                      <a:pt x="448" y="610"/>
                      <a:pt x="432" y="614"/>
                    </a:cubicBezTo>
                    <a:cubicBezTo>
                      <a:pt x="262" y="653"/>
                      <a:pt x="95" y="605"/>
                      <a:pt x="1" y="502"/>
                    </a:cubicBezTo>
                    <a:cubicBezTo>
                      <a:pt x="0" y="504"/>
                      <a:pt x="0" y="506"/>
                      <a:pt x="1" y="508"/>
                    </a:cubicBezTo>
                    <a:cubicBezTo>
                      <a:pt x="54" y="629"/>
                      <a:pt x="163" y="706"/>
                      <a:pt x="318" y="709"/>
                    </a:cubicBezTo>
                    <a:cubicBezTo>
                      <a:pt x="308" y="1119"/>
                      <a:pt x="539" y="1245"/>
                      <a:pt x="783" y="1225"/>
                    </a:cubicBezTo>
                    <a:cubicBezTo>
                      <a:pt x="716" y="1100"/>
                      <a:pt x="698" y="880"/>
                      <a:pt x="721" y="716"/>
                    </a:cubicBezTo>
                    <a:cubicBezTo>
                      <a:pt x="743" y="563"/>
                      <a:pt x="878" y="167"/>
                      <a:pt x="1302" y="155"/>
                    </a:cubicBezTo>
                    <a:cubicBezTo>
                      <a:pt x="1710" y="143"/>
                      <a:pt x="1863" y="492"/>
                      <a:pt x="2060" y="739"/>
                    </a:cubicBezTo>
                    <a:cubicBezTo>
                      <a:pt x="2230" y="952"/>
                      <a:pt x="2501" y="1307"/>
                      <a:pt x="2831" y="1417"/>
                    </a:cubicBezTo>
                    <a:cubicBezTo>
                      <a:pt x="2984" y="1468"/>
                      <a:pt x="3195" y="1483"/>
                      <a:pt x="3332" y="1403"/>
                    </a:cubicBezTo>
                    <a:cubicBezTo>
                      <a:pt x="3417" y="1354"/>
                      <a:pt x="3451" y="1217"/>
                      <a:pt x="3369" y="11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1">
                <a:extLst>
                  <a:ext uri="{FF2B5EF4-FFF2-40B4-BE49-F238E27FC236}">
                    <a16:creationId xmlns:a16="http://schemas.microsoft.com/office/drawing/2014/main" id="{81189DD8-844F-C472-2058-58AA8387DC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28688" y="2273758"/>
                <a:ext cx="524175" cy="291583"/>
              </a:xfrm>
              <a:custGeom>
                <a:avLst/>
                <a:gdLst>
                  <a:gd name="T0" fmla="*/ 1257 w 1369"/>
                  <a:gd name="T1" fmla="*/ 706 h 756"/>
                  <a:gd name="T2" fmla="*/ 1001 w 1369"/>
                  <a:gd name="T3" fmla="*/ 535 h 756"/>
                  <a:gd name="T4" fmla="*/ 912 w 1369"/>
                  <a:gd name="T5" fmla="*/ 292 h 756"/>
                  <a:gd name="T6" fmla="*/ 915 w 1369"/>
                  <a:gd name="T7" fmla="*/ 255 h 756"/>
                  <a:gd name="T8" fmla="*/ 848 w 1369"/>
                  <a:gd name="T9" fmla="*/ 248 h 756"/>
                  <a:gd name="T10" fmla="*/ 764 w 1369"/>
                  <a:gd name="T11" fmla="*/ 257 h 756"/>
                  <a:gd name="T12" fmla="*/ 420 w 1369"/>
                  <a:gd name="T13" fmla="*/ 354 h 756"/>
                  <a:gd name="T14" fmla="*/ 134 w 1369"/>
                  <a:gd name="T15" fmla="*/ 21 h 756"/>
                  <a:gd name="T16" fmla="*/ 115 w 1369"/>
                  <a:gd name="T17" fmla="*/ 0 h 756"/>
                  <a:gd name="T18" fmla="*/ 0 w 1369"/>
                  <a:gd name="T19" fmla="*/ 38 h 756"/>
                  <a:gd name="T20" fmla="*/ 84 w 1369"/>
                  <a:gd name="T21" fmla="*/ 169 h 756"/>
                  <a:gd name="T22" fmla="*/ 380 w 1369"/>
                  <a:gd name="T23" fmla="*/ 391 h 756"/>
                  <a:gd name="T24" fmla="*/ 768 w 1369"/>
                  <a:gd name="T25" fmla="*/ 359 h 756"/>
                  <a:gd name="T26" fmla="*/ 876 w 1369"/>
                  <a:gd name="T27" fmla="*/ 567 h 756"/>
                  <a:gd name="T28" fmla="*/ 1158 w 1369"/>
                  <a:gd name="T29" fmla="*/ 732 h 756"/>
                  <a:gd name="T30" fmla="*/ 1369 w 1369"/>
                  <a:gd name="T31" fmla="*/ 735 h 756"/>
                  <a:gd name="T32" fmla="*/ 1257 w 1369"/>
                  <a:gd name="T33" fmla="*/ 706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69" h="756">
                    <a:moveTo>
                      <a:pt x="1257" y="706"/>
                    </a:moveTo>
                    <a:cubicBezTo>
                      <a:pt x="1149" y="670"/>
                      <a:pt x="1061" y="610"/>
                      <a:pt x="1001" y="535"/>
                    </a:cubicBezTo>
                    <a:cubicBezTo>
                      <a:pt x="944" y="465"/>
                      <a:pt x="911" y="375"/>
                      <a:pt x="912" y="292"/>
                    </a:cubicBezTo>
                    <a:cubicBezTo>
                      <a:pt x="912" y="279"/>
                      <a:pt x="915" y="255"/>
                      <a:pt x="915" y="255"/>
                    </a:cubicBezTo>
                    <a:cubicBezTo>
                      <a:pt x="915" y="255"/>
                      <a:pt x="883" y="248"/>
                      <a:pt x="848" y="248"/>
                    </a:cubicBezTo>
                    <a:cubicBezTo>
                      <a:pt x="791" y="248"/>
                      <a:pt x="764" y="257"/>
                      <a:pt x="764" y="257"/>
                    </a:cubicBezTo>
                    <a:cubicBezTo>
                      <a:pt x="764" y="257"/>
                      <a:pt x="631" y="406"/>
                      <a:pt x="420" y="354"/>
                    </a:cubicBezTo>
                    <a:cubicBezTo>
                      <a:pt x="219" y="304"/>
                      <a:pt x="225" y="126"/>
                      <a:pt x="134" y="21"/>
                    </a:cubicBezTo>
                    <a:cubicBezTo>
                      <a:pt x="128" y="13"/>
                      <a:pt x="122" y="7"/>
                      <a:pt x="115" y="0"/>
                    </a:cubicBezTo>
                    <a:lnTo>
                      <a:pt x="0" y="38"/>
                    </a:lnTo>
                    <a:cubicBezTo>
                      <a:pt x="28" y="69"/>
                      <a:pt x="57" y="111"/>
                      <a:pt x="84" y="169"/>
                    </a:cubicBezTo>
                    <a:cubicBezTo>
                      <a:pt x="123" y="256"/>
                      <a:pt x="214" y="355"/>
                      <a:pt x="380" y="391"/>
                    </a:cubicBezTo>
                    <a:cubicBezTo>
                      <a:pt x="503" y="418"/>
                      <a:pt x="639" y="411"/>
                      <a:pt x="768" y="359"/>
                    </a:cubicBezTo>
                    <a:cubicBezTo>
                      <a:pt x="782" y="433"/>
                      <a:pt x="820" y="506"/>
                      <a:pt x="876" y="567"/>
                    </a:cubicBezTo>
                    <a:cubicBezTo>
                      <a:pt x="942" y="639"/>
                      <a:pt x="1048" y="699"/>
                      <a:pt x="1158" y="732"/>
                    </a:cubicBezTo>
                    <a:cubicBezTo>
                      <a:pt x="1239" y="756"/>
                      <a:pt x="1330" y="754"/>
                      <a:pt x="1369" y="735"/>
                    </a:cubicBezTo>
                    <a:cubicBezTo>
                      <a:pt x="1331" y="728"/>
                      <a:pt x="1293" y="718"/>
                      <a:pt x="1257" y="7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2">
                <a:extLst>
                  <a:ext uri="{FF2B5EF4-FFF2-40B4-BE49-F238E27FC236}">
                    <a16:creationId xmlns:a16="http://schemas.microsoft.com/office/drawing/2014/main" id="{A39A18D3-32C6-DE55-9260-46EB23443B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8678" y="2074875"/>
                <a:ext cx="372485" cy="353944"/>
              </a:xfrm>
              <a:custGeom>
                <a:avLst/>
                <a:gdLst>
                  <a:gd name="T0" fmla="*/ 714 w 973"/>
                  <a:gd name="T1" fmla="*/ 43 h 919"/>
                  <a:gd name="T2" fmla="*/ 246 w 973"/>
                  <a:gd name="T3" fmla="*/ 151 h 919"/>
                  <a:gd name="T4" fmla="*/ 208 w 973"/>
                  <a:gd name="T5" fmla="*/ 877 h 919"/>
                  <a:gd name="T6" fmla="*/ 240 w 973"/>
                  <a:gd name="T7" fmla="*/ 912 h 919"/>
                  <a:gd name="T8" fmla="*/ 314 w 973"/>
                  <a:gd name="T9" fmla="*/ 912 h 919"/>
                  <a:gd name="T10" fmla="*/ 396 w 973"/>
                  <a:gd name="T11" fmla="*/ 879 h 919"/>
                  <a:gd name="T12" fmla="*/ 209 w 973"/>
                  <a:gd name="T13" fmla="*/ 575 h 919"/>
                  <a:gd name="T14" fmla="*/ 688 w 973"/>
                  <a:gd name="T15" fmla="*/ 98 h 919"/>
                  <a:gd name="T16" fmla="*/ 772 w 973"/>
                  <a:gd name="T17" fmla="*/ 320 h 919"/>
                  <a:gd name="T18" fmla="*/ 578 w 973"/>
                  <a:gd name="T19" fmla="*/ 371 h 919"/>
                  <a:gd name="T20" fmla="*/ 683 w 973"/>
                  <a:gd name="T21" fmla="*/ 473 h 919"/>
                  <a:gd name="T22" fmla="*/ 898 w 973"/>
                  <a:gd name="T23" fmla="*/ 348 h 919"/>
                  <a:gd name="T24" fmla="*/ 714 w 973"/>
                  <a:gd name="T25" fmla="*/ 43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73" h="919">
                    <a:moveTo>
                      <a:pt x="714" y="43"/>
                    </a:moveTo>
                    <a:cubicBezTo>
                      <a:pt x="514" y="0"/>
                      <a:pt x="346" y="70"/>
                      <a:pt x="246" y="151"/>
                    </a:cubicBezTo>
                    <a:cubicBezTo>
                      <a:pt x="0" y="348"/>
                      <a:pt x="25" y="659"/>
                      <a:pt x="208" y="877"/>
                    </a:cubicBezTo>
                    <a:cubicBezTo>
                      <a:pt x="218" y="889"/>
                      <a:pt x="240" y="912"/>
                      <a:pt x="240" y="912"/>
                    </a:cubicBezTo>
                    <a:cubicBezTo>
                      <a:pt x="240" y="912"/>
                      <a:pt x="266" y="919"/>
                      <a:pt x="314" y="912"/>
                    </a:cubicBezTo>
                    <a:cubicBezTo>
                      <a:pt x="348" y="907"/>
                      <a:pt x="396" y="879"/>
                      <a:pt x="396" y="879"/>
                    </a:cubicBezTo>
                    <a:cubicBezTo>
                      <a:pt x="396" y="879"/>
                      <a:pt x="245" y="761"/>
                      <a:pt x="209" y="575"/>
                    </a:cubicBezTo>
                    <a:cubicBezTo>
                      <a:pt x="145" y="243"/>
                      <a:pt x="437" y="52"/>
                      <a:pt x="688" y="98"/>
                    </a:cubicBezTo>
                    <a:cubicBezTo>
                      <a:pt x="831" y="124"/>
                      <a:pt x="842" y="257"/>
                      <a:pt x="772" y="320"/>
                    </a:cubicBezTo>
                    <a:cubicBezTo>
                      <a:pt x="708" y="377"/>
                      <a:pt x="622" y="376"/>
                      <a:pt x="578" y="371"/>
                    </a:cubicBezTo>
                    <a:cubicBezTo>
                      <a:pt x="616" y="392"/>
                      <a:pt x="653" y="427"/>
                      <a:pt x="683" y="473"/>
                    </a:cubicBezTo>
                    <a:cubicBezTo>
                      <a:pt x="683" y="473"/>
                      <a:pt x="819" y="458"/>
                      <a:pt x="898" y="348"/>
                    </a:cubicBezTo>
                    <a:cubicBezTo>
                      <a:pt x="973" y="245"/>
                      <a:pt x="913" y="86"/>
                      <a:pt x="71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Rectangle 13">
                <a:extLst>
                  <a:ext uri="{FF2B5EF4-FFF2-40B4-BE49-F238E27FC236}">
                    <a16:creationId xmlns:a16="http://schemas.microsoft.com/office/drawing/2014/main" id="{4621D359-BB61-BDCE-3C6D-28AA9B03E61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auto">
              <a:xfrm>
                <a:off x="589912" y="2632758"/>
                <a:ext cx="64047" cy="3219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14">
                <a:extLst>
                  <a:ext uri="{FF2B5EF4-FFF2-40B4-BE49-F238E27FC236}">
                    <a16:creationId xmlns:a16="http://schemas.microsoft.com/office/drawing/2014/main" id="{810F366E-A924-0F6D-73F2-94F6B511FD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4313" y="2632758"/>
                <a:ext cx="215738" cy="321921"/>
              </a:xfrm>
              <a:custGeom>
                <a:avLst/>
                <a:gdLst>
                  <a:gd name="T0" fmla="*/ 0 w 562"/>
                  <a:gd name="T1" fmla="*/ 839 h 839"/>
                  <a:gd name="T2" fmla="*/ 0 w 562"/>
                  <a:gd name="T3" fmla="*/ 0 h 839"/>
                  <a:gd name="T4" fmla="*/ 164 w 562"/>
                  <a:gd name="T5" fmla="*/ 0 h 839"/>
                  <a:gd name="T6" fmla="*/ 164 w 562"/>
                  <a:gd name="T7" fmla="*/ 756 h 839"/>
                  <a:gd name="T8" fmla="*/ 485 w 562"/>
                  <a:gd name="T9" fmla="*/ 756 h 839"/>
                  <a:gd name="T10" fmla="*/ 562 w 562"/>
                  <a:gd name="T11" fmla="*/ 839 h 839"/>
                  <a:gd name="T12" fmla="*/ 0 w 562"/>
                  <a:gd name="T13" fmla="*/ 839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2" h="839">
                    <a:moveTo>
                      <a:pt x="0" y="839"/>
                    </a:moveTo>
                    <a:lnTo>
                      <a:pt x="0" y="0"/>
                    </a:lnTo>
                    <a:lnTo>
                      <a:pt x="164" y="0"/>
                    </a:lnTo>
                    <a:lnTo>
                      <a:pt x="164" y="756"/>
                    </a:lnTo>
                    <a:lnTo>
                      <a:pt x="485" y="756"/>
                    </a:lnTo>
                    <a:lnTo>
                      <a:pt x="562" y="839"/>
                    </a:lnTo>
                    <a:lnTo>
                      <a:pt x="0" y="8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15">
                <a:extLst>
                  <a:ext uri="{FF2B5EF4-FFF2-40B4-BE49-F238E27FC236}">
                    <a16:creationId xmlns:a16="http://schemas.microsoft.com/office/drawing/2014/main" id="{E71DBBA0-DFB6-5301-948F-90D82F1F1139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230912" y="2629387"/>
                <a:ext cx="267987" cy="330348"/>
              </a:xfrm>
              <a:custGeom>
                <a:avLst/>
                <a:gdLst>
                  <a:gd name="T0" fmla="*/ 0 w 698"/>
                  <a:gd name="T1" fmla="*/ 856 h 856"/>
                  <a:gd name="T2" fmla="*/ 0 w 698"/>
                  <a:gd name="T3" fmla="*/ 0 h 856"/>
                  <a:gd name="T4" fmla="*/ 250 w 698"/>
                  <a:gd name="T5" fmla="*/ 0 h 856"/>
                  <a:gd name="T6" fmla="*/ 537 w 698"/>
                  <a:gd name="T7" fmla="*/ 45 h 856"/>
                  <a:gd name="T8" fmla="*/ 641 w 698"/>
                  <a:gd name="T9" fmla="*/ 197 h 856"/>
                  <a:gd name="T10" fmla="*/ 488 w 698"/>
                  <a:gd name="T11" fmla="*/ 379 h 856"/>
                  <a:gd name="T12" fmla="*/ 443 w 698"/>
                  <a:gd name="T13" fmla="*/ 394 h 856"/>
                  <a:gd name="T14" fmla="*/ 501 w 698"/>
                  <a:gd name="T15" fmla="*/ 414 h 856"/>
                  <a:gd name="T16" fmla="*/ 698 w 698"/>
                  <a:gd name="T17" fmla="*/ 630 h 856"/>
                  <a:gd name="T18" fmla="*/ 541 w 698"/>
                  <a:gd name="T19" fmla="*/ 822 h 856"/>
                  <a:gd name="T20" fmla="*/ 250 w 698"/>
                  <a:gd name="T21" fmla="*/ 856 h 856"/>
                  <a:gd name="T22" fmla="*/ 0 w 698"/>
                  <a:gd name="T23" fmla="*/ 856 h 856"/>
                  <a:gd name="T24" fmla="*/ 161 w 698"/>
                  <a:gd name="T25" fmla="*/ 712 h 856"/>
                  <a:gd name="T26" fmla="*/ 177 w 698"/>
                  <a:gd name="T27" fmla="*/ 763 h 856"/>
                  <a:gd name="T28" fmla="*/ 277 w 698"/>
                  <a:gd name="T29" fmla="*/ 785 h 856"/>
                  <a:gd name="T30" fmla="*/ 528 w 698"/>
                  <a:gd name="T31" fmla="*/ 619 h 856"/>
                  <a:gd name="T32" fmla="*/ 267 w 698"/>
                  <a:gd name="T33" fmla="*/ 435 h 856"/>
                  <a:gd name="T34" fmla="*/ 251 w 698"/>
                  <a:gd name="T35" fmla="*/ 435 h 856"/>
                  <a:gd name="T36" fmla="*/ 161 w 698"/>
                  <a:gd name="T37" fmla="*/ 435 h 856"/>
                  <a:gd name="T38" fmla="*/ 161 w 698"/>
                  <a:gd name="T39" fmla="*/ 712 h 856"/>
                  <a:gd name="T40" fmla="*/ 296 w 698"/>
                  <a:gd name="T41" fmla="*/ 374 h 856"/>
                  <a:gd name="T42" fmla="*/ 479 w 698"/>
                  <a:gd name="T43" fmla="*/ 222 h 856"/>
                  <a:gd name="T44" fmla="*/ 260 w 698"/>
                  <a:gd name="T45" fmla="*/ 65 h 856"/>
                  <a:gd name="T46" fmla="*/ 177 w 698"/>
                  <a:gd name="T47" fmla="*/ 70 h 856"/>
                  <a:gd name="T48" fmla="*/ 161 w 698"/>
                  <a:gd name="T49" fmla="*/ 72 h 856"/>
                  <a:gd name="T50" fmla="*/ 161 w 698"/>
                  <a:gd name="T51" fmla="*/ 374 h 856"/>
                  <a:gd name="T52" fmla="*/ 296 w 698"/>
                  <a:gd name="T53" fmla="*/ 374 h 8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8" h="856">
                    <a:moveTo>
                      <a:pt x="0" y="856"/>
                    </a:moveTo>
                    <a:lnTo>
                      <a:pt x="0" y="0"/>
                    </a:lnTo>
                    <a:lnTo>
                      <a:pt x="250" y="0"/>
                    </a:lnTo>
                    <a:cubicBezTo>
                      <a:pt x="342" y="0"/>
                      <a:pt x="457" y="5"/>
                      <a:pt x="537" y="45"/>
                    </a:cubicBezTo>
                    <a:cubicBezTo>
                      <a:pt x="605" y="80"/>
                      <a:pt x="641" y="132"/>
                      <a:pt x="641" y="197"/>
                    </a:cubicBezTo>
                    <a:cubicBezTo>
                      <a:pt x="641" y="289"/>
                      <a:pt x="562" y="352"/>
                      <a:pt x="488" y="379"/>
                    </a:cubicBezTo>
                    <a:cubicBezTo>
                      <a:pt x="468" y="386"/>
                      <a:pt x="454" y="391"/>
                      <a:pt x="443" y="394"/>
                    </a:cubicBezTo>
                    <a:cubicBezTo>
                      <a:pt x="459" y="399"/>
                      <a:pt x="481" y="406"/>
                      <a:pt x="501" y="414"/>
                    </a:cubicBezTo>
                    <a:cubicBezTo>
                      <a:pt x="673" y="480"/>
                      <a:pt x="698" y="578"/>
                      <a:pt x="698" y="630"/>
                    </a:cubicBezTo>
                    <a:cubicBezTo>
                      <a:pt x="698" y="740"/>
                      <a:pt x="612" y="795"/>
                      <a:pt x="541" y="822"/>
                    </a:cubicBezTo>
                    <a:cubicBezTo>
                      <a:pt x="471" y="845"/>
                      <a:pt x="381" y="856"/>
                      <a:pt x="250" y="856"/>
                    </a:cubicBezTo>
                    <a:lnTo>
                      <a:pt x="0" y="856"/>
                    </a:lnTo>
                    <a:close/>
                    <a:moveTo>
                      <a:pt x="161" y="712"/>
                    </a:moveTo>
                    <a:cubicBezTo>
                      <a:pt x="161" y="728"/>
                      <a:pt x="160" y="748"/>
                      <a:pt x="177" y="763"/>
                    </a:cubicBezTo>
                    <a:cubicBezTo>
                      <a:pt x="194" y="779"/>
                      <a:pt x="225" y="785"/>
                      <a:pt x="277" y="785"/>
                    </a:cubicBezTo>
                    <a:cubicBezTo>
                      <a:pt x="439" y="785"/>
                      <a:pt x="528" y="726"/>
                      <a:pt x="528" y="619"/>
                    </a:cubicBezTo>
                    <a:cubicBezTo>
                      <a:pt x="528" y="505"/>
                      <a:pt x="440" y="443"/>
                      <a:pt x="267" y="435"/>
                    </a:cubicBezTo>
                    <a:cubicBezTo>
                      <a:pt x="266" y="435"/>
                      <a:pt x="252" y="435"/>
                      <a:pt x="251" y="435"/>
                    </a:cubicBezTo>
                    <a:lnTo>
                      <a:pt x="161" y="435"/>
                    </a:lnTo>
                    <a:lnTo>
                      <a:pt x="161" y="712"/>
                    </a:lnTo>
                    <a:close/>
                    <a:moveTo>
                      <a:pt x="296" y="374"/>
                    </a:moveTo>
                    <a:cubicBezTo>
                      <a:pt x="425" y="374"/>
                      <a:pt x="479" y="265"/>
                      <a:pt x="479" y="222"/>
                    </a:cubicBezTo>
                    <a:cubicBezTo>
                      <a:pt x="479" y="122"/>
                      <a:pt x="399" y="65"/>
                      <a:pt x="260" y="65"/>
                    </a:cubicBezTo>
                    <a:cubicBezTo>
                      <a:pt x="228" y="65"/>
                      <a:pt x="209" y="67"/>
                      <a:pt x="177" y="70"/>
                    </a:cubicBezTo>
                    <a:lnTo>
                      <a:pt x="161" y="72"/>
                    </a:lnTo>
                    <a:lnTo>
                      <a:pt x="161" y="374"/>
                    </a:lnTo>
                    <a:lnTo>
                      <a:pt x="296" y="3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16">
                <a:extLst>
                  <a:ext uri="{FF2B5EF4-FFF2-40B4-BE49-F238E27FC236}">
                    <a16:creationId xmlns:a16="http://schemas.microsoft.com/office/drawing/2014/main" id="{530FC0A1-C182-84B5-7DA2-43B7E9472E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5086" y="2632758"/>
                <a:ext cx="276414" cy="321921"/>
              </a:xfrm>
              <a:custGeom>
                <a:avLst/>
                <a:gdLst>
                  <a:gd name="T0" fmla="*/ 558 w 723"/>
                  <a:gd name="T1" fmla="*/ 0 h 839"/>
                  <a:gd name="T2" fmla="*/ 558 w 723"/>
                  <a:gd name="T3" fmla="*/ 364 h 839"/>
                  <a:gd name="T4" fmla="*/ 165 w 723"/>
                  <a:gd name="T5" fmla="*/ 364 h 839"/>
                  <a:gd name="T6" fmla="*/ 165 w 723"/>
                  <a:gd name="T7" fmla="*/ 0 h 839"/>
                  <a:gd name="T8" fmla="*/ 0 w 723"/>
                  <a:gd name="T9" fmla="*/ 0 h 839"/>
                  <a:gd name="T10" fmla="*/ 0 w 723"/>
                  <a:gd name="T11" fmla="*/ 839 h 839"/>
                  <a:gd name="T12" fmla="*/ 165 w 723"/>
                  <a:gd name="T13" fmla="*/ 839 h 839"/>
                  <a:gd name="T14" fmla="*/ 165 w 723"/>
                  <a:gd name="T15" fmla="*/ 480 h 839"/>
                  <a:gd name="T16" fmla="*/ 212 w 723"/>
                  <a:gd name="T17" fmla="*/ 442 h 839"/>
                  <a:gd name="T18" fmla="*/ 512 w 723"/>
                  <a:gd name="T19" fmla="*/ 442 h 839"/>
                  <a:gd name="T20" fmla="*/ 558 w 723"/>
                  <a:gd name="T21" fmla="*/ 480 h 839"/>
                  <a:gd name="T22" fmla="*/ 558 w 723"/>
                  <a:gd name="T23" fmla="*/ 839 h 839"/>
                  <a:gd name="T24" fmla="*/ 723 w 723"/>
                  <a:gd name="T25" fmla="*/ 839 h 839"/>
                  <a:gd name="T26" fmla="*/ 723 w 723"/>
                  <a:gd name="T27" fmla="*/ 0 h 839"/>
                  <a:gd name="T28" fmla="*/ 558 w 723"/>
                  <a:gd name="T29" fmla="*/ 0 h 8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23" h="839">
                    <a:moveTo>
                      <a:pt x="558" y="0"/>
                    </a:moveTo>
                    <a:lnTo>
                      <a:pt x="558" y="364"/>
                    </a:lnTo>
                    <a:lnTo>
                      <a:pt x="165" y="364"/>
                    </a:lnTo>
                    <a:lnTo>
                      <a:pt x="165" y="0"/>
                    </a:lnTo>
                    <a:lnTo>
                      <a:pt x="0" y="0"/>
                    </a:lnTo>
                    <a:lnTo>
                      <a:pt x="0" y="839"/>
                    </a:lnTo>
                    <a:lnTo>
                      <a:pt x="165" y="839"/>
                    </a:lnTo>
                    <a:lnTo>
                      <a:pt x="165" y="480"/>
                    </a:lnTo>
                    <a:cubicBezTo>
                      <a:pt x="165" y="454"/>
                      <a:pt x="189" y="442"/>
                      <a:pt x="212" y="442"/>
                    </a:cubicBezTo>
                    <a:lnTo>
                      <a:pt x="512" y="442"/>
                    </a:lnTo>
                    <a:cubicBezTo>
                      <a:pt x="535" y="442"/>
                      <a:pt x="558" y="454"/>
                      <a:pt x="558" y="480"/>
                    </a:cubicBezTo>
                    <a:lnTo>
                      <a:pt x="558" y="839"/>
                    </a:lnTo>
                    <a:lnTo>
                      <a:pt x="723" y="839"/>
                    </a:lnTo>
                    <a:lnTo>
                      <a:pt x="723" y="0"/>
                    </a:lnTo>
                    <a:lnTo>
                      <a:pt x="55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33959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96" r:id="rId2"/>
    <p:sldLayoutId id="2147483995" r:id="rId3"/>
    <p:sldLayoutId id="2147483969" r:id="rId4"/>
    <p:sldLayoutId id="2147483994" r:id="rId5"/>
    <p:sldLayoutId id="2147483978" r:id="rId6"/>
    <p:sldLayoutId id="2147483858" r:id="rId7"/>
    <p:sldLayoutId id="2147483982" r:id="rId8"/>
    <p:sldLayoutId id="2147483983" r:id="rId9"/>
    <p:sldLayoutId id="2147483984" r:id="rId10"/>
    <p:sldLayoutId id="2147483988" r:id="rId11"/>
    <p:sldLayoutId id="2147483986" r:id="rId12"/>
    <p:sldLayoutId id="2147483980" r:id="rId13"/>
    <p:sldLayoutId id="2147483859" r:id="rId14"/>
    <p:sldLayoutId id="2147483985" r:id="rId15"/>
    <p:sldLayoutId id="2147483993" r:id="rId16"/>
    <p:sldLayoutId id="2147483987" r:id="rId17"/>
    <p:sldLayoutId id="2147483941" r:id="rId18"/>
    <p:sldLayoutId id="2147483974" r:id="rId19"/>
    <p:sldLayoutId id="2147483976" r:id="rId20"/>
    <p:sldLayoutId id="2147483991" r:id="rId21"/>
    <p:sldLayoutId id="2147483992" r:id="rId22"/>
    <p:sldLayoutId id="2147483997" r:id="rId23"/>
    <p:sldLayoutId id="2147483998" r:id="rId24"/>
    <p:sldLayoutId id="2147483999" r:id="rId25"/>
    <p:sldLayoutId id="2147483977" r:id="rId26"/>
    <p:sldLayoutId id="2147483989" r:id="rId27"/>
    <p:sldLayoutId id="2147483981" r:id="rId28"/>
    <p:sldLayoutId id="2147483990" r:id="rId29"/>
    <p:sldLayoutId id="2147483979" r:id="rId30"/>
    <p:sldLayoutId id="2147483943" r:id="rId31"/>
    <p:sldLayoutId id="2147483975" r:id="rId32"/>
    <p:sldLayoutId id="2147483946" r:id="rId33"/>
    <p:sldLayoutId id="2147483949" r:id="rId34"/>
    <p:sldLayoutId id="2147483947" r:id="rId35"/>
    <p:sldLayoutId id="2147483950" r:id="rId36"/>
    <p:sldLayoutId id="2147483945" r:id="rId37"/>
    <p:sldLayoutId id="2147483948" r:id="rId38"/>
    <p:sldLayoutId id="2147483973" r:id="rId39"/>
    <p:sldLayoutId id="2147483942" r:id="rId40"/>
    <p:sldLayoutId id="2147483837" r:id="rId41"/>
    <p:sldLayoutId id="2147483944" r:id="rId42"/>
    <p:sldLayoutId id="2147483971" r:id="rId4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cap="all" baseline="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176213" indent="-176213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1746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573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89013" indent="-18573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136" userDrawn="1">
          <p15:clr>
            <a:srgbClr val="F26B43"/>
          </p15:clr>
        </p15:guide>
        <p15:guide id="4" pos="7543" userDrawn="1">
          <p15:clr>
            <a:srgbClr val="F26B43"/>
          </p15:clr>
        </p15:guide>
        <p15:guide id="5" orient="horz" userDrawn="1">
          <p15:clr>
            <a:srgbClr val="F26B43"/>
          </p15:clr>
        </p15:guide>
        <p15:guide id="6" orient="horz" pos="4320" userDrawn="1">
          <p15:clr>
            <a:srgbClr val="F26B43"/>
          </p15:clr>
        </p15:guide>
        <p15:guide id="7" orient="horz" pos="861" userDrawn="1">
          <p15:clr>
            <a:srgbClr val="F26B43"/>
          </p15:clr>
        </p15:guide>
        <p15:guide id="8" orient="horz" pos="40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AD6BA-CD75-D75B-37B6-57E5AECFD1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5900" y="615660"/>
            <a:ext cx="5880100" cy="452114"/>
          </a:xfrm>
        </p:spPr>
        <p:txBody>
          <a:bodyPr/>
          <a:lstStyle/>
          <a:p>
            <a:r>
              <a:rPr lang="en-US"/>
              <a:t>2024 half year results</a:t>
            </a:r>
            <a:endParaRPr lang="en-GB"/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BC9955B5-E10D-AF18-1C48-85C617C9E7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5900" y="1059988"/>
            <a:ext cx="5880100" cy="306850"/>
          </a:xfrm>
        </p:spPr>
        <p:txBody>
          <a:bodyPr/>
          <a:lstStyle/>
          <a:p>
            <a:r>
              <a:rPr lang="en-GB"/>
              <a:t>August 30, 2024</a:t>
            </a:r>
          </a:p>
        </p:txBody>
      </p:sp>
    </p:spTree>
    <p:extLst>
      <p:ext uri="{BB962C8B-B14F-4D97-AF65-F5344CB8AC3E}">
        <p14:creationId xmlns:p14="http://schemas.microsoft.com/office/powerpoint/2010/main" val="29750125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7" descr="A person walking on a dirt path&#10;&#10;Description automatically generated">
            <a:extLst>
              <a:ext uri="{FF2B5EF4-FFF2-40B4-BE49-F238E27FC236}">
                <a16:creationId xmlns:a16="http://schemas.microsoft.com/office/drawing/2014/main" id="{B41C0C3E-7805-C359-58AE-3E42A415F0B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" t="7312" r="-52" b="31828"/>
          <a:stretch/>
        </p:blipFill>
        <p:spPr>
          <a:xfrm>
            <a:off x="0" y="1371600"/>
            <a:ext cx="12192000" cy="4945063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ED2A4DD-F037-895D-ADE4-E9F9B690B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</p:spPr>
        <p:txBody>
          <a:bodyPr/>
          <a:lstStyle/>
          <a:p>
            <a:r>
              <a:rPr lang="en-GB"/>
              <a:t>FINANCIAL PERFORMANCE</a:t>
            </a: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D82CB0EE-D787-F2A6-4648-A682863E9D53}"/>
              </a:ext>
            </a:extLst>
          </p:cNvPr>
          <p:cNvSpPr/>
          <p:nvPr/>
        </p:nvSpPr>
        <p:spPr>
          <a:xfrm>
            <a:off x="212758" y="2286000"/>
            <a:ext cx="9571038" cy="4257011"/>
          </a:xfrm>
          <a:custGeom>
            <a:avLst/>
            <a:gdLst/>
            <a:ahLst/>
            <a:cxnLst/>
            <a:rect l="l" t="t" r="r" b="b"/>
            <a:pathLst>
              <a:path w="8400415" h="3736340">
                <a:moveTo>
                  <a:pt x="4392396" y="2075383"/>
                </a:moveTo>
                <a:lnTo>
                  <a:pt x="4382846" y="2000275"/>
                </a:lnTo>
                <a:lnTo>
                  <a:pt x="4372851" y="1962937"/>
                </a:lnTo>
                <a:lnTo>
                  <a:pt x="4359351" y="1926005"/>
                </a:lnTo>
                <a:lnTo>
                  <a:pt x="4342358" y="1889658"/>
                </a:lnTo>
                <a:lnTo>
                  <a:pt x="4321848" y="1854073"/>
                </a:lnTo>
                <a:lnTo>
                  <a:pt x="4297845" y="1819440"/>
                </a:lnTo>
                <a:lnTo>
                  <a:pt x="4270299" y="1785950"/>
                </a:lnTo>
                <a:lnTo>
                  <a:pt x="4239247" y="1753781"/>
                </a:lnTo>
                <a:lnTo>
                  <a:pt x="4204652" y="1723123"/>
                </a:lnTo>
                <a:lnTo>
                  <a:pt x="4166527" y="1694154"/>
                </a:lnTo>
                <a:lnTo>
                  <a:pt x="4124858" y="1667065"/>
                </a:lnTo>
                <a:lnTo>
                  <a:pt x="4079633" y="1642033"/>
                </a:lnTo>
                <a:lnTo>
                  <a:pt x="4030853" y="1619262"/>
                </a:lnTo>
                <a:lnTo>
                  <a:pt x="3978503" y="1598917"/>
                </a:lnTo>
                <a:lnTo>
                  <a:pt x="3922598" y="1581188"/>
                </a:lnTo>
                <a:lnTo>
                  <a:pt x="3863111" y="1566278"/>
                </a:lnTo>
                <a:lnTo>
                  <a:pt x="3804589" y="1554670"/>
                </a:lnTo>
                <a:lnTo>
                  <a:pt x="3746830" y="1545678"/>
                </a:lnTo>
                <a:lnTo>
                  <a:pt x="3689896" y="1539214"/>
                </a:lnTo>
                <a:lnTo>
                  <a:pt x="3633787" y="1535163"/>
                </a:lnTo>
                <a:lnTo>
                  <a:pt x="3578555" y="1533448"/>
                </a:lnTo>
                <a:lnTo>
                  <a:pt x="3524224" y="1533944"/>
                </a:lnTo>
                <a:lnTo>
                  <a:pt x="3470846" y="1536573"/>
                </a:lnTo>
                <a:lnTo>
                  <a:pt x="3418446" y="1541221"/>
                </a:lnTo>
                <a:lnTo>
                  <a:pt x="3367062" y="1547799"/>
                </a:lnTo>
                <a:lnTo>
                  <a:pt x="3316732" y="1556194"/>
                </a:lnTo>
                <a:lnTo>
                  <a:pt x="3267468" y="1566329"/>
                </a:lnTo>
                <a:lnTo>
                  <a:pt x="3219335" y="1578089"/>
                </a:lnTo>
                <a:lnTo>
                  <a:pt x="3172358" y="1591386"/>
                </a:lnTo>
                <a:lnTo>
                  <a:pt x="3126575" y="1606105"/>
                </a:lnTo>
                <a:lnTo>
                  <a:pt x="3082010" y="1622145"/>
                </a:lnTo>
                <a:lnTo>
                  <a:pt x="3038703" y="1639430"/>
                </a:lnTo>
                <a:lnTo>
                  <a:pt x="2996679" y="1657845"/>
                </a:lnTo>
                <a:lnTo>
                  <a:pt x="2956001" y="1677301"/>
                </a:lnTo>
                <a:lnTo>
                  <a:pt x="2916682" y="1697685"/>
                </a:lnTo>
                <a:lnTo>
                  <a:pt x="2878759" y="1718906"/>
                </a:lnTo>
                <a:lnTo>
                  <a:pt x="2842260" y="1740865"/>
                </a:lnTo>
                <a:lnTo>
                  <a:pt x="2807246" y="1763458"/>
                </a:lnTo>
                <a:lnTo>
                  <a:pt x="2773730" y="1786585"/>
                </a:lnTo>
                <a:lnTo>
                  <a:pt x="2741752" y="1810156"/>
                </a:lnTo>
                <a:lnTo>
                  <a:pt x="2711348" y="1834070"/>
                </a:lnTo>
                <a:lnTo>
                  <a:pt x="2671254" y="1867877"/>
                </a:lnTo>
                <a:lnTo>
                  <a:pt x="2633205" y="1902523"/>
                </a:lnTo>
                <a:lnTo>
                  <a:pt x="2597175" y="1937981"/>
                </a:lnTo>
                <a:lnTo>
                  <a:pt x="2563139" y="1974202"/>
                </a:lnTo>
                <a:lnTo>
                  <a:pt x="2531084" y="2011159"/>
                </a:lnTo>
                <a:lnTo>
                  <a:pt x="2500998" y="2048802"/>
                </a:lnTo>
                <a:lnTo>
                  <a:pt x="2472842" y="2087118"/>
                </a:lnTo>
                <a:lnTo>
                  <a:pt x="2446604" y="2126056"/>
                </a:lnTo>
                <a:lnTo>
                  <a:pt x="2422271" y="2165578"/>
                </a:lnTo>
                <a:lnTo>
                  <a:pt x="2399830" y="2205647"/>
                </a:lnTo>
                <a:lnTo>
                  <a:pt x="2379243" y="2246249"/>
                </a:lnTo>
                <a:lnTo>
                  <a:pt x="2360498" y="2287308"/>
                </a:lnTo>
                <a:lnTo>
                  <a:pt x="2343581" y="2328824"/>
                </a:lnTo>
                <a:lnTo>
                  <a:pt x="2328481" y="2370747"/>
                </a:lnTo>
                <a:lnTo>
                  <a:pt x="2315159" y="2413038"/>
                </a:lnTo>
                <a:lnTo>
                  <a:pt x="2303602" y="2455659"/>
                </a:lnTo>
                <a:lnTo>
                  <a:pt x="2293797" y="2498572"/>
                </a:lnTo>
                <a:lnTo>
                  <a:pt x="2285720" y="2541765"/>
                </a:lnTo>
                <a:lnTo>
                  <a:pt x="2279358" y="2585174"/>
                </a:lnTo>
                <a:lnTo>
                  <a:pt x="2274684" y="2628773"/>
                </a:lnTo>
                <a:lnTo>
                  <a:pt x="2271674" y="2672524"/>
                </a:lnTo>
                <a:lnTo>
                  <a:pt x="2270328" y="2716390"/>
                </a:lnTo>
                <a:lnTo>
                  <a:pt x="2270607" y="2760345"/>
                </a:lnTo>
                <a:lnTo>
                  <a:pt x="2272512" y="2804337"/>
                </a:lnTo>
                <a:lnTo>
                  <a:pt x="2276005" y="2848343"/>
                </a:lnTo>
                <a:lnTo>
                  <a:pt x="2281072" y="2892323"/>
                </a:lnTo>
                <a:lnTo>
                  <a:pt x="2287701" y="2936240"/>
                </a:lnTo>
                <a:lnTo>
                  <a:pt x="2295855" y="2980055"/>
                </a:lnTo>
                <a:lnTo>
                  <a:pt x="2305545" y="3023730"/>
                </a:lnTo>
                <a:lnTo>
                  <a:pt x="2316721" y="3067227"/>
                </a:lnTo>
                <a:lnTo>
                  <a:pt x="2329383" y="3110522"/>
                </a:lnTo>
                <a:lnTo>
                  <a:pt x="2343505" y="3153575"/>
                </a:lnTo>
                <a:lnTo>
                  <a:pt x="2359063" y="3196348"/>
                </a:lnTo>
                <a:lnTo>
                  <a:pt x="2376055" y="3238804"/>
                </a:lnTo>
                <a:lnTo>
                  <a:pt x="2394445" y="3280905"/>
                </a:lnTo>
                <a:lnTo>
                  <a:pt x="2414219" y="3322612"/>
                </a:lnTo>
                <a:lnTo>
                  <a:pt x="2435352" y="3363899"/>
                </a:lnTo>
                <a:lnTo>
                  <a:pt x="2457831" y="3404717"/>
                </a:lnTo>
                <a:lnTo>
                  <a:pt x="2481643" y="3445052"/>
                </a:lnTo>
                <a:lnTo>
                  <a:pt x="2506764" y="3484842"/>
                </a:lnTo>
                <a:lnTo>
                  <a:pt x="2533167" y="3524059"/>
                </a:lnTo>
                <a:lnTo>
                  <a:pt x="2560840" y="3562667"/>
                </a:lnTo>
                <a:lnTo>
                  <a:pt x="2589758" y="3600640"/>
                </a:lnTo>
                <a:lnTo>
                  <a:pt x="2619921" y="3637940"/>
                </a:lnTo>
                <a:lnTo>
                  <a:pt x="2667711" y="3691877"/>
                </a:lnTo>
                <a:lnTo>
                  <a:pt x="2697264" y="3723856"/>
                </a:lnTo>
                <a:lnTo>
                  <a:pt x="2735681" y="3733203"/>
                </a:lnTo>
                <a:lnTo>
                  <a:pt x="2767368" y="3736225"/>
                </a:lnTo>
                <a:lnTo>
                  <a:pt x="2809354" y="3732860"/>
                </a:lnTo>
                <a:lnTo>
                  <a:pt x="2878620" y="3723030"/>
                </a:lnTo>
                <a:lnTo>
                  <a:pt x="2946184" y="3705136"/>
                </a:lnTo>
                <a:lnTo>
                  <a:pt x="3011652" y="3677666"/>
                </a:lnTo>
                <a:lnTo>
                  <a:pt x="3061119" y="3652494"/>
                </a:lnTo>
                <a:lnTo>
                  <a:pt x="2864904" y="3464864"/>
                </a:lnTo>
                <a:lnTo>
                  <a:pt x="2745194" y="3327311"/>
                </a:lnTo>
                <a:lnTo>
                  <a:pt x="2678582" y="3157982"/>
                </a:lnTo>
                <a:lnTo>
                  <a:pt x="2622080" y="2886075"/>
                </a:lnTo>
                <a:lnTo>
                  <a:pt x="2613075" y="2832951"/>
                </a:lnTo>
                <a:lnTo>
                  <a:pt x="2606497" y="2780817"/>
                </a:lnTo>
                <a:lnTo>
                  <a:pt x="2602268" y="2729700"/>
                </a:lnTo>
                <a:lnTo>
                  <a:pt x="2600337" y="2679611"/>
                </a:lnTo>
                <a:lnTo>
                  <a:pt x="2600642" y="2630576"/>
                </a:lnTo>
                <a:lnTo>
                  <a:pt x="2603131" y="2582583"/>
                </a:lnTo>
                <a:lnTo>
                  <a:pt x="2607741" y="2535669"/>
                </a:lnTo>
                <a:lnTo>
                  <a:pt x="2614396" y="2489847"/>
                </a:lnTo>
                <a:lnTo>
                  <a:pt x="2623058" y="2445131"/>
                </a:lnTo>
                <a:lnTo>
                  <a:pt x="2633649" y="2401519"/>
                </a:lnTo>
                <a:lnTo>
                  <a:pt x="2646121" y="2359050"/>
                </a:lnTo>
                <a:lnTo>
                  <a:pt x="2660421" y="2317724"/>
                </a:lnTo>
                <a:lnTo>
                  <a:pt x="2676461" y="2277554"/>
                </a:lnTo>
                <a:lnTo>
                  <a:pt x="2694216" y="2238578"/>
                </a:lnTo>
                <a:lnTo>
                  <a:pt x="2713596" y="2200783"/>
                </a:lnTo>
                <a:lnTo>
                  <a:pt x="2734564" y="2164194"/>
                </a:lnTo>
                <a:lnTo>
                  <a:pt x="2757043" y="2128824"/>
                </a:lnTo>
                <a:lnTo>
                  <a:pt x="2780969" y="2094699"/>
                </a:lnTo>
                <a:lnTo>
                  <a:pt x="2806306" y="2061819"/>
                </a:lnTo>
                <a:lnTo>
                  <a:pt x="2832976" y="2030209"/>
                </a:lnTo>
                <a:lnTo>
                  <a:pt x="2860929" y="1999881"/>
                </a:lnTo>
                <a:lnTo>
                  <a:pt x="2890101" y="1970849"/>
                </a:lnTo>
                <a:lnTo>
                  <a:pt x="2920415" y="1943138"/>
                </a:lnTo>
                <a:lnTo>
                  <a:pt x="2951848" y="1916734"/>
                </a:lnTo>
                <a:lnTo>
                  <a:pt x="2984296" y="1891690"/>
                </a:lnTo>
                <a:lnTo>
                  <a:pt x="3017736" y="1867992"/>
                </a:lnTo>
                <a:lnTo>
                  <a:pt x="3052102" y="1845665"/>
                </a:lnTo>
                <a:lnTo>
                  <a:pt x="3087306" y="1824723"/>
                </a:lnTo>
                <a:lnTo>
                  <a:pt x="3123323" y="1805178"/>
                </a:lnTo>
                <a:lnTo>
                  <a:pt x="3160064" y="1787055"/>
                </a:lnTo>
                <a:lnTo>
                  <a:pt x="3197491" y="1770367"/>
                </a:lnTo>
                <a:lnTo>
                  <a:pt x="3235541" y="1755114"/>
                </a:lnTo>
                <a:lnTo>
                  <a:pt x="3274149" y="1741335"/>
                </a:lnTo>
                <a:lnTo>
                  <a:pt x="3313239" y="1729016"/>
                </a:lnTo>
                <a:lnTo>
                  <a:pt x="3352787" y="1718195"/>
                </a:lnTo>
                <a:lnTo>
                  <a:pt x="3392703" y="1708886"/>
                </a:lnTo>
                <a:lnTo>
                  <a:pt x="3432937" y="1701088"/>
                </a:lnTo>
                <a:lnTo>
                  <a:pt x="3473424" y="1694827"/>
                </a:lnTo>
                <a:lnTo>
                  <a:pt x="3514115" y="1690116"/>
                </a:lnTo>
                <a:lnTo>
                  <a:pt x="3554946" y="1686966"/>
                </a:lnTo>
                <a:lnTo>
                  <a:pt x="3595852" y="1685404"/>
                </a:lnTo>
                <a:lnTo>
                  <a:pt x="3636772" y="1685429"/>
                </a:lnTo>
                <a:lnTo>
                  <a:pt x="3677653" y="1687068"/>
                </a:lnTo>
                <a:lnTo>
                  <a:pt x="3718445" y="1690331"/>
                </a:lnTo>
                <a:lnTo>
                  <a:pt x="3759060" y="1695234"/>
                </a:lnTo>
                <a:lnTo>
                  <a:pt x="3799459" y="1701800"/>
                </a:lnTo>
                <a:lnTo>
                  <a:pt x="3855212" y="1714982"/>
                </a:lnTo>
                <a:lnTo>
                  <a:pt x="3905059" y="1732648"/>
                </a:lnTo>
                <a:lnTo>
                  <a:pt x="3949141" y="1754365"/>
                </a:lnTo>
                <a:lnTo>
                  <a:pt x="3987571" y="1779651"/>
                </a:lnTo>
                <a:lnTo>
                  <a:pt x="4020477" y="1808060"/>
                </a:lnTo>
                <a:lnTo>
                  <a:pt x="4048010" y="1839150"/>
                </a:lnTo>
                <a:lnTo>
                  <a:pt x="4070273" y="1872437"/>
                </a:lnTo>
                <a:lnTo>
                  <a:pt x="4087406" y="1907489"/>
                </a:lnTo>
                <a:lnTo>
                  <a:pt x="4099547" y="1943836"/>
                </a:lnTo>
                <a:lnTo>
                  <a:pt x="4109326" y="2018601"/>
                </a:lnTo>
                <a:lnTo>
                  <a:pt x="4107230" y="2056117"/>
                </a:lnTo>
                <a:lnTo>
                  <a:pt x="4089717" y="2129117"/>
                </a:lnTo>
                <a:lnTo>
                  <a:pt x="4055287" y="2196363"/>
                </a:lnTo>
                <a:lnTo>
                  <a:pt x="4032059" y="2226691"/>
                </a:lnTo>
                <a:lnTo>
                  <a:pt x="4004983" y="2254224"/>
                </a:lnTo>
                <a:lnTo>
                  <a:pt x="3956304" y="2292197"/>
                </a:lnTo>
                <a:lnTo>
                  <a:pt x="3905377" y="2322436"/>
                </a:lnTo>
                <a:lnTo>
                  <a:pt x="3853142" y="2345715"/>
                </a:lnTo>
                <a:lnTo>
                  <a:pt x="3800525" y="2362822"/>
                </a:lnTo>
                <a:lnTo>
                  <a:pt x="3748468" y="2374569"/>
                </a:lnTo>
                <a:lnTo>
                  <a:pt x="3697922" y="2381707"/>
                </a:lnTo>
                <a:lnTo>
                  <a:pt x="3649802" y="2385060"/>
                </a:lnTo>
                <a:lnTo>
                  <a:pt x="3605072" y="2385403"/>
                </a:lnTo>
                <a:lnTo>
                  <a:pt x="3564661" y="2383523"/>
                </a:lnTo>
                <a:lnTo>
                  <a:pt x="3529507" y="2380221"/>
                </a:lnTo>
                <a:lnTo>
                  <a:pt x="3569081" y="2405126"/>
                </a:lnTo>
                <a:lnTo>
                  <a:pt x="3608247" y="2434031"/>
                </a:lnTo>
                <a:lnTo>
                  <a:pt x="3646703" y="2466797"/>
                </a:lnTo>
                <a:lnTo>
                  <a:pt x="3684143" y="2503284"/>
                </a:lnTo>
                <a:lnTo>
                  <a:pt x="3720249" y="2543352"/>
                </a:lnTo>
                <a:lnTo>
                  <a:pt x="3754742" y="2586888"/>
                </a:lnTo>
                <a:lnTo>
                  <a:pt x="3787317" y="2633738"/>
                </a:lnTo>
                <a:lnTo>
                  <a:pt x="3983418" y="2607856"/>
                </a:lnTo>
                <a:lnTo>
                  <a:pt x="4103928" y="2566911"/>
                </a:lnTo>
                <a:lnTo>
                  <a:pt x="4198480" y="2481846"/>
                </a:lnTo>
                <a:lnTo>
                  <a:pt x="4316679" y="2323579"/>
                </a:lnTo>
                <a:lnTo>
                  <a:pt x="4337837" y="2291003"/>
                </a:lnTo>
                <a:lnTo>
                  <a:pt x="4355554" y="2257158"/>
                </a:lnTo>
                <a:lnTo>
                  <a:pt x="4380674" y="2186406"/>
                </a:lnTo>
                <a:lnTo>
                  <a:pt x="4391952" y="2112797"/>
                </a:lnTo>
                <a:lnTo>
                  <a:pt x="4392396" y="2075383"/>
                </a:lnTo>
                <a:close/>
              </a:path>
              <a:path w="8400415" h="3736340">
                <a:moveTo>
                  <a:pt x="8399793" y="2987103"/>
                </a:moveTo>
                <a:lnTo>
                  <a:pt x="8398624" y="2942691"/>
                </a:lnTo>
                <a:lnTo>
                  <a:pt x="8392681" y="2898698"/>
                </a:lnTo>
                <a:lnTo>
                  <a:pt x="8381797" y="2855582"/>
                </a:lnTo>
                <a:lnTo>
                  <a:pt x="8365769" y="2813799"/>
                </a:lnTo>
                <a:lnTo>
                  <a:pt x="8344382" y="2773807"/>
                </a:lnTo>
                <a:lnTo>
                  <a:pt x="8317458" y="2736037"/>
                </a:lnTo>
                <a:lnTo>
                  <a:pt x="8284794" y="2700972"/>
                </a:lnTo>
                <a:lnTo>
                  <a:pt x="8212404" y="2690838"/>
                </a:lnTo>
                <a:lnTo>
                  <a:pt x="8171993" y="2686723"/>
                </a:lnTo>
                <a:lnTo>
                  <a:pt x="8085087" y="2684386"/>
                </a:lnTo>
                <a:lnTo>
                  <a:pt x="8033245" y="2688107"/>
                </a:lnTo>
                <a:lnTo>
                  <a:pt x="7982775" y="2695371"/>
                </a:lnTo>
                <a:lnTo>
                  <a:pt x="7933791" y="2705963"/>
                </a:lnTo>
                <a:lnTo>
                  <a:pt x="7968488" y="2741549"/>
                </a:lnTo>
                <a:lnTo>
                  <a:pt x="7995602" y="2779992"/>
                </a:lnTo>
                <a:lnTo>
                  <a:pt x="8015579" y="2820720"/>
                </a:lnTo>
                <a:lnTo>
                  <a:pt x="8028813" y="2863189"/>
                </a:lnTo>
                <a:lnTo>
                  <a:pt x="8035747" y="2906839"/>
                </a:lnTo>
                <a:lnTo>
                  <a:pt x="8036788" y="2951099"/>
                </a:lnTo>
                <a:lnTo>
                  <a:pt x="8032369" y="2995422"/>
                </a:lnTo>
                <a:lnTo>
                  <a:pt x="8022895" y="3039262"/>
                </a:lnTo>
                <a:lnTo>
                  <a:pt x="8008810" y="3082061"/>
                </a:lnTo>
                <a:lnTo>
                  <a:pt x="7990510" y="3123247"/>
                </a:lnTo>
                <a:lnTo>
                  <a:pt x="7970177" y="3158921"/>
                </a:lnTo>
                <a:lnTo>
                  <a:pt x="7946771" y="3191078"/>
                </a:lnTo>
                <a:lnTo>
                  <a:pt x="7920469" y="3219843"/>
                </a:lnTo>
                <a:lnTo>
                  <a:pt x="7891450" y="3245332"/>
                </a:lnTo>
                <a:lnTo>
                  <a:pt x="7859903" y="3267659"/>
                </a:lnTo>
                <a:lnTo>
                  <a:pt x="7826007" y="3286950"/>
                </a:lnTo>
                <a:lnTo>
                  <a:pt x="7789939" y="3303308"/>
                </a:lnTo>
                <a:lnTo>
                  <a:pt x="7751889" y="3316859"/>
                </a:lnTo>
                <a:lnTo>
                  <a:pt x="7712037" y="3327717"/>
                </a:lnTo>
                <a:lnTo>
                  <a:pt x="7670559" y="3336010"/>
                </a:lnTo>
                <a:lnTo>
                  <a:pt x="7627658" y="3341840"/>
                </a:lnTo>
                <a:lnTo>
                  <a:pt x="7583487" y="3345345"/>
                </a:lnTo>
                <a:lnTo>
                  <a:pt x="7538250" y="3346627"/>
                </a:lnTo>
                <a:lnTo>
                  <a:pt x="7492111" y="3345815"/>
                </a:lnTo>
                <a:lnTo>
                  <a:pt x="7445273" y="3343021"/>
                </a:lnTo>
                <a:lnTo>
                  <a:pt x="7397902" y="3338360"/>
                </a:lnTo>
                <a:lnTo>
                  <a:pt x="7350188" y="3331959"/>
                </a:lnTo>
                <a:lnTo>
                  <a:pt x="7302309" y="3323920"/>
                </a:lnTo>
                <a:lnTo>
                  <a:pt x="7254443" y="3314382"/>
                </a:lnTo>
                <a:lnTo>
                  <a:pt x="7206793" y="3303447"/>
                </a:lnTo>
                <a:lnTo>
                  <a:pt x="7159523" y="3291230"/>
                </a:lnTo>
                <a:lnTo>
                  <a:pt x="7112813" y="3277870"/>
                </a:lnTo>
                <a:lnTo>
                  <a:pt x="7066851" y="3263468"/>
                </a:lnTo>
                <a:lnTo>
                  <a:pt x="7021830" y="3248152"/>
                </a:lnTo>
                <a:lnTo>
                  <a:pt x="6977913" y="3232023"/>
                </a:lnTo>
                <a:lnTo>
                  <a:pt x="6935292" y="3215221"/>
                </a:lnTo>
                <a:lnTo>
                  <a:pt x="6894144" y="3197847"/>
                </a:lnTo>
                <a:lnTo>
                  <a:pt x="6854660" y="3180016"/>
                </a:lnTo>
                <a:lnTo>
                  <a:pt x="6817017" y="3161868"/>
                </a:lnTo>
                <a:lnTo>
                  <a:pt x="6781393" y="3143504"/>
                </a:lnTo>
                <a:lnTo>
                  <a:pt x="6747980" y="3125051"/>
                </a:lnTo>
                <a:lnTo>
                  <a:pt x="6688493" y="3088322"/>
                </a:lnTo>
                <a:lnTo>
                  <a:pt x="6645186" y="3058604"/>
                </a:lnTo>
                <a:lnTo>
                  <a:pt x="6602438" y="3028086"/>
                </a:lnTo>
                <a:lnTo>
                  <a:pt x="6560236" y="2996768"/>
                </a:lnTo>
                <a:lnTo>
                  <a:pt x="6518567" y="2964700"/>
                </a:lnTo>
                <a:lnTo>
                  <a:pt x="6477432" y="2931909"/>
                </a:lnTo>
                <a:lnTo>
                  <a:pt x="6436804" y="2898406"/>
                </a:lnTo>
                <a:lnTo>
                  <a:pt x="6396685" y="2864231"/>
                </a:lnTo>
                <a:lnTo>
                  <a:pt x="6357086" y="2829407"/>
                </a:lnTo>
                <a:lnTo>
                  <a:pt x="6317970" y="2793962"/>
                </a:lnTo>
                <a:lnTo>
                  <a:pt x="6279337" y="2757919"/>
                </a:lnTo>
                <a:lnTo>
                  <a:pt x="6241186" y="2721305"/>
                </a:lnTo>
                <a:lnTo>
                  <a:pt x="6203505" y="2684157"/>
                </a:lnTo>
                <a:lnTo>
                  <a:pt x="6166282" y="2646489"/>
                </a:lnTo>
                <a:lnTo>
                  <a:pt x="6129502" y="2608351"/>
                </a:lnTo>
                <a:lnTo>
                  <a:pt x="6093180" y="2569743"/>
                </a:lnTo>
                <a:lnTo>
                  <a:pt x="6057290" y="2530703"/>
                </a:lnTo>
                <a:lnTo>
                  <a:pt x="6021832" y="2491270"/>
                </a:lnTo>
                <a:lnTo>
                  <a:pt x="5986780" y="2451455"/>
                </a:lnTo>
                <a:lnTo>
                  <a:pt x="5952147" y="2411285"/>
                </a:lnTo>
                <a:lnTo>
                  <a:pt x="5917920" y="2370798"/>
                </a:lnTo>
                <a:lnTo>
                  <a:pt x="5884088" y="2330018"/>
                </a:lnTo>
                <a:lnTo>
                  <a:pt x="5850636" y="2288971"/>
                </a:lnTo>
                <a:lnTo>
                  <a:pt x="5817552" y="2247684"/>
                </a:lnTo>
                <a:lnTo>
                  <a:pt x="5784850" y="2206180"/>
                </a:lnTo>
                <a:lnTo>
                  <a:pt x="5752503" y="2164486"/>
                </a:lnTo>
                <a:lnTo>
                  <a:pt x="5720512" y="2122640"/>
                </a:lnTo>
                <a:lnTo>
                  <a:pt x="5688863" y="2080666"/>
                </a:lnTo>
                <a:lnTo>
                  <a:pt x="5657558" y="2038578"/>
                </a:lnTo>
                <a:lnTo>
                  <a:pt x="5626570" y="1996427"/>
                </a:lnTo>
                <a:lnTo>
                  <a:pt x="5595912" y="1954212"/>
                </a:lnTo>
                <a:lnTo>
                  <a:pt x="5535498" y="1869770"/>
                </a:lnTo>
                <a:lnTo>
                  <a:pt x="5476265" y="1785442"/>
                </a:lnTo>
                <a:lnTo>
                  <a:pt x="5418137" y="1701457"/>
                </a:lnTo>
                <a:lnTo>
                  <a:pt x="5304955" y="1535417"/>
                </a:lnTo>
                <a:lnTo>
                  <a:pt x="5141823" y="1294409"/>
                </a:lnTo>
                <a:lnTo>
                  <a:pt x="5062766" y="1179131"/>
                </a:lnTo>
                <a:lnTo>
                  <a:pt x="5010836" y="1104696"/>
                </a:lnTo>
                <a:lnTo>
                  <a:pt x="4959451" y="1032471"/>
                </a:lnTo>
                <a:lnTo>
                  <a:pt x="4933937" y="997254"/>
                </a:lnTo>
                <a:lnTo>
                  <a:pt x="4908537" y="962672"/>
                </a:lnTo>
                <a:lnTo>
                  <a:pt x="4883239" y="928738"/>
                </a:lnTo>
                <a:lnTo>
                  <a:pt x="4858029" y="895502"/>
                </a:lnTo>
                <a:lnTo>
                  <a:pt x="4832909" y="862965"/>
                </a:lnTo>
                <a:lnTo>
                  <a:pt x="4807864" y="831176"/>
                </a:lnTo>
                <a:lnTo>
                  <a:pt x="4782896" y="800163"/>
                </a:lnTo>
                <a:lnTo>
                  <a:pt x="4757979" y="769937"/>
                </a:lnTo>
                <a:lnTo>
                  <a:pt x="4733112" y="740537"/>
                </a:lnTo>
                <a:lnTo>
                  <a:pt x="4669752" y="669391"/>
                </a:lnTo>
                <a:lnTo>
                  <a:pt x="4630598" y="628269"/>
                </a:lnTo>
                <a:lnTo>
                  <a:pt x="4590859" y="588606"/>
                </a:lnTo>
                <a:lnTo>
                  <a:pt x="4550575" y="550392"/>
                </a:lnTo>
                <a:lnTo>
                  <a:pt x="4509757" y="513600"/>
                </a:lnTo>
                <a:lnTo>
                  <a:pt x="4468431" y="478218"/>
                </a:lnTo>
                <a:lnTo>
                  <a:pt x="4426623" y="444246"/>
                </a:lnTo>
                <a:lnTo>
                  <a:pt x="4384357" y="411657"/>
                </a:lnTo>
                <a:lnTo>
                  <a:pt x="4341660" y="380428"/>
                </a:lnTo>
                <a:lnTo>
                  <a:pt x="4298543" y="350558"/>
                </a:lnTo>
                <a:lnTo>
                  <a:pt x="4255059" y="322021"/>
                </a:lnTo>
                <a:lnTo>
                  <a:pt x="4211205" y="294817"/>
                </a:lnTo>
                <a:lnTo>
                  <a:pt x="4167022" y="268922"/>
                </a:lnTo>
                <a:lnTo>
                  <a:pt x="4122521" y="244322"/>
                </a:lnTo>
                <a:lnTo>
                  <a:pt x="4077741" y="220992"/>
                </a:lnTo>
                <a:lnTo>
                  <a:pt x="4032694" y="198932"/>
                </a:lnTo>
                <a:lnTo>
                  <a:pt x="3987406" y="178117"/>
                </a:lnTo>
                <a:lnTo>
                  <a:pt x="3941915" y="158546"/>
                </a:lnTo>
                <a:lnTo>
                  <a:pt x="3896233" y="140182"/>
                </a:lnTo>
                <a:lnTo>
                  <a:pt x="3850386" y="123024"/>
                </a:lnTo>
                <a:lnTo>
                  <a:pt x="3804399" y="107061"/>
                </a:lnTo>
                <a:lnTo>
                  <a:pt x="3758298" y="92265"/>
                </a:lnTo>
                <a:lnTo>
                  <a:pt x="3712108" y="78638"/>
                </a:lnTo>
                <a:lnTo>
                  <a:pt x="3665855" y="66154"/>
                </a:lnTo>
                <a:lnTo>
                  <a:pt x="3619563" y="54787"/>
                </a:lnTo>
                <a:lnTo>
                  <a:pt x="3573246" y="44538"/>
                </a:lnTo>
                <a:lnTo>
                  <a:pt x="3526955" y="35394"/>
                </a:lnTo>
                <a:lnTo>
                  <a:pt x="3480676" y="27330"/>
                </a:lnTo>
                <a:lnTo>
                  <a:pt x="3434461" y="20345"/>
                </a:lnTo>
                <a:lnTo>
                  <a:pt x="3388334" y="14401"/>
                </a:lnTo>
                <a:lnTo>
                  <a:pt x="3342309" y="9499"/>
                </a:lnTo>
                <a:lnTo>
                  <a:pt x="3296412" y="5626"/>
                </a:lnTo>
                <a:lnTo>
                  <a:pt x="3250666" y="2755"/>
                </a:lnTo>
                <a:lnTo>
                  <a:pt x="3205111" y="889"/>
                </a:lnTo>
                <a:lnTo>
                  <a:pt x="3159747" y="0"/>
                </a:lnTo>
                <a:lnTo>
                  <a:pt x="3114624" y="63"/>
                </a:lnTo>
                <a:lnTo>
                  <a:pt x="3069742" y="1092"/>
                </a:lnTo>
                <a:lnTo>
                  <a:pt x="3025152" y="3035"/>
                </a:lnTo>
                <a:lnTo>
                  <a:pt x="2980855" y="5918"/>
                </a:lnTo>
                <a:lnTo>
                  <a:pt x="2936887" y="9690"/>
                </a:lnTo>
                <a:lnTo>
                  <a:pt x="2893276" y="14363"/>
                </a:lnTo>
                <a:lnTo>
                  <a:pt x="2850032" y="19900"/>
                </a:lnTo>
                <a:lnTo>
                  <a:pt x="2807182" y="26301"/>
                </a:lnTo>
                <a:lnTo>
                  <a:pt x="2764777" y="33540"/>
                </a:lnTo>
                <a:lnTo>
                  <a:pt x="2722803" y="41617"/>
                </a:lnTo>
                <a:lnTo>
                  <a:pt x="2681313" y="50507"/>
                </a:lnTo>
                <a:lnTo>
                  <a:pt x="2640317" y="60198"/>
                </a:lnTo>
                <a:lnTo>
                  <a:pt x="2599842" y="70662"/>
                </a:lnTo>
                <a:lnTo>
                  <a:pt x="2559926" y="81915"/>
                </a:lnTo>
                <a:lnTo>
                  <a:pt x="2520569" y="93903"/>
                </a:lnTo>
                <a:lnTo>
                  <a:pt x="2481808" y="106641"/>
                </a:lnTo>
                <a:lnTo>
                  <a:pt x="2443670" y="120103"/>
                </a:lnTo>
                <a:lnTo>
                  <a:pt x="2406180" y="134264"/>
                </a:lnTo>
                <a:lnTo>
                  <a:pt x="2369362" y="149136"/>
                </a:lnTo>
                <a:lnTo>
                  <a:pt x="2333244" y="164668"/>
                </a:lnTo>
                <a:lnTo>
                  <a:pt x="2297836" y="180873"/>
                </a:lnTo>
                <a:lnTo>
                  <a:pt x="2263165" y="197739"/>
                </a:lnTo>
                <a:lnTo>
                  <a:pt x="2223020" y="218732"/>
                </a:lnTo>
                <a:lnTo>
                  <a:pt x="2183892" y="240906"/>
                </a:lnTo>
                <a:lnTo>
                  <a:pt x="2145779" y="264261"/>
                </a:lnTo>
                <a:lnTo>
                  <a:pt x="2108695" y="288747"/>
                </a:lnTo>
                <a:lnTo>
                  <a:pt x="2072601" y="314363"/>
                </a:lnTo>
                <a:lnTo>
                  <a:pt x="2037537" y="341058"/>
                </a:lnTo>
                <a:lnTo>
                  <a:pt x="2003463" y="368820"/>
                </a:lnTo>
                <a:lnTo>
                  <a:pt x="1970392" y="397624"/>
                </a:lnTo>
                <a:lnTo>
                  <a:pt x="1938312" y="427443"/>
                </a:lnTo>
                <a:lnTo>
                  <a:pt x="1907235" y="458254"/>
                </a:lnTo>
                <a:lnTo>
                  <a:pt x="1877148" y="490016"/>
                </a:lnTo>
                <a:lnTo>
                  <a:pt x="1848040" y="522732"/>
                </a:lnTo>
                <a:lnTo>
                  <a:pt x="1819922" y="556361"/>
                </a:lnTo>
                <a:lnTo>
                  <a:pt x="1792795" y="590867"/>
                </a:lnTo>
                <a:lnTo>
                  <a:pt x="1766633" y="626249"/>
                </a:lnTo>
                <a:lnTo>
                  <a:pt x="1741449" y="662457"/>
                </a:lnTo>
                <a:lnTo>
                  <a:pt x="1717230" y="699477"/>
                </a:lnTo>
                <a:lnTo>
                  <a:pt x="1693989" y="737298"/>
                </a:lnTo>
                <a:lnTo>
                  <a:pt x="1671701" y="775868"/>
                </a:lnTo>
                <a:lnTo>
                  <a:pt x="1650377" y="815174"/>
                </a:lnTo>
                <a:lnTo>
                  <a:pt x="1630006" y="855192"/>
                </a:lnTo>
                <a:lnTo>
                  <a:pt x="1610601" y="895896"/>
                </a:lnTo>
                <a:lnTo>
                  <a:pt x="1592135" y="937272"/>
                </a:lnTo>
                <a:lnTo>
                  <a:pt x="1574622" y="979271"/>
                </a:lnTo>
                <a:lnTo>
                  <a:pt x="1558061" y="1021880"/>
                </a:lnTo>
                <a:lnTo>
                  <a:pt x="1542427" y="1065072"/>
                </a:lnTo>
                <a:lnTo>
                  <a:pt x="1527733" y="1108824"/>
                </a:lnTo>
                <a:lnTo>
                  <a:pt x="1513979" y="1153109"/>
                </a:lnTo>
                <a:lnTo>
                  <a:pt x="1501152" y="1197914"/>
                </a:lnTo>
                <a:lnTo>
                  <a:pt x="1489252" y="1243190"/>
                </a:lnTo>
                <a:lnTo>
                  <a:pt x="1478267" y="1288923"/>
                </a:lnTo>
                <a:lnTo>
                  <a:pt x="1468221" y="1335100"/>
                </a:lnTo>
                <a:lnTo>
                  <a:pt x="1459077" y="1381671"/>
                </a:lnTo>
                <a:lnTo>
                  <a:pt x="1450848" y="1428623"/>
                </a:lnTo>
                <a:lnTo>
                  <a:pt x="1443532" y="1475943"/>
                </a:lnTo>
                <a:lnTo>
                  <a:pt x="1437132" y="1523580"/>
                </a:lnTo>
                <a:lnTo>
                  <a:pt x="1431632" y="1571536"/>
                </a:lnTo>
                <a:lnTo>
                  <a:pt x="1427022" y="1619770"/>
                </a:lnTo>
                <a:lnTo>
                  <a:pt x="1423314" y="1668246"/>
                </a:lnTo>
                <a:lnTo>
                  <a:pt x="1420507" y="1716963"/>
                </a:lnTo>
                <a:lnTo>
                  <a:pt x="1418590" y="1765884"/>
                </a:lnTo>
                <a:lnTo>
                  <a:pt x="1417548" y="1814982"/>
                </a:lnTo>
                <a:lnTo>
                  <a:pt x="1417396" y="1864245"/>
                </a:lnTo>
                <a:lnTo>
                  <a:pt x="1418132" y="1913623"/>
                </a:lnTo>
                <a:lnTo>
                  <a:pt x="1419733" y="1963102"/>
                </a:lnTo>
                <a:lnTo>
                  <a:pt x="1422209" y="2012670"/>
                </a:lnTo>
                <a:lnTo>
                  <a:pt x="1425562" y="2062276"/>
                </a:lnTo>
                <a:lnTo>
                  <a:pt x="1429778" y="2111921"/>
                </a:lnTo>
                <a:lnTo>
                  <a:pt x="1434858" y="2161565"/>
                </a:lnTo>
                <a:lnTo>
                  <a:pt x="1440802" y="2211184"/>
                </a:lnTo>
                <a:lnTo>
                  <a:pt x="1447596" y="2260765"/>
                </a:lnTo>
                <a:lnTo>
                  <a:pt x="1455254" y="2310257"/>
                </a:lnTo>
                <a:lnTo>
                  <a:pt x="1463751" y="2359660"/>
                </a:lnTo>
                <a:lnTo>
                  <a:pt x="1473111" y="2408923"/>
                </a:lnTo>
                <a:lnTo>
                  <a:pt x="1483296" y="2458047"/>
                </a:lnTo>
                <a:lnTo>
                  <a:pt x="1494332" y="2506992"/>
                </a:lnTo>
                <a:lnTo>
                  <a:pt x="1506194" y="2555748"/>
                </a:lnTo>
                <a:lnTo>
                  <a:pt x="1518907" y="2604262"/>
                </a:lnTo>
                <a:lnTo>
                  <a:pt x="1532432" y="2652534"/>
                </a:lnTo>
                <a:lnTo>
                  <a:pt x="1546796" y="2700528"/>
                </a:lnTo>
                <a:lnTo>
                  <a:pt x="1511693" y="2688031"/>
                </a:lnTo>
                <a:lnTo>
                  <a:pt x="1445272" y="2652966"/>
                </a:lnTo>
                <a:lnTo>
                  <a:pt x="1414005" y="2630703"/>
                </a:lnTo>
                <a:lnTo>
                  <a:pt x="1384071" y="2605494"/>
                </a:lnTo>
                <a:lnTo>
                  <a:pt x="1355471" y="2577515"/>
                </a:lnTo>
                <a:lnTo>
                  <a:pt x="1328254" y="2546934"/>
                </a:lnTo>
                <a:lnTo>
                  <a:pt x="1302423" y="2513888"/>
                </a:lnTo>
                <a:lnTo>
                  <a:pt x="1278001" y="2478570"/>
                </a:lnTo>
                <a:lnTo>
                  <a:pt x="1255026" y="2441105"/>
                </a:lnTo>
                <a:lnTo>
                  <a:pt x="1233500" y="2401684"/>
                </a:lnTo>
                <a:lnTo>
                  <a:pt x="1213459" y="2360460"/>
                </a:lnTo>
                <a:lnTo>
                  <a:pt x="1194917" y="2317585"/>
                </a:lnTo>
                <a:lnTo>
                  <a:pt x="1177899" y="2273236"/>
                </a:lnTo>
                <a:lnTo>
                  <a:pt x="1162431" y="2227567"/>
                </a:lnTo>
                <a:lnTo>
                  <a:pt x="1148524" y="2180729"/>
                </a:lnTo>
                <a:lnTo>
                  <a:pt x="1136205" y="2132901"/>
                </a:lnTo>
                <a:lnTo>
                  <a:pt x="1125512" y="2084247"/>
                </a:lnTo>
                <a:lnTo>
                  <a:pt x="1116444" y="2034908"/>
                </a:lnTo>
                <a:lnTo>
                  <a:pt x="1109027" y="1985073"/>
                </a:lnTo>
                <a:lnTo>
                  <a:pt x="1103299" y="1934870"/>
                </a:lnTo>
                <a:lnTo>
                  <a:pt x="1099261" y="1884489"/>
                </a:lnTo>
                <a:lnTo>
                  <a:pt x="1096949" y="1834083"/>
                </a:lnTo>
                <a:lnTo>
                  <a:pt x="1096391" y="1783803"/>
                </a:lnTo>
                <a:lnTo>
                  <a:pt x="1097584" y="1733829"/>
                </a:lnTo>
                <a:lnTo>
                  <a:pt x="1100582" y="1684312"/>
                </a:lnTo>
                <a:lnTo>
                  <a:pt x="1105382" y="1635417"/>
                </a:lnTo>
                <a:lnTo>
                  <a:pt x="1112012" y="1587296"/>
                </a:lnTo>
                <a:lnTo>
                  <a:pt x="1120495" y="1540129"/>
                </a:lnTo>
                <a:lnTo>
                  <a:pt x="1130871" y="1494053"/>
                </a:lnTo>
                <a:lnTo>
                  <a:pt x="1143127" y="1449260"/>
                </a:lnTo>
                <a:lnTo>
                  <a:pt x="1157312" y="1405890"/>
                </a:lnTo>
                <a:lnTo>
                  <a:pt x="1173441" y="1364107"/>
                </a:lnTo>
                <a:lnTo>
                  <a:pt x="1146327" y="1372616"/>
                </a:lnTo>
                <a:lnTo>
                  <a:pt x="1091044" y="1388084"/>
                </a:lnTo>
                <a:lnTo>
                  <a:pt x="1010666" y="1406055"/>
                </a:lnTo>
                <a:lnTo>
                  <a:pt x="958596" y="1414830"/>
                </a:lnTo>
                <a:lnTo>
                  <a:pt x="906754" y="1421422"/>
                </a:lnTo>
                <a:lnTo>
                  <a:pt x="855218" y="1425841"/>
                </a:lnTo>
                <a:lnTo>
                  <a:pt x="804062" y="1428153"/>
                </a:lnTo>
                <a:lnTo>
                  <a:pt x="753364" y="1428369"/>
                </a:lnTo>
                <a:lnTo>
                  <a:pt x="703186" y="1426540"/>
                </a:lnTo>
                <a:lnTo>
                  <a:pt x="653605" y="1422692"/>
                </a:lnTo>
                <a:lnTo>
                  <a:pt x="604685" y="1416862"/>
                </a:lnTo>
                <a:lnTo>
                  <a:pt x="556526" y="1409103"/>
                </a:lnTo>
                <a:lnTo>
                  <a:pt x="509168" y="1399425"/>
                </a:lnTo>
                <a:lnTo>
                  <a:pt x="462711" y="1387881"/>
                </a:lnTo>
                <a:lnTo>
                  <a:pt x="417220" y="1374508"/>
                </a:lnTo>
                <a:lnTo>
                  <a:pt x="372757" y="1359331"/>
                </a:lnTo>
                <a:lnTo>
                  <a:pt x="329412" y="1342390"/>
                </a:lnTo>
                <a:lnTo>
                  <a:pt x="287248" y="1323721"/>
                </a:lnTo>
                <a:lnTo>
                  <a:pt x="246341" y="1303362"/>
                </a:lnTo>
                <a:lnTo>
                  <a:pt x="206756" y="1281353"/>
                </a:lnTo>
                <a:lnTo>
                  <a:pt x="168592" y="1257719"/>
                </a:lnTo>
                <a:lnTo>
                  <a:pt x="131889" y="1232496"/>
                </a:lnTo>
                <a:lnTo>
                  <a:pt x="96748" y="1205738"/>
                </a:lnTo>
                <a:lnTo>
                  <a:pt x="63220" y="1177455"/>
                </a:lnTo>
                <a:lnTo>
                  <a:pt x="31394" y="1147711"/>
                </a:lnTo>
                <a:lnTo>
                  <a:pt x="1333" y="1116520"/>
                </a:lnTo>
                <a:lnTo>
                  <a:pt x="0" y="1121333"/>
                </a:lnTo>
                <a:lnTo>
                  <a:pt x="23418" y="1174991"/>
                </a:lnTo>
                <a:lnTo>
                  <a:pt x="46037" y="1217637"/>
                </a:lnTo>
                <a:lnTo>
                  <a:pt x="70675" y="1258519"/>
                </a:lnTo>
                <a:lnTo>
                  <a:pt x="97320" y="1297559"/>
                </a:lnTo>
                <a:lnTo>
                  <a:pt x="125945" y="1334731"/>
                </a:lnTo>
                <a:lnTo>
                  <a:pt x="156540" y="1369974"/>
                </a:lnTo>
                <a:lnTo>
                  <a:pt x="189077" y="1403235"/>
                </a:lnTo>
                <a:lnTo>
                  <a:pt x="223545" y="1434439"/>
                </a:lnTo>
                <a:lnTo>
                  <a:pt x="259930" y="1463560"/>
                </a:lnTo>
                <a:lnTo>
                  <a:pt x="298221" y="1490535"/>
                </a:lnTo>
                <a:lnTo>
                  <a:pt x="338378" y="1515313"/>
                </a:lnTo>
                <a:lnTo>
                  <a:pt x="380403" y="1537830"/>
                </a:lnTo>
                <a:lnTo>
                  <a:pt x="424268" y="1558036"/>
                </a:lnTo>
                <a:lnTo>
                  <a:pt x="469950" y="1575892"/>
                </a:lnTo>
                <a:lnTo>
                  <a:pt x="517448" y="1591322"/>
                </a:lnTo>
                <a:lnTo>
                  <a:pt x="566750" y="1604289"/>
                </a:lnTo>
                <a:lnTo>
                  <a:pt x="617804" y="1614728"/>
                </a:lnTo>
                <a:lnTo>
                  <a:pt x="670636" y="1622590"/>
                </a:lnTo>
                <a:lnTo>
                  <a:pt x="725195" y="1627835"/>
                </a:lnTo>
                <a:lnTo>
                  <a:pt x="781469" y="1630387"/>
                </a:lnTo>
                <a:lnTo>
                  <a:pt x="780707" y="1697189"/>
                </a:lnTo>
                <a:lnTo>
                  <a:pt x="781672" y="1761921"/>
                </a:lnTo>
                <a:lnTo>
                  <a:pt x="784313" y="1824621"/>
                </a:lnTo>
                <a:lnTo>
                  <a:pt x="788593" y="1885302"/>
                </a:lnTo>
                <a:lnTo>
                  <a:pt x="794499" y="1943976"/>
                </a:lnTo>
                <a:lnTo>
                  <a:pt x="801954" y="2000681"/>
                </a:lnTo>
                <a:lnTo>
                  <a:pt x="810958" y="2055431"/>
                </a:lnTo>
                <a:lnTo>
                  <a:pt x="821448" y="2108263"/>
                </a:lnTo>
                <a:lnTo>
                  <a:pt x="833412" y="2159177"/>
                </a:lnTo>
                <a:lnTo>
                  <a:pt x="846785" y="2208212"/>
                </a:lnTo>
                <a:lnTo>
                  <a:pt x="861555" y="2255380"/>
                </a:lnTo>
                <a:lnTo>
                  <a:pt x="877671" y="2300706"/>
                </a:lnTo>
                <a:lnTo>
                  <a:pt x="895096" y="2344216"/>
                </a:lnTo>
                <a:lnTo>
                  <a:pt x="913803" y="2385936"/>
                </a:lnTo>
                <a:lnTo>
                  <a:pt x="933742" y="2425877"/>
                </a:lnTo>
                <a:lnTo>
                  <a:pt x="954900" y="2464079"/>
                </a:lnTo>
                <a:lnTo>
                  <a:pt x="977201" y="2500553"/>
                </a:lnTo>
                <a:lnTo>
                  <a:pt x="1000645" y="2535313"/>
                </a:lnTo>
                <a:lnTo>
                  <a:pt x="1025182" y="2568397"/>
                </a:lnTo>
                <a:lnTo>
                  <a:pt x="1050759" y="2599817"/>
                </a:lnTo>
                <a:lnTo>
                  <a:pt x="1077366" y="2629598"/>
                </a:lnTo>
                <a:lnTo>
                  <a:pt x="1104950" y="2657767"/>
                </a:lnTo>
                <a:lnTo>
                  <a:pt x="1133475" y="2684348"/>
                </a:lnTo>
                <a:lnTo>
                  <a:pt x="1162913" y="2709354"/>
                </a:lnTo>
                <a:lnTo>
                  <a:pt x="1193228" y="2732811"/>
                </a:lnTo>
                <a:lnTo>
                  <a:pt x="1256296" y="2775178"/>
                </a:lnTo>
                <a:lnTo>
                  <a:pt x="1322412" y="2811615"/>
                </a:lnTo>
                <a:lnTo>
                  <a:pt x="1391272" y="2842323"/>
                </a:lnTo>
                <a:lnTo>
                  <a:pt x="1462582" y="2867469"/>
                </a:lnTo>
                <a:lnTo>
                  <a:pt x="1536052" y="2887230"/>
                </a:lnTo>
                <a:lnTo>
                  <a:pt x="1573491" y="2895142"/>
                </a:lnTo>
                <a:lnTo>
                  <a:pt x="1611376" y="2901785"/>
                </a:lnTo>
                <a:lnTo>
                  <a:pt x="1649641" y="2907169"/>
                </a:lnTo>
                <a:lnTo>
                  <a:pt x="1688261" y="2911322"/>
                </a:lnTo>
                <a:lnTo>
                  <a:pt x="1727200" y="2914269"/>
                </a:lnTo>
                <a:lnTo>
                  <a:pt x="1766417" y="2916021"/>
                </a:lnTo>
                <a:lnTo>
                  <a:pt x="1805876" y="2916605"/>
                </a:lnTo>
                <a:lnTo>
                  <a:pt x="1845551" y="2916059"/>
                </a:lnTo>
                <a:lnTo>
                  <a:pt x="1885391" y="2914383"/>
                </a:lnTo>
                <a:lnTo>
                  <a:pt x="1925358" y="2911614"/>
                </a:lnTo>
                <a:lnTo>
                  <a:pt x="1906905" y="2874695"/>
                </a:lnTo>
                <a:lnTo>
                  <a:pt x="1889518" y="2835833"/>
                </a:lnTo>
                <a:lnTo>
                  <a:pt x="1873199" y="2795155"/>
                </a:lnTo>
                <a:lnTo>
                  <a:pt x="1857921" y="2752801"/>
                </a:lnTo>
                <a:lnTo>
                  <a:pt x="1843709" y="2708872"/>
                </a:lnTo>
                <a:lnTo>
                  <a:pt x="1830527" y="2663507"/>
                </a:lnTo>
                <a:lnTo>
                  <a:pt x="1818373" y="2616835"/>
                </a:lnTo>
                <a:lnTo>
                  <a:pt x="1807248" y="2568981"/>
                </a:lnTo>
                <a:lnTo>
                  <a:pt x="1797138" y="2520061"/>
                </a:lnTo>
                <a:lnTo>
                  <a:pt x="1788045" y="2470213"/>
                </a:lnTo>
                <a:lnTo>
                  <a:pt x="1779955" y="2419566"/>
                </a:lnTo>
                <a:lnTo>
                  <a:pt x="1772856" y="2368232"/>
                </a:lnTo>
                <a:lnTo>
                  <a:pt x="1766747" y="2316340"/>
                </a:lnTo>
                <a:lnTo>
                  <a:pt x="1761617" y="2264029"/>
                </a:lnTo>
                <a:lnTo>
                  <a:pt x="1757451" y="2211400"/>
                </a:lnTo>
                <a:lnTo>
                  <a:pt x="1754263" y="2158606"/>
                </a:lnTo>
                <a:lnTo>
                  <a:pt x="1752028" y="2105761"/>
                </a:lnTo>
                <a:lnTo>
                  <a:pt x="1750745" y="2052993"/>
                </a:lnTo>
                <a:lnTo>
                  <a:pt x="1750402" y="2000427"/>
                </a:lnTo>
                <a:lnTo>
                  <a:pt x="1750999" y="1948192"/>
                </a:lnTo>
                <a:lnTo>
                  <a:pt x="1752511" y="1896414"/>
                </a:lnTo>
                <a:lnTo>
                  <a:pt x="1754962" y="1845208"/>
                </a:lnTo>
                <a:lnTo>
                  <a:pt x="1758315" y="1794713"/>
                </a:lnTo>
                <a:lnTo>
                  <a:pt x="1762569" y="1745056"/>
                </a:lnTo>
                <a:lnTo>
                  <a:pt x="1767738" y="1696351"/>
                </a:lnTo>
                <a:lnTo>
                  <a:pt x="1773783" y="1648739"/>
                </a:lnTo>
                <a:lnTo>
                  <a:pt x="1781632" y="1599196"/>
                </a:lnTo>
                <a:lnTo>
                  <a:pt x="1792452" y="1544281"/>
                </a:lnTo>
                <a:lnTo>
                  <a:pt x="1806448" y="1484617"/>
                </a:lnTo>
                <a:lnTo>
                  <a:pt x="1823758" y="1420850"/>
                </a:lnTo>
                <a:lnTo>
                  <a:pt x="1844598" y="1353591"/>
                </a:lnTo>
                <a:lnTo>
                  <a:pt x="1869109" y="1283500"/>
                </a:lnTo>
                <a:lnTo>
                  <a:pt x="1882800" y="1247584"/>
                </a:lnTo>
                <a:lnTo>
                  <a:pt x="1897468" y="1211199"/>
                </a:lnTo>
                <a:lnTo>
                  <a:pt x="1913166" y="1174407"/>
                </a:lnTo>
                <a:lnTo>
                  <a:pt x="1929879" y="1137310"/>
                </a:lnTo>
                <a:lnTo>
                  <a:pt x="1947646" y="1099985"/>
                </a:lnTo>
                <a:lnTo>
                  <a:pt x="1966480" y="1062494"/>
                </a:lnTo>
                <a:lnTo>
                  <a:pt x="1986419" y="1024928"/>
                </a:lnTo>
                <a:lnTo>
                  <a:pt x="2007476" y="987361"/>
                </a:lnTo>
                <a:lnTo>
                  <a:pt x="2029675" y="949883"/>
                </a:lnTo>
                <a:lnTo>
                  <a:pt x="2053018" y="912571"/>
                </a:lnTo>
                <a:lnTo>
                  <a:pt x="2077554" y="875487"/>
                </a:lnTo>
                <a:lnTo>
                  <a:pt x="2103297" y="838720"/>
                </a:lnTo>
                <a:lnTo>
                  <a:pt x="2130272" y="802360"/>
                </a:lnTo>
                <a:lnTo>
                  <a:pt x="2158479" y="766483"/>
                </a:lnTo>
                <a:lnTo>
                  <a:pt x="2187968" y="731151"/>
                </a:lnTo>
                <a:lnTo>
                  <a:pt x="2218740" y="696468"/>
                </a:lnTo>
                <a:lnTo>
                  <a:pt x="2250833" y="662495"/>
                </a:lnTo>
                <a:lnTo>
                  <a:pt x="2284260" y="629310"/>
                </a:lnTo>
                <a:lnTo>
                  <a:pt x="2319045" y="597014"/>
                </a:lnTo>
                <a:lnTo>
                  <a:pt x="2355202" y="565658"/>
                </a:lnTo>
                <a:lnTo>
                  <a:pt x="2392769" y="535343"/>
                </a:lnTo>
                <a:lnTo>
                  <a:pt x="2431758" y="506133"/>
                </a:lnTo>
                <a:lnTo>
                  <a:pt x="2472182" y="478116"/>
                </a:lnTo>
                <a:lnTo>
                  <a:pt x="2514079" y="451370"/>
                </a:lnTo>
                <a:lnTo>
                  <a:pt x="2557462" y="425983"/>
                </a:lnTo>
                <a:lnTo>
                  <a:pt x="2602357" y="402018"/>
                </a:lnTo>
                <a:lnTo>
                  <a:pt x="2648788" y="379564"/>
                </a:lnTo>
                <a:lnTo>
                  <a:pt x="2696768" y="358686"/>
                </a:lnTo>
                <a:lnTo>
                  <a:pt x="2746311" y="339483"/>
                </a:lnTo>
                <a:lnTo>
                  <a:pt x="2797467" y="322033"/>
                </a:lnTo>
                <a:lnTo>
                  <a:pt x="2850235" y="306400"/>
                </a:lnTo>
                <a:lnTo>
                  <a:pt x="2904655" y="292671"/>
                </a:lnTo>
                <a:lnTo>
                  <a:pt x="2960725" y="280936"/>
                </a:lnTo>
                <a:lnTo>
                  <a:pt x="3018485" y="271259"/>
                </a:lnTo>
                <a:lnTo>
                  <a:pt x="3077946" y="263715"/>
                </a:lnTo>
                <a:lnTo>
                  <a:pt x="3139148" y="258406"/>
                </a:lnTo>
                <a:lnTo>
                  <a:pt x="3202089" y="255397"/>
                </a:lnTo>
                <a:lnTo>
                  <a:pt x="3257181" y="254685"/>
                </a:lnTo>
                <a:lnTo>
                  <a:pt x="3311017" y="255765"/>
                </a:lnTo>
                <a:lnTo>
                  <a:pt x="3363607" y="258597"/>
                </a:lnTo>
                <a:lnTo>
                  <a:pt x="3414992" y="263144"/>
                </a:lnTo>
                <a:lnTo>
                  <a:pt x="3465195" y="269354"/>
                </a:lnTo>
                <a:lnTo>
                  <a:pt x="3514255" y="277190"/>
                </a:lnTo>
                <a:lnTo>
                  <a:pt x="3562197" y="286600"/>
                </a:lnTo>
                <a:lnTo>
                  <a:pt x="3609035" y="297548"/>
                </a:lnTo>
                <a:lnTo>
                  <a:pt x="3654806" y="309994"/>
                </a:lnTo>
                <a:lnTo>
                  <a:pt x="3699548" y="323875"/>
                </a:lnTo>
                <a:lnTo>
                  <a:pt x="3743274" y="339166"/>
                </a:lnTo>
                <a:lnTo>
                  <a:pt x="3786009" y="355815"/>
                </a:lnTo>
                <a:lnTo>
                  <a:pt x="3827805" y="373773"/>
                </a:lnTo>
                <a:lnTo>
                  <a:pt x="3868674" y="393014"/>
                </a:lnTo>
                <a:lnTo>
                  <a:pt x="3908641" y="413486"/>
                </a:lnTo>
                <a:lnTo>
                  <a:pt x="3947731" y="435127"/>
                </a:lnTo>
                <a:lnTo>
                  <a:pt x="3985984" y="457923"/>
                </a:lnTo>
                <a:lnTo>
                  <a:pt x="4023423" y="481812"/>
                </a:lnTo>
                <a:lnTo>
                  <a:pt x="4060088" y="506755"/>
                </a:lnTo>
                <a:lnTo>
                  <a:pt x="4095978" y="532714"/>
                </a:lnTo>
                <a:lnTo>
                  <a:pt x="4131157" y="559625"/>
                </a:lnTo>
                <a:lnTo>
                  <a:pt x="4165625" y="587476"/>
                </a:lnTo>
                <a:lnTo>
                  <a:pt x="4199420" y="616191"/>
                </a:lnTo>
                <a:lnTo>
                  <a:pt x="4232567" y="645756"/>
                </a:lnTo>
                <a:lnTo>
                  <a:pt x="4265104" y="676097"/>
                </a:lnTo>
                <a:lnTo>
                  <a:pt x="4297045" y="707199"/>
                </a:lnTo>
                <a:lnTo>
                  <a:pt x="4328426" y="739000"/>
                </a:lnTo>
                <a:lnTo>
                  <a:pt x="4359287" y="771461"/>
                </a:lnTo>
                <a:lnTo>
                  <a:pt x="4389628" y="804545"/>
                </a:lnTo>
                <a:lnTo>
                  <a:pt x="4419498" y="838187"/>
                </a:lnTo>
                <a:lnTo>
                  <a:pt x="4448924" y="872375"/>
                </a:lnTo>
                <a:lnTo>
                  <a:pt x="4477931" y="907034"/>
                </a:lnTo>
                <a:lnTo>
                  <a:pt x="4506531" y="942149"/>
                </a:lnTo>
                <a:lnTo>
                  <a:pt x="4534776" y="977646"/>
                </a:lnTo>
                <a:lnTo>
                  <a:pt x="4562691" y="1013510"/>
                </a:lnTo>
                <a:lnTo>
                  <a:pt x="4590288" y="1049680"/>
                </a:lnTo>
                <a:lnTo>
                  <a:pt x="4617618" y="1086116"/>
                </a:lnTo>
                <a:lnTo>
                  <a:pt x="4644682" y="1122781"/>
                </a:lnTo>
                <a:lnTo>
                  <a:pt x="4698187" y="1196606"/>
                </a:lnTo>
                <a:lnTo>
                  <a:pt x="4881638" y="1455585"/>
                </a:lnTo>
                <a:lnTo>
                  <a:pt x="4933886" y="1528318"/>
                </a:lnTo>
                <a:lnTo>
                  <a:pt x="4960124" y="1564246"/>
                </a:lnTo>
                <a:lnTo>
                  <a:pt x="4986490" y="1599831"/>
                </a:lnTo>
                <a:lnTo>
                  <a:pt x="5012982" y="1635036"/>
                </a:lnTo>
                <a:lnTo>
                  <a:pt x="5039652" y="1669808"/>
                </a:lnTo>
                <a:lnTo>
                  <a:pt x="5221046" y="1899818"/>
                </a:lnTo>
                <a:lnTo>
                  <a:pt x="5305412" y="2005507"/>
                </a:lnTo>
                <a:lnTo>
                  <a:pt x="5364213" y="2078113"/>
                </a:lnTo>
                <a:lnTo>
                  <a:pt x="5425021" y="2152040"/>
                </a:lnTo>
                <a:lnTo>
                  <a:pt x="5487784" y="2226983"/>
                </a:lnTo>
                <a:lnTo>
                  <a:pt x="5519902" y="2264727"/>
                </a:lnTo>
                <a:lnTo>
                  <a:pt x="5552491" y="2302586"/>
                </a:lnTo>
                <a:lnTo>
                  <a:pt x="5585561" y="2340546"/>
                </a:lnTo>
                <a:lnTo>
                  <a:pt x="5619089" y="2378545"/>
                </a:lnTo>
                <a:lnTo>
                  <a:pt x="5653100" y="2416556"/>
                </a:lnTo>
                <a:lnTo>
                  <a:pt x="5687555" y="2454529"/>
                </a:lnTo>
                <a:lnTo>
                  <a:pt x="5722480" y="2492425"/>
                </a:lnTo>
                <a:lnTo>
                  <a:pt x="5757850" y="2530195"/>
                </a:lnTo>
                <a:lnTo>
                  <a:pt x="5793676" y="2567813"/>
                </a:lnTo>
                <a:lnTo>
                  <a:pt x="5829947" y="2605227"/>
                </a:lnTo>
                <a:lnTo>
                  <a:pt x="5866650" y="2642400"/>
                </a:lnTo>
                <a:lnTo>
                  <a:pt x="5903798" y="2679293"/>
                </a:lnTo>
                <a:lnTo>
                  <a:pt x="5941377" y="2715857"/>
                </a:lnTo>
                <a:lnTo>
                  <a:pt x="5979376" y="2752052"/>
                </a:lnTo>
                <a:lnTo>
                  <a:pt x="6017806" y="2787853"/>
                </a:lnTo>
                <a:lnTo>
                  <a:pt x="6056655" y="2823197"/>
                </a:lnTo>
                <a:lnTo>
                  <a:pt x="6095911" y="2858058"/>
                </a:lnTo>
                <a:lnTo>
                  <a:pt x="6135573" y="2892399"/>
                </a:lnTo>
                <a:lnTo>
                  <a:pt x="6175654" y="2926156"/>
                </a:lnTo>
                <a:lnTo>
                  <a:pt x="6216129" y="2959316"/>
                </a:lnTo>
                <a:lnTo>
                  <a:pt x="6256998" y="2991815"/>
                </a:lnTo>
                <a:lnTo>
                  <a:pt x="6298273" y="3023616"/>
                </a:lnTo>
                <a:lnTo>
                  <a:pt x="6339929" y="3054693"/>
                </a:lnTo>
                <a:lnTo>
                  <a:pt x="6381966" y="3084982"/>
                </a:lnTo>
                <a:lnTo>
                  <a:pt x="6424384" y="3114471"/>
                </a:lnTo>
                <a:lnTo>
                  <a:pt x="6467183" y="3143097"/>
                </a:lnTo>
                <a:lnTo>
                  <a:pt x="6510350" y="3170821"/>
                </a:lnTo>
                <a:lnTo>
                  <a:pt x="6553873" y="3197606"/>
                </a:lnTo>
                <a:lnTo>
                  <a:pt x="6597777" y="3223412"/>
                </a:lnTo>
                <a:lnTo>
                  <a:pt x="6642024" y="3248190"/>
                </a:lnTo>
                <a:lnTo>
                  <a:pt x="6686639" y="3271913"/>
                </a:lnTo>
                <a:lnTo>
                  <a:pt x="6731597" y="3294532"/>
                </a:lnTo>
                <a:lnTo>
                  <a:pt x="6776898" y="3316008"/>
                </a:lnTo>
                <a:lnTo>
                  <a:pt x="6822541" y="3336302"/>
                </a:lnTo>
                <a:lnTo>
                  <a:pt x="6868528" y="3355365"/>
                </a:lnTo>
                <a:lnTo>
                  <a:pt x="6914832" y="3373158"/>
                </a:lnTo>
                <a:lnTo>
                  <a:pt x="6961479" y="3389642"/>
                </a:lnTo>
                <a:lnTo>
                  <a:pt x="7005510" y="3403803"/>
                </a:lnTo>
                <a:lnTo>
                  <a:pt x="7050710" y="3417100"/>
                </a:lnTo>
                <a:lnTo>
                  <a:pt x="7096963" y="3429508"/>
                </a:lnTo>
                <a:lnTo>
                  <a:pt x="7144156" y="3440963"/>
                </a:lnTo>
                <a:lnTo>
                  <a:pt x="7192188" y="3451415"/>
                </a:lnTo>
                <a:lnTo>
                  <a:pt x="7240930" y="3460826"/>
                </a:lnTo>
                <a:lnTo>
                  <a:pt x="7290270" y="3469144"/>
                </a:lnTo>
                <a:lnTo>
                  <a:pt x="7340117" y="3476320"/>
                </a:lnTo>
                <a:lnTo>
                  <a:pt x="7390333" y="3482289"/>
                </a:lnTo>
                <a:lnTo>
                  <a:pt x="7440828" y="3487039"/>
                </a:lnTo>
                <a:lnTo>
                  <a:pt x="7491463" y="3490493"/>
                </a:lnTo>
                <a:lnTo>
                  <a:pt x="7542162" y="3492601"/>
                </a:lnTo>
                <a:lnTo>
                  <a:pt x="7592784" y="3493338"/>
                </a:lnTo>
                <a:lnTo>
                  <a:pt x="7643215" y="3492639"/>
                </a:lnTo>
                <a:lnTo>
                  <a:pt x="7693368" y="3490455"/>
                </a:lnTo>
                <a:lnTo>
                  <a:pt x="7743114" y="3486747"/>
                </a:lnTo>
                <a:lnTo>
                  <a:pt x="7792339" y="3481463"/>
                </a:lnTo>
                <a:lnTo>
                  <a:pt x="7840942" y="3474555"/>
                </a:lnTo>
                <a:lnTo>
                  <a:pt x="7888795" y="3465969"/>
                </a:lnTo>
                <a:lnTo>
                  <a:pt x="7935798" y="3455657"/>
                </a:lnTo>
                <a:lnTo>
                  <a:pt x="7981836" y="3443579"/>
                </a:lnTo>
                <a:lnTo>
                  <a:pt x="8026794" y="3429685"/>
                </a:lnTo>
                <a:lnTo>
                  <a:pt x="8070558" y="3413912"/>
                </a:lnTo>
                <a:lnTo>
                  <a:pt x="8113027" y="3396234"/>
                </a:lnTo>
                <a:lnTo>
                  <a:pt x="8154073" y="3376599"/>
                </a:lnTo>
                <a:lnTo>
                  <a:pt x="8193595" y="3354946"/>
                </a:lnTo>
                <a:lnTo>
                  <a:pt x="8229092" y="3331197"/>
                </a:lnTo>
                <a:lnTo>
                  <a:pt x="8261807" y="3303359"/>
                </a:lnTo>
                <a:lnTo>
                  <a:pt x="8291538" y="3271850"/>
                </a:lnTo>
                <a:lnTo>
                  <a:pt x="8318106" y="3237153"/>
                </a:lnTo>
                <a:lnTo>
                  <a:pt x="8341309" y="3199701"/>
                </a:lnTo>
                <a:lnTo>
                  <a:pt x="8360931" y="3159963"/>
                </a:lnTo>
                <a:lnTo>
                  <a:pt x="8376793" y="3118370"/>
                </a:lnTo>
                <a:lnTo>
                  <a:pt x="8388680" y="3075406"/>
                </a:lnTo>
                <a:lnTo>
                  <a:pt x="8396427" y="3031502"/>
                </a:lnTo>
                <a:lnTo>
                  <a:pt x="8399793" y="2987103"/>
                </a:lnTo>
                <a:close/>
              </a:path>
            </a:pathLst>
          </a:custGeom>
          <a:solidFill>
            <a:srgbClr val="FFFFFF">
              <a:alpha val="25098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851B3E-0B84-8168-CA3C-5D0D4081BE48}"/>
              </a:ext>
            </a:extLst>
          </p:cNvPr>
          <p:cNvSpPr txBox="1"/>
          <p:nvPr/>
        </p:nvSpPr>
        <p:spPr>
          <a:xfrm>
            <a:off x="215900" y="1321351"/>
            <a:ext cx="6127422" cy="309315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Medium"/>
                <a:ea typeface="+mn-ea"/>
                <a:cs typeface="+mn-cs"/>
              </a:rPr>
              <a:t>The pat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Medium"/>
                <a:ea typeface="+mn-ea"/>
                <a:cs typeface="+mn-cs"/>
              </a:rPr>
              <a:t>is not driven by he, she or we,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Medium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Medium"/>
                <a:ea typeface="+mn-ea"/>
                <a:cs typeface="+mn-cs"/>
              </a:rPr>
              <a:t>it's driven by U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Regular"/>
                <a:ea typeface="+mn-ea"/>
                <a:cs typeface="+mn-cs"/>
              </a:rPr>
              <a:t>Every path is formed by a collectiv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Regular"/>
                <a:ea typeface="+mn-ea"/>
                <a:cs typeface="+mn-cs"/>
              </a:rPr>
              <a:t>It begins with a single step, then another,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Regular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Regular"/>
                <a:ea typeface="+mn-ea"/>
                <a:cs typeface="+mn-cs"/>
              </a:rPr>
              <a:t>then another's and before you know it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Regular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Regular"/>
                <a:ea typeface="+mn-ea"/>
                <a:cs typeface="+mn-cs"/>
              </a:rPr>
              <a:t>there's a road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36A8E50-A462-3DBB-2FEE-9ABD78A92654}"/>
              </a:ext>
            </a:extLst>
          </p:cNvPr>
          <p:cNvGrpSpPr/>
          <p:nvPr/>
        </p:nvGrpSpPr>
        <p:grpSpPr>
          <a:xfrm>
            <a:off x="10210800" y="5562600"/>
            <a:ext cx="1654175" cy="492125"/>
            <a:chOff x="5268913" y="3182938"/>
            <a:chExt cx="1654175" cy="492125"/>
          </a:xfrm>
        </p:grpSpPr>
        <p:sp>
          <p:nvSpPr>
            <p:cNvPr id="29" name="AutoShape 3">
              <a:extLst>
                <a:ext uri="{FF2B5EF4-FFF2-40B4-BE49-F238E27FC236}">
                  <a16:creationId xmlns:a16="http://schemas.microsoft.com/office/drawing/2014/main" id="{F9F9B70C-D5EE-4BC9-0C22-EDC89AC7094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68913" y="3182938"/>
              <a:ext cx="1654175" cy="492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F78A4F90-1692-1D7A-8075-E64A251A6E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3201" y="3197226"/>
              <a:ext cx="1411288" cy="207963"/>
            </a:xfrm>
            <a:custGeom>
              <a:avLst/>
              <a:gdLst>
                <a:gd name="T0" fmla="*/ 16 w 3904"/>
                <a:gd name="T1" fmla="*/ 13 h 574"/>
                <a:gd name="T2" fmla="*/ 17 w 3904"/>
                <a:gd name="T3" fmla="*/ 561 h 574"/>
                <a:gd name="T4" fmla="*/ 106 w 3904"/>
                <a:gd name="T5" fmla="*/ 30 h 574"/>
                <a:gd name="T6" fmla="*/ 734 w 3904"/>
                <a:gd name="T7" fmla="*/ 561 h 574"/>
                <a:gd name="T8" fmla="*/ 736 w 3904"/>
                <a:gd name="T9" fmla="*/ 13 h 574"/>
                <a:gd name="T10" fmla="*/ 491 w 3904"/>
                <a:gd name="T11" fmla="*/ 384 h 574"/>
                <a:gd name="T12" fmla="*/ 244 w 3904"/>
                <a:gd name="T13" fmla="*/ 13 h 574"/>
                <a:gd name="T14" fmla="*/ 244 w 3904"/>
                <a:gd name="T15" fmla="*/ 561 h 574"/>
                <a:gd name="T16" fmla="*/ 307 w 3904"/>
                <a:gd name="T17" fmla="*/ 173 h 574"/>
                <a:gd name="T18" fmla="*/ 502 w 3904"/>
                <a:gd name="T19" fmla="*/ 547 h 574"/>
                <a:gd name="T20" fmla="*/ 874 w 3904"/>
                <a:gd name="T21" fmla="*/ 544 h 574"/>
                <a:gd name="T22" fmla="*/ 980 w 3904"/>
                <a:gd name="T23" fmla="*/ 545 h 574"/>
                <a:gd name="T24" fmla="*/ 1242 w 3904"/>
                <a:gd name="T25" fmla="*/ 170 h 574"/>
                <a:gd name="T26" fmla="*/ 874 w 3904"/>
                <a:gd name="T27" fmla="*/ 43 h 574"/>
                <a:gd name="T28" fmla="*/ 1016 w 3904"/>
                <a:gd name="T29" fmla="*/ 68 h 574"/>
                <a:gd name="T30" fmla="*/ 980 w 3904"/>
                <a:gd name="T31" fmla="*/ 276 h 574"/>
                <a:gd name="T32" fmla="*/ 1329 w 3904"/>
                <a:gd name="T33" fmla="*/ 561 h 574"/>
                <a:gd name="T34" fmla="*/ 1414 w 3904"/>
                <a:gd name="T35" fmla="*/ 347 h 574"/>
                <a:gd name="T36" fmla="*/ 1575 w 3904"/>
                <a:gd name="T37" fmla="*/ 546 h 574"/>
                <a:gd name="T38" fmla="*/ 1694 w 3904"/>
                <a:gd name="T39" fmla="*/ 551 h 574"/>
                <a:gd name="T40" fmla="*/ 1664 w 3904"/>
                <a:gd name="T41" fmla="*/ 161 h 574"/>
                <a:gd name="T42" fmla="*/ 1325 w 3904"/>
                <a:gd name="T43" fmla="*/ 19 h 574"/>
                <a:gd name="T44" fmla="*/ 1414 w 3904"/>
                <a:gd name="T45" fmla="*/ 70 h 574"/>
                <a:gd name="T46" fmla="*/ 1465 w 3904"/>
                <a:gd name="T47" fmla="*/ 278 h 574"/>
                <a:gd name="T48" fmla="*/ 2225 w 3904"/>
                <a:gd name="T49" fmla="*/ 273 h 574"/>
                <a:gd name="T50" fmla="*/ 1978 w 3904"/>
                <a:gd name="T51" fmla="*/ 574 h 574"/>
                <a:gd name="T52" fmla="*/ 2086 w 3904"/>
                <a:gd name="T53" fmla="*/ 432 h 574"/>
                <a:gd name="T54" fmla="*/ 1840 w 3904"/>
                <a:gd name="T55" fmla="*/ 280 h 574"/>
                <a:gd name="T56" fmla="*/ 2081 w 3904"/>
                <a:gd name="T57" fmla="*/ 127 h 574"/>
                <a:gd name="T58" fmla="*/ 2329 w 3904"/>
                <a:gd name="T59" fmla="*/ 13 h 574"/>
                <a:gd name="T60" fmla="*/ 2240 w 3904"/>
                <a:gd name="T61" fmla="*/ 36 h 574"/>
                <a:gd name="T62" fmla="*/ 2473 w 3904"/>
                <a:gd name="T63" fmla="*/ 561 h 574"/>
                <a:gd name="T64" fmla="*/ 2674 w 3904"/>
                <a:gd name="T65" fmla="*/ 23 h 574"/>
                <a:gd name="T66" fmla="*/ 2587 w 3904"/>
                <a:gd name="T67" fmla="*/ 28 h 574"/>
                <a:gd name="T68" fmla="*/ 2824 w 3904"/>
                <a:gd name="T69" fmla="*/ 30 h 574"/>
                <a:gd name="T70" fmla="*/ 2718 w 3904"/>
                <a:gd name="T71" fmla="*/ 30 h 574"/>
                <a:gd name="T72" fmla="*/ 2807 w 3904"/>
                <a:gd name="T73" fmla="*/ 561 h 574"/>
                <a:gd name="T74" fmla="*/ 3045 w 3904"/>
                <a:gd name="T75" fmla="*/ 27 h 574"/>
                <a:gd name="T76" fmla="*/ 2944 w 3904"/>
                <a:gd name="T77" fmla="*/ 30 h 574"/>
                <a:gd name="T78" fmla="*/ 3010 w 3904"/>
                <a:gd name="T79" fmla="*/ 561 h 574"/>
                <a:gd name="T80" fmla="*/ 3293 w 3904"/>
                <a:gd name="T81" fmla="*/ 545 h 574"/>
                <a:gd name="T82" fmla="*/ 3372 w 3904"/>
                <a:gd name="T83" fmla="*/ 546 h 574"/>
                <a:gd name="T84" fmla="*/ 3308 w 3904"/>
                <a:gd name="T85" fmla="*/ 13 h 574"/>
                <a:gd name="T86" fmla="*/ 3045 w 3904"/>
                <a:gd name="T87" fmla="*/ 27 h 574"/>
                <a:gd name="T88" fmla="*/ 3729 w 3904"/>
                <a:gd name="T89" fmla="*/ 502 h 574"/>
                <a:gd name="T90" fmla="*/ 3807 w 3904"/>
                <a:gd name="T91" fmla="*/ 126 h 574"/>
                <a:gd name="T92" fmla="*/ 3714 w 3904"/>
                <a:gd name="T93" fmla="*/ 0 h 574"/>
                <a:gd name="T94" fmla="*/ 3890 w 3904"/>
                <a:gd name="T95" fmla="*/ 513 h 574"/>
                <a:gd name="T96" fmla="*/ 3886 w 3904"/>
                <a:gd name="T97" fmla="*/ 274 h 574"/>
                <a:gd name="T98" fmla="*/ 3705 w 3904"/>
                <a:gd name="T99" fmla="*/ 329 h 574"/>
                <a:gd name="T100" fmla="*/ 3804 w 3904"/>
                <a:gd name="T101" fmla="*/ 436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04" h="574">
                  <a:moveTo>
                    <a:pt x="106" y="30"/>
                  </a:moveTo>
                  <a:cubicBezTo>
                    <a:pt x="106" y="16"/>
                    <a:pt x="102" y="13"/>
                    <a:pt x="90" y="13"/>
                  </a:cubicBezTo>
                  <a:lnTo>
                    <a:pt x="16" y="13"/>
                  </a:lnTo>
                  <a:cubicBezTo>
                    <a:pt x="3" y="13"/>
                    <a:pt x="1" y="19"/>
                    <a:pt x="0" y="30"/>
                  </a:cubicBezTo>
                  <a:lnTo>
                    <a:pt x="0" y="544"/>
                  </a:lnTo>
                  <a:cubicBezTo>
                    <a:pt x="0" y="558"/>
                    <a:pt x="6" y="560"/>
                    <a:pt x="17" y="561"/>
                  </a:cubicBezTo>
                  <a:lnTo>
                    <a:pt x="89" y="561"/>
                  </a:lnTo>
                  <a:cubicBezTo>
                    <a:pt x="100" y="561"/>
                    <a:pt x="106" y="559"/>
                    <a:pt x="106" y="544"/>
                  </a:cubicBezTo>
                  <a:lnTo>
                    <a:pt x="106" y="30"/>
                  </a:lnTo>
                  <a:close/>
                  <a:moveTo>
                    <a:pt x="654" y="544"/>
                  </a:moveTo>
                  <a:cubicBezTo>
                    <a:pt x="654" y="558"/>
                    <a:pt x="657" y="561"/>
                    <a:pt x="672" y="561"/>
                  </a:cubicBezTo>
                  <a:lnTo>
                    <a:pt x="734" y="561"/>
                  </a:lnTo>
                  <a:cubicBezTo>
                    <a:pt x="748" y="561"/>
                    <a:pt x="752" y="560"/>
                    <a:pt x="752" y="545"/>
                  </a:cubicBezTo>
                  <a:lnTo>
                    <a:pt x="752" y="28"/>
                  </a:lnTo>
                  <a:cubicBezTo>
                    <a:pt x="752" y="15"/>
                    <a:pt x="748" y="13"/>
                    <a:pt x="736" y="13"/>
                  </a:cubicBezTo>
                  <a:lnTo>
                    <a:pt x="661" y="13"/>
                  </a:lnTo>
                  <a:cubicBezTo>
                    <a:pt x="646" y="13"/>
                    <a:pt x="644" y="16"/>
                    <a:pt x="637" y="30"/>
                  </a:cubicBezTo>
                  <a:lnTo>
                    <a:pt x="491" y="384"/>
                  </a:lnTo>
                  <a:lnTo>
                    <a:pt x="341" y="30"/>
                  </a:lnTo>
                  <a:cubicBezTo>
                    <a:pt x="335" y="15"/>
                    <a:pt x="332" y="13"/>
                    <a:pt x="318" y="13"/>
                  </a:cubicBezTo>
                  <a:lnTo>
                    <a:pt x="244" y="13"/>
                  </a:lnTo>
                  <a:cubicBezTo>
                    <a:pt x="231" y="13"/>
                    <a:pt x="228" y="17"/>
                    <a:pt x="228" y="30"/>
                  </a:cubicBezTo>
                  <a:lnTo>
                    <a:pt x="228" y="544"/>
                  </a:lnTo>
                  <a:cubicBezTo>
                    <a:pt x="228" y="557"/>
                    <a:pt x="231" y="561"/>
                    <a:pt x="244" y="561"/>
                  </a:cubicBezTo>
                  <a:lnTo>
                    <a:pt x="290" y="561"/>
                  </a:lnTo>
                  <a:cubicBezTo>
                    <a:pt x="301" y="561"/>
                    <a:pt x="307" y="558"/>
                    <a:pt x="307" y="545"/>
                  </a:cubicBezTo>
                  <a:lnTo>
                    <a:pt x="307" y="173"/>
                  </a:lnTo>
                  <a:lnTo>
                    <a:pt x="460" y="547"/>
                  </a:lnTo>
                  <a:cubicBezTo>
                    <a:pt x="465" y="560"/>
                    <a:pt x="470" y="564"/>
                    <a:pt x="481" y="564"/>
                  </a:cubicBezTo>
                  <a:cubicBezTo>
                    <a:pt x="493" y="564"/>
                    <a:pt x="495" y="560"/>
                    <a:pt x="502" y="547"/>
                  </a:cubicBezTo>
                  <a:lnTo>
                    <a:pt x="654" y="173"/>
                  </a:lnTo>
                  <a:lnTo>
                    <a:pt x="654" y="544"/>
                  </a:lnTo>
                  <a:close/>
                  <a:moveTo>
                    <a:pt x="874" y="544"/>
                  </a:moveTo>
                  <a:cubicBezTo>
                    <a:pt x="874" y="557"/>
                    <a:pt x="876" y="560"/>
                    <a:pt x="891" y="561"/>
                  </a:cubicBezTo>
                  <a:lnTo>
                    <a:pt x="962" y="561"/>
                  </a:lnTo>
                  <a:cubicBezTo>
                    <a:pt x="974" y="561"/>
                    <a:pt x="980" y="560"/>
                    <a:pt x="980" y="545"/>
                  </a:cubicBezTo>
                  <a:lnTo>
                    <a:pt x="980" y="337"/>
                  </a:lnTo>
                  <a:cubicBezTo>
                    <a:pt x="1000" y="339"/>
                    <a:pt x="1008" y="339"/>
                    <a:pt x="1025" y="339"/>
                  </a:cubicBezTo>
                  <a:cubicBezTo>
                    <a:pt x="1143" y="339"/>
                    <a:pt x="1242" y="291"/>
                    <a:pt x="1242" y="170"/>
                  </a:cubicBezTo>
                  <a:cubicBezTo>
                    <a:pt x="1242" y="7"/>
                    <a:pt x="1070" y="7"/>
                    <a:pt x="1022" y="7"/>
                  </a:cubicBezTo>
                  <a:cubicBezTo>
                    <a:pt x="970" y="7"/>
                    <a:pt x="904" y="13"/>
                    <a:pt x="887" y="20"/>
                  </a:cubicBezTo>
                  <a:cubicBezTo>
                    <a:pt x="876" y="23"/>
                    <a:pt x="874" y="28"/>
                    <a:pt x="874" y="43"/>
                  </a:cubicBezTo>
                  <a:lnTo>
                    <a:pt x="874" y="544"/>
                  </a:lnTo>
                  <a:close/>
                  <a:moveTo>
                    <a:pt x="980" y="71"/>
                  </a:moveTo>
                  <a:cubicBezTo>
                    <a:pt x="989" y="69"/>
                    <a:pt x="999" y="68"/>
                    <a:pt x="1016" y="68"/>
                  </a:cubicBezTo>
                  <a:cubicBezTo>
                    <a:pt x="1050" y="68"/>
                    <a:pt x="1134" y="72"/>
                    <a:pt x="1134" y="171"/>
                  </a:cubicBezTo>
                  <a:cubicBezTo>
                    <a:pt x="1134" y="265"/>
                    <a:pt x="1065" y="278"/>
                    <a:pt x="1012" y="278"/>
                  </a:cubicBezTo>
                  <a:cubicBezTo>
                    <a:pt x="999" y="278"/>
                    <a:pt x="989" y="277"/>
                    <a:pt x="980" y="276"/>
                  </a:cubicBezTo>
                  <a:lnTo>
                    <a:pt x="980" y="71"/>
                  </a:lnTo>
                  <a:close/>
                  <a:moveTo>
                    <a:pt x="1312" y="545"/>
                  </a:moveTo>
                  <a:cubicBezTo>
                    <a:pt x="1312" y="560"/>
                    <a:pt x="1318" y="561"/>
                    <a:pt x="1329" y="561"/>
                  </a:cubicBezTo>
                  <a:lnTo>
                    <a:pt x="1396" y="561"/>
                  </a:lnTo>
                  <a:cubicBezTo>
                    <a:pt x="1411" y="561"/>
                    <a:pt x="1414" y="557"/>
                    <a:pt x="1414" y="543"/>
                  </a:cubicBezTo>
                  <a:lnTo>
                    <a:pt x="1414" y="347"/>
                  </a:lnTo>
                  <a:cubicBezTo>
                    <a:pt x="1414" y="340"/>
                    <a:pt x="1414" y="327"/>
                    <a:pt x="1430" y="327"/>
                  </a:cubicBezTo>
                  <a:cubicBezTo>
                    <a:pt x="1446" y="327"/>
                    <a:pt x="1455" y="340"/>
                    <a:pt x="1458" y="347"/>
                  </a:cubicBezTo>
                  <a:lnTo>
                    <a:pt x="1575" y="546"/>
                  </a:lnTo>
                  <a:cubicBezTo>
                    <a:pt x="1583" y="559"/>
                    <a:pt x="1584" y="560"/>
                    <a:pt x="1600" y="561"/>
                  </a:cubicBezTo>
                  <a:lnTo>
                    <a:pt x="1679" y="561"/>
                  </a:lnTo>
                  <a:cubicBezTo>
                    <a:pt x="1684" y="561"/>
                    <a:pt x="1694" y="561"/>
                    <a:pt x="1694" y="551"/>
                  </a:cubicBezTo>
                  <a:cubicBezTo>
                    <a:pt x="1694" y="546"/>
                    <a:pt x="1691" y="540"/>
                    <a:pt x="1688" y="536"/>
                  </a:cubicBezTo>
                  <a:lnTo>
                    <a:pt x="1543" y="307"/>
                  </a:lnTo>
                  <a:cubicBezTo>
                    <a:pt x="1597" y="291"/>
                    <a:pt x="1664" y="246"/>
                    <a:pt x="1664" y="161"/>
                  </a:cubicBezTo>
                  <a:cubicBezTo>
                    <a:pt x="1664" y="117"/>
                    <a:pt x="1648" y="75"/>
                    <a:pt x="1614" y="47"/>
                  </a:cubicBezTo>
                  <a:cubicBezTo>
                    <a:pt x="1567" y="10"/>
                    <a:pt x="1499" y="7"/>
                    <a:pt x="1453" y="7"/>
                  </a:cubicBezTo>
                  <a:cubicBezTo>
                    <a:pt x="1402" y="7"/>
                    <a:pt x="1342" y="13"/>
                    <a:pt x="1325" y="19"/>
                  </a:cubicBezTo>
                  <a:cubicBezTo>
                    <a:pt x="1314" y="23"/>
                    <a:pt x="1312" y="27"/>
                    <a:pt x="1312" y="44"/>
                  </a:cubicBezTo>
                  <a:lnTo>
                    <a:pt x="1312" y="545"/>
                  </a:lnTo>
                  <a:close/>
                  <a:moveTo>
                    <a:pt x="1414" y="70"/>
                  </a:moveTo>
                  <a:cubicBezTo>
                    <a:pt x="1422" y="69"/>
                    <a:pt x="1433" y="68"/>
                    <a:pt x="1449" y="68"/>
                  </a:cubicBezTo>
                  <a:cubicBezTo>
                    <a:pt x="1479" y="68"/>
                    <a:pt x="1559" y="68"/>
                    <a:pt x="1559" y="173"/>
                  </a:cubicBezTo>
                  <a:cubicBezTo>
                    <a:pt x="1559" y="245"/>
                    <a:pt x="1511" y="273"/>
                    <a:pt x="1465" y="278"/>
                  </a:cubicBezTo>
                  <a:cubicBezTo>
                    <a:pt x="1452" y="280"/>
                    <a:pt x="1443" y="280"/>
                    <a:pt x="1414" y="279"/>
                  </a:cubicBezTo>
                  <a:lnTo>
                    <a:pt x="1414" y="70"/>
                  </a:lnTo>
                  <a:close/>
                  <a:moveTo>
                    <a:pt x="2225" y="273"/>
                  </a:moveTo>
                  <a:cubicBezTo>
                    <a:pt x="2219" y="127"/>
                    <a:pt x="2134" y="0"/>
                    <a:pt x="1980" y="0"/>
                  </a:cubicBezTo>
                  <a:cubicBezTo>
                    <a:pt x="1822" y="0"/>
                    <a:pt x="1731" y="127"/>
                    <a:pt x="1731" y="288"/>
                  </a:cubicBezTo>
                  <a:cubicBezTo>
                    <a:pt x="1731" y="476"/>
                    <a:pt x="1846" y="574"/>
                    <a:pt x="1978" y="574"/>
                  </a:cubicBezTo>
                  <a:cubicBezTo>
                    <a:pt x="2128" y="574"/>
                    <a:pt x="2232" y="446"/>
                    <a:pt x="2225" y="273"/>
                  </a:cubicBezTo>
                  <a:close/>
                  <a:moveTo>
                    <a:pt x="2116" y="274"/>
                  </a:moveTo>
                  <a:cubicBezTo>
                    <a:pt x="2117" y="328"/>
                    <a:pt x="2110" y="388"/>
                    <a:pt x="2086" y="432"/>
                  </a:cubicBezTo>
                  <a:cubicBezTo>
                    <a:pt x="2057" y="483"/>
                    <a:pt x="2014" y="500"/>
                    <a:pt x="1979" y="500"/>
                  </a:cubicBezTo>
                  <a:cubicBezTo>
                    <a:pt x="1949" y="500"/>
                    <a:pt x="1869" y="485"/>
                    <a:pt x="1847" y="358"/>
                  </a:cubicBezTo>
                  <a:cubicBezTo>
                    <a:pt x="1843" y="336"/>
                    <a:pt x="1840" y="311"/>
                    <a:pt x="1840" y="280"/>
                  </a:cubicBezTo>
                  <a:cubicBezTo>
                    <a:pt x="1840" y="238"/>
                    <a:pt x="1844" y="127"/>
                    <a:pt x="1919" y="82"/>
                  </a:cubicBezTo>
                  <a:cubicBezTo>
                    <a:pt x="1937" y="72"/>
                    <a:pt x="1958" y="67"/>
                    <a:pt x="1978" y="67"/>
                  </a:cubicBezTo>
                  <a:cubicBezTo>
                    <a:pt x="1993" y="67"/>
                    <a:pt x="2043" y="69"/>
                    <a:pt x="2081" y="127"/>
                  </a:cubicBezTo>
                  <a:cubicBezTo>
                    <a:pt x="2110" y="175"/>
                    <a:pt x="2115" y="233"/>
                    <a:pt x="2116" y="274"/>
                  </a:cubicBezTo>
                  <a:close/>
                  <a:moveTo>
                    <a:pt x="2350" y="28"/>
                  </a:moveTo>
                  <a:cubicBezTo>
                    <a:pt x="2345" y="14"/>
                    <a:pt x="2342" y="13"/>
                    <a:pt x="2329" y="13"/>
                  </a:cubicBezTo>
                  <a:lnTo>
                    <a:pt x="2252" y="13"/>
                  </a:lnTo>
                  <a:cubicBezTo>
                    <a:pt x="2246" y="13"/>
                    <a:pt x="2237" y="13"/>
                    <a:pt x="2237" y="23"/>
                  </a:cubicBezTo>
                  <a:cubicBezTo>
                    <a:pt x="2237" y="27"/>
                    <a:pt x="2238" y="28"/>
                    <a:pt x="2240" y="36"/>
                  </a:cubicBezTo>
                  <a:lnTo>
                    <a:pt x="2423" y="547"/>
                  </a:lnTo>
                  <a:cubicBezTo>
                    <a:pt x="2426" y="557"/>
                    <a:pt x="2428" y="560"/>
                    <a:pt x="2436" y="561"/>
                  </a:cubicBezTo>
                  <a:lnTo>
                    <a:pt x="2473" y="561"/>
                  </a:lnTo>
                  <a:cubicBezTo>
                    <a:pt x="2486" y="561"/>
                    <a:pt x="2489" y="559"/>
                    <a:pt x="2493" y="547"/>
                  </a:cubicBezTo>
                  <a:lnTo>
                    <a:pt x="2670" y="36"/>
                  </a:lnTo>
                  <a:cubicBezTo>
                    <a:pt x="2674" y="27"/>
                    <a:pt x="2674" y="25"/>
                    <a:pt x="2674" y="23"/>
                  </a:cubicBezTo>
                  <a:cubicBezTo>
                    <a:pt x="2674" y="15"/>
                    <a:pt x="2665" y="13"/>
                    <a:pt x="2658" y="13"/>
                  </a:cubicBezTo>
                  <a:lnTo>
                    <a:pt x="2606" y="13"/>
                  </a:lnTo>
                  <a:cubicBezTo>
                    <a:pt x="2595" y="13"/>
                    <a:pt x="2592" y="15"/>
                    <a:pt x="2587" y="28"/>
                  </a:cubicBezTo>
                  <a:lnTo>
                    <a:pt x="2468" y="388"/>
                  </a:lnTo>
                  <a:lnTo>
                    <a:pt x="2350" y="28"/>
                  </a:lnTo>
                  <a:close/>
                  <a:moveTo>
                    <a:pt x="2824" y="30"/>
                  </a:moveTo>
                  <a:cubicBezTo>
                    <a:pt x="2824" y="16"/>
                    <a:pt x="2819" y="13"/>
                    <a:pt x="2808" y="13"/>
                  </a:cubicBezTo>
                  <a:lnTo>
                    <a:pt x="2734" y="13"/>
                  </a:lnTo>
                  <a:cubicBezTo>
                    <a:pt x="2720" y="13"/>
                    <a:pt x="2718" y="19"/>
                    <a:pt x="2718" y="30"/>
                  </a:cubicBezTo>
                  <a:lnTo>
                    <a:pt x="2718" y="544"/>
                  </a:lnTo>
                  <a:cubicBezTo>
                    <a:pt x="2718" y="558"/>
                    <a:pt x="2724" y="560"/>
                    <a:pt x="2735" y="561"/>
                  </a:cubicBezTo>
                  <a:lnTo>
                    <a:pt x="2807" y="561"/>
                  </a:lnTo>
                  <a:cubicBezTo>
                    <a:pt x="2817" y="561"/>
                    <a:pt x="2824" y="559"/>
                    <a:pt x="2824" y="544"/>
                  </a:cubicBezTo>
                  <a:lnTo>
                    <a:pt x="2824" y="30"/>
                  </a:lnTo>
                  <a:close/>
                  <a:moveTo>
                    <a:pt x="3045" y="27"/>
                  </a:moveTo>
                  <a:cubicBezTo>
                    <a:pt x="3036" y="15"/>
                    <a:pt x="3033" y="13"/>
                    <a:pt x="3020" y="13"/>
                  </a:cubicBezTo>
                  <a:lnTo>
                    <a:pt x="2961" y="13"/>
                  </a:lnTo>
                  <a:cubicBezTo>
                    <a:pt x="2950" y="13"/>
                    <a:pt x="2944" y="15"/>
                    <a:pt x="2944" y="30"/>
                  </a:cubicBezTo>
                  <a:lnTo>
                    <a:pt x="2944" y="546"/>
                  </a:lnTo>
                  <a:cubicBezTo>
                    <a:pt x="2944" y="560"/>
                    <a:pt x="2949" y="561"/>
                    <a:pt x="2961" y="561"/>
                  </a:cubicBezTo>
                  <a:lnTo>
                    <a:pt x="3010" y="561"/>
                  </a:lnTo>
                  <a:cubicBezTo>
                    <a:pt x="3023" y="561"/>
                    <a:pt x="3026" y="557"/>
                    <a:pt x="3026" y="544"/>
                  </a:cubicBezTo>
                  <a:lnTo>
                    <a:pt x="3026" y="169"/>
                  </a:lnTo>
                  <a:lnTo>
                    <a:pt x="3293" y="545"/>
                  </a:lnTo>
                  <a:cubicBezTo>
                    <a:pt x="3301" y="557"/>
                    <a:pt x="3303" y="560"/>
                    <a:pt x="3313" y="561"/>
                  </a:cubicBezTo>
                  <a:lnTo>
                    <a:pt x="3356" y="561"/>
                  </a:lnTo>
                  <a:cubicBezTo>
                    <a:pt x="3368" y="561"/>
                    <a:pt x="3372" y="559"/>
                    <a:pt x="3372" y="546"/>
                  </a:cubicBezTo>
                  <a:lnTo>
                    <a:pt x="3372" y="29"/>
                  </a:lnTo>
                  <a:cubicBezTo>
                    <a:pt x="3372" y="16"/>
                    <a:pt x="3369" y="13"/>
                    <a:pt x="3357" y="13"/>
                  </a:cubicBezTo>
                  <a:lnTo>
                    <a:pt x="3308" y="13"/>
                  </a:lnTo>
                  <a:cubicBezTo>
                    <a:pt x="3296" y="13"/>
                    <a:pt x="3293" y="17"/>
                    <a:pt x="3293" y="29"/>
                  </a:cubicBezTo>
                  <a:lnTo>
                    <a:pt x="3293" y="374"/>
                  </a:lnTo>
                  <a:lnTo>
                    <a:pt x="3045" y="27"/>
                  </a:lnTo>
                  <a:close/>
                  <a:moveTo>
                    <a:pt x="3804" y="436"/>
                  </a:moveTo>
                  <a:cubicBezTo>
                    <a:pt x="3804" y="460"/>
                    <a:pt x="3803" y="475"/>
                    <a:pt x="3786" y="488"/>
                  </a:cubicBezTo>
                  <a:cubicBezTo>
                    <a:pt x="3773" y="497"/>
                    <a:pt x="3751" y="502"/>
                    <a:pt x="3729" y="502"/>
                  </a:cubicBezTo>
                  <a:cubicBezTo>
                    <a:pt x="3626" y="502"/>
                    <a:pt x="3574" y="403"/>
                    <a:pt x="3574" y="274"/>
                  </a:cubicBezTo>
                  <a:cubicBezTo>
                    <a:pt x="3574" y="134"/>
                    <a:pt x="3636" y="65"/>
                    <a:pt x="3712" y="65"/>
                  </a:cubicBezTo>
                  <a:cubicBezTo>
                    <a:pt x="3768" y="65"/>
                    <a:pt x="3791" y="100"/>
                    <a:pt x="3807" y="126"/>
                  </a:cubicBezTo>
                  <a:cubicBezTo>
                    <a:pt x="3819" y="145"/>
                    <a:pt x="3830" y="164"/>
                    <a:pt x="3858" y="164"/>
                  </a:cubicBezTo>
                  <a:cubicBezTo>
                    <a:pt x="3883" y="164"/>
                    <a:pt x="3904" y="145"/>
                    <a:pt x="3904" y="118"/>
                  </a:cubicBezTo>
                  <a:cubicBezTo>
                    <a:pt x="3904" y="77"/>
                    <a:pt x="3844" y="0"/>
                    <a:pt x="3714" y="0"/>
                  </a:cubicBezTo>
                  <a:cubicBezTo>
                    <a:pt x="3560" y="0"/>
                    <a:pt x="3461" y="121"/>
                    <a:pt x="3461" y="287"/>
                  </a:cubicBezTo>
                  <a:cubicBezTo>
                    <a:pt x="3461" y="423"/>
                    <a:pt x="3523" y="574"/>
                    <a:pt x="3721" y="574"/>
                  </a:cubicBezTo>
                  <a:cubicBezTo>
                    <a:pt x="3813" y="574"/>
                    <a:pt x="3868" y="540"/>
                    <a:pt x="3890" y="513"/>
                  </a:cubicBezTo>
                  <a:cubicBezTo>
                    <a:pt x="3902" y="499"/>
                    <a:pt x="3903" y="491"/>
                    <a:pt x="3903" y="469"/>
                  </a:cubicBezTo>
                  <a:lnTo>
                    <a:pt x="3903" y="294"/>
                  </a:lnTo>
                  <a:cubicBezTo>
                    <a:pt x="3903" y="280"/>
                    <a:pt x="3902" y="274"/>
                    <a:pt x="3886" y="274"/>
                  </a:cubicBezTo>
                  <a:lnTo>
                    <a:pt x="3722" y="274"/>
                  </a:lnTo>
                  <a:cubicBezTo>
                    <a:pt x="3711" y="274"/>
                    <a:pt x="3704" y="274"/>
                    <a:pt x="3704" y="288"/>
                  </a:cubicBezTo>
                  <a:cubicBezTo>
                    <a:pt x="3704" y="301"/>
                    <a:pt x="3704" y="325"/>
                    <a:pt x="3705" y="329"/>
                  </a:cubicBezTo>
                  <a:cubicBezTo>
                    <a:pt x="3706" y="336"/>
                    <a:pt x="3710" y="338"/>
                    <a:pt x="3722" y="338"/>
                  </a:cubicBezTo>
                  <a:lnTo>
                    <a:pt x="3804" y="338"/>
                  </a:lnTo>
                  <a:lnTo>
                    <a:pt x="3804" y="4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065CCE33-C98B-340D-F272-BAC58FF5AE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3201" y="3452813"/>
              <a:ext cx="1625600" cy="207963"/>
            </a:xfrm>
            <a:custGeom>
              <a:avLst/>
              <a:gdLst>
                <a:gd name="T0" fmla="*/ 16 w 4499"/>
                <a:gd name="T1" fmla="*/ 13 h 573"/>
                <a:gd name="T2" fmla="*/ 15 w 4499"/>
                <a:gd name="T3" fmla="*/ 561 h 573"/>
                <a:gd name="T4" fmla="*/ 298 w 4499"/>
                <a:gd name="T5" fmla="*/ 505 h 573"/>
                <a:gd name="T6" fmla="*/ 105 w 4499"/>
                <a:gd name="T7" fmla="*/ 28 h 573"/>
                <a:gd name="T8" fmla="*/ 387 w 4499"/>
                <a:gd name="T9" fmla="*/ 13 h 573"/>
                <a:gd name="T10" fmla="*/ 388 w 4499"/>
                <a:gd name="T11" fmla="*/ 561 h 573"/>
                <a:gd name="T12" fmla="*/ 477 w 4499"/>
                <a:gd name="T13" fmla="*/ 29 h 573"/>
                <a:gd name="T14" fmla="*/ 535 w 4499"/>
                <a:gd name="T15" fmla="*/ 13 h 573"/>
                <a:gd name="T16" fmla="*/ 706 w 4499"/>
                <a:gd name="T17" fmla="*/ 547 h 573"/>
                <a:gd name="T18" fmla="*/ 777 w 4499"/>
                <a:gd name="T19" fmla="*/ 546 h 573"/>
                <a:gd name="T20" fmla="*/ 941 w 4499"/>
                <a:gd name="T21" fmla="*/ 13 h 573"/>
                <a:gd name="T22" fmla="*/ 752 w 4499"/>
                <a:gd name="T23" fmla="*/ 388 h 573"/>
                <a:gd name="T24" fmla="*/ 1278 w 4499"/>
                <a:gd name="T25" fmla="*/ 295 h 573"/>
                <a:gd name="T26" fmla="*/ 1107 w 4499"/>
                <a:gd name="T27" fmla="*/ 242 h 573"/>
                <a:gd name="T28" fmla="*/ 1309 w 4499"/>
                <a:gd name="T29" fmla="*/ 65 h 573"/>
                <a:gd name="T30" fmla="*/ 1021 w 4499"/>
                <a:gd name="T31" fmla="*/ 12 h 573"/>
                <a:gd name="T32" fmla="*/ 1021 w 4499"/>
                <a:gd name="T33" fmla="*/ 561 h 573"/>
                <a:gd name="T34" fmla="*/ 1309 w 4499"/>
                <a:gd name="T35" fmla="*/ 506 h 573"/>
                <a:gd name="T36" fmla="*/ 1107 w 4499"/>
                <a:gd name="T37" fmla="*/ 310 h 573"/>
                <a:gd name="T38" fmla="*/ 1495 w 4499"/>
                <a:gd name="T39" fmla="*/ 13 h 573"/>
                <a:gd name="T40" fmla="*/ 1407 w 4499"/>
                <a:gd name="T41" fmla="*/ 545 h 573"/>
                <a:gd name="T42" fmla="*/ 1704 w 4499"/>
                <a:gd name="T43" fmla="*/ 545 h 573"/>
                <a:gd name="T44" fmla="*/ 1511 w 4499"/>
                <a:gd name="T45" fmla="*/ 489 h 573"/>
                <a:gd name="T46" fmla="*/ 1867 w 4499"/>
                <a:gd name="T47" fmla="*/ 13 h 573"/>
                <a:gd name="T48" fmla="*/ 1777 w 4499"/>
                <a:gd name="T49" fmla="*/ 544 h 573"/>
                <a:gd name="T50" fmla="*/ 1884 w 4499"/>
                <a:gd name="T51" fmla="*/ 544 h 573"/>
                <a:gd name="T52" fmla="*/ 2311 w 4499"/>
                <a:gd name="T53" fmla="*/ 561 h 573"/>
                <a:gd name="T54" fmla="*/ 2400 w 4499"/>
                <a:gd name="T55" fmla="*/ 28 h 573"/>
                <a:gd name="T56" fmla="*/ 2294 w 4499"/>
                <a:gd name="T57" fmla="*/ 29 h 573"/>
                <a:gd name="T58" fmla="*/ 2110 w 4499"/>
                <a:gd name="T59" fmla="*/ 28 h 573"/>
                <a:gd name="T60" fmla="*/ 2004 w 4499"/>
                <a:gd name="T61" fmla="*/ 28 h 573"/>
                <a:gd name="T62" fmla="*/ 2093 w 4499"/>
                <a:gd name="T63" fmla="*/ 561 h 573"/>
                <a:gd name="T64" fmla="*/ 2294 w 4499"/>
                <a:gd name="T65" fmla="*/ 310 h 573"/>
                <a:gd name="T66" fmla="*/ 2738 w 4499"/>
                <a:gd name="T67" fmla="*/ 0 h 573"/>
                <a:gd name="T68" fmla="*/ 2984 w 4499"/>
                <a:gd name="T69" fmla="*/ 272 h 573"/>
                <a:gd name="T70" fmla="*/ 2738 w 4499"/>
                <a:gd name="T71" fmla="*/ 499 h 573"/>
                <a:gd name="T72" fmla="*/ 2678 w 4499"/>
                <a:gd name="T73" fmla="*/ 82 h 573"/>
                <a:gd name="T74" fmla="*/ 2874 w 4499"/>
                <a:gd name="T75" fmla="*/ 274 h 573"/>
                <a:gd name="T76" fmla="*/ 3055 w 4499"/>
                <a:gd name="T77" fmla="*/ 288 h 573"/>
                <a:gd name="T78" fmla="*/ 3440 w 4499"/>
                <a:gd name="T79" fmla="*/ 274 h 573"/>
                <a:gd name="T80" fmla="*/ 3171 w 4499"/>
                <a:gd name="T81" fmla="*/ 358 h 573"/>
                <a:gd name="T82" fmla="*/ 3302 w 4499"/>
                <a:gd name="T83" fmla="*/ 66 h 573"/>
                <a:gd name="T84" fmla="*/ 3638 w 4499"/>
                <a:gd name="T85" fmla="*/ 533 h 573"/>
                <a:gd name="T86" fmla="*/ 4010 w 4499"/>
                <a:gd name="T87" fmla="*/ 482 h 573"/>
                <a:gd name="T88" fmla="*/ 3783 w 4499"/>
                <a:gd name="T89" fmla="*/ 7 h 573"/>
                <a:gd name="T90" fmla="*/ 3638 w 4499"/>
                <a:gd name="T91" fmla="*/ 533 h 573"/>
                <a:gd name="T92" fmla="*/ 3931 w 4499"/>
                <a:gd name="T93" fmla="*/ 142 h 573"/>
                <a:gd name="T94" fmla="*/ 3768 w 4499"/>
                <a:gd name="T95" fmla="*/ 498 h 573"/>
                <a:gd name="T96" fmla="*/ 4337 w 4499"/>
                <a:gd name="T97" fmla="*/ 227 h 573"/>
                <a:gd name="T98" fmla="*/ 4388 w 4499"/>
                <a:gd name="T99" fmla="*/ 115 h 573"/>
                <a:gd name="T100" fmla="*/ 4315 w 4499"/>
                <a:gd name="T101" fmla="*/ 0 h 573"/>
                <a:gd name="T102" fmla="*/ 4298 w 4499"/>
                <a:gd name="T103" fmla="*/ 325 h 573"/>
                <a:gd name="T104" fmla="*/ 4243 w 4499"/>
                <a:gd name="T105" fmla="*/ 444 h 573"/>
                <a:gd name="T106" fmla="*/ 4320 w 4499"/>
                <a:gd name="T107" fmla="*/ 573 h 573"/>
                <a:gd name="T108" fmla="*/ 4337 w 4499"/>
                <a:gd name="T109" fmla="*/ 227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9" h="573">
                  <a:moveTo>
                    <a:pt x="105" y="28"/>
                  </a:moveTo>
                  <a:cubicBezTo>
                    <a:pt x="105" y="15"/>
                    <a:pt x="101" y="13"/>
                    <a:pt x="88" y="13"/>
                  </a:cubicBezTo>
                  <a:lnTo>
                    <a:pt x="16" y="13"/>
                  </a:lnTo>
                  <a:cubicBezTo>
                    <a:pt x="5" y="13"/>
                    <a:pt x="0" y="15"/>
                    <a:pt x="0" y="28"/>
                  </a:cubicBezTo>
                  <a:lnTo>
                    <a:pt x="0" y="545"/>
                  </a:lnTo>
                  <a:cubicBezTo>
                    <a:pt x="0" y="559"/>
                    <a:pt x="5" y="561"/>
                    <a:pt x="15" y="561"/>
                  </a:cubicBezTo>
                  <a:lnTo>
                    <a:pt x="281" y="561"/>
                  </a:lnTo>
                  <a:cubicBezTo>
                    <a:pt x="294" y="561"/>
                    <a:pt x="297" y="558"/>
                    <a:pt x="298" y="545"/>
                  </a:cubicBezTo>
                  <a:lnTo>
                    <a:pt x="298" y="505"/>
                  </a:lnTo>
                  <a:cubicBezTo>
                    <a:pt x="298" y="493"/>
                    <a:pt x="296" y="489"/>
                    <a:pt x="282" y="489"/>
                  </a:cubicBezTo>
                  <a:lnTo>
                    <a:pt x="105" y="489"/>
                  </a:lnTo>
                  <a:lnTo>
                    <a:pt x="105" y="28"/>
                  </a:lnTo>
                  <a:close/>
                  <a:moveTo>
                    <a:pt x="477" y="29"/>
                  </a:moveTo>
                  <a:cubicBezTo>
                    <a:pt x="477" y="15"/>
                    <a:pt x="473" y="13"/>
                    <a:pt x="461" y="13"/>
                  </a:cubicBezTo>
                  <a:lnTo>
                    <a:pt x="387" y="13"/>
                  </a:lnTo>
                  <a:cubicBezTo>
                    <a:pt x="373" y="13"/>
                    <a:pt x="372" y="18"/>
                    <a:pt x="371" y="29"/>
                  </a:cubicBezTo>
                  <a:lnTo>
                    <a:pt x="371" y="544"/>
                  </a:lnTo>
                  <a:cubicBezTo>
                    <a:pt x="371" y="558"/>
                    <a:pt x="377" y="560"/>
                    <a:pt x="388" y="561"/>
                  </a:cubicBezTo>
                  <a:lnTo>
                    <a:pt x="460" y="561"/>
                  </a:lnTo>
                  <a:cubicBezTo>
                    <a:pt x="470" y="561"/>
                    <a:pt x="477" y="558"/>
                    <a:pt x="477" y="544"/>
                  </a:cubicBezTo>
                  <a:lnTo>
                    <a:pt x="477" y="29"/>
                  </a:lnTo>
                  <a:close/>
                  <a:moveTo>
                    <a:pt x="633" y="28"/>
                  </a:moveTo>
                  <a:cubicBezTo>
                    <a:pt x="629" y="14"/>
                    <a:pt x="625" y="13"/>
                    <a:pt x="612" y="13"/>
                  </a:cubicBezTo>
                  <a:lnTo>
                    <a:pt x="535" y="13"/>
                  </a:lnTo>
                  <a:cubicBezTo>
                    <a:pt x="530" y="13"/>
                    <a:pt x="521" y="13"/>
                    <a:pt x="521" y="23"/>
                  </a:cubicBezTo>
                  <a:cubicBezTo>
                    <a:pt x="521" y="26"/>
                    <a:pt x="522" y="28"/>
                    <a:pt x="524" y="35"/>
                  </a:cubicBezTo>
                  <a:lnTo>
                    <a:pt x="706" y="547"/>
                  </a:lnTo>
                  <a:cubicBezTo>
                    <a:pt x="710" y="557"/>
                    <a:pt x="712" y="560"/>
                    <a:pt x="719" y="561"/>
                  </a:cubicBezTo>
                  <a:lnTo>
                    <a:pt x="757" y="561"/>
                  </a:lnTo>
                  <a:cubicBezTo>
                    <a:pt x="770" y="561"/>
                    <a:pt x="772" y="558"/>
                    <a:pt x="777" y="546"/>
                  </a:cubicBezTo>
                  <a:lnTo>
                    <a:pt x="954" y="35"/>
                  </a:lnTo>
                  <a:cubicBezTo>
                    <a:pt x="958" y="26"/>
                    <a:pt x="958" y="24"/>
                    <a:pt x="958" y="23"/>
                  </a:cubicBezTo>
                  <a:cubicBezTo>
                    <a:pt x="958" y="14"/>
                    <a:pt x="949" y="13"/>
                    <a:pt x="941" y="13"/>
                  </a:cubicBezTo>
                  <a:lnTo>
                    <a:pt x="890" y="13"/>
                  </a:lnTo>
                  <a:cubicBezTo>
                    <a:pt x="878" y="13"/>
                    <a:pt x="875" y="14"/>
                    <a:pt x="871" y="28"/>
                  </a:cubicBezTo>
                  <a:lnTo>
                    <a:pt x="752" y="388"/>
                  </a:lnTo>
                  <a:lnTo>
                    <a:pt x="633" y="28"/>
                  </a:lnTo>
                  <a:close/>
                  <a:moveTo>
                    <a:pt x="1261" y="310"/>
                  </a:moveTo>
                  <a:cubicBezTo>
                    <a:pt x="1274" y="310"/>
                    <a:pt x="1278" y="308"/>
                    <a:pt x="1278" y="295"/>
                  </a:cubicBezTo>
                  <a:lnTo>
                    <a:pt x="1278" y="257"/>
                  </a:lnTo>
                  <a:cubicBezTo>
                    <a:pt x="1278" y="243"/>
                    <a:pt x="1274" y="242"/>
                    <a:pt x="1262" y="242"/>
                  </a:cubicBezTo>
                  <a:lnTo>
                    <a:pt x="1107" y="242"/>
                  </a:lnTo>
                  <a:lnTo>
                    <a:pt x="1107" y="82"/>
                  </a:lnTo>
                  <a:lnTo>
                    <a:pt x="1291" y="82"/>
                  </a:lnTo>
                  <a:cubicBezTo>
                    <a:pt x="1304" y="82"/>
                    <a:pt x="1309" y="80"/>
                    <a:pt x="1309" y="65"/>
                  </a:cubicBezTo>
                  <a:lnTo>
                    <a:pt x="1309" y="27"/>
                  </a:lnTo>
                  <a:cubicBezTo>
                    <a:pt x="1309" y="12"/>
                    <a:pt x="1302" y="12"/>
                    <a:pt x="1291" y="12"/>
                  </a:cubicBezTo>
                  <a:lnTo>
                    <a:pt x="1021" y="12"/>
                  </a:lnTo>
                  <a:cubicBezTo>
                    <a:pt x="1007" y="13"/>
                    <a:pt x="1002" y="17"/>
                    <a:pt x="1002" y="34"/>
                  </a:cubicBezTo>
                  <a:lnTo>
                    <a:pt x="1002" y="543"/>
                  </a:lnTo>
                  <a:cubicBezTo>
                    <a:pt x="1002" y="559"/>
                    <a:pt x="1007" y="561"/>
                    <a:pt x="1021" y="561"/>
                  </a:cubicBezTo>
                  <a:lnTo>
                    <a:pt x="1291" y="561"/>
                  </a:lnTo>
                  <a:cubicBezTo>
                    <a:pt x="1304" y="561"/>
                    <a:pt x="1307" y="558"/>
                    <a:pt x="1309" y="551"/>
                  </a:cubicBezTo>
                  <a:lnTo>
                    <a:pt x="1309" y="506"/>
                  </a:lnTo>
                  <a:cubicBezTo>
                    <a:pt x="1309" y="491"/>
                    <a:pt x="1302" y="490"/>
                    <a:pt x="1291" y="490"/>
                  </a:cubicBezTo>
                  <a:lnTo>
                    <a:pt x="1107" y="490"/>
                  </a:lnTo>
                  <a:lnTo>
                    <a:pt x="1107" y="310"/>
                  </a:lnTo>
                  <a:lnTo>
                    <a:pt x="1261" y="310"/>
                  </a:lnTo>
                  <a:close/>
                  <a:moveTo>
                    <a:pt x="1511" y="28"/>
                  </a:moveTo>
                  <a:cubicBezTo>
                    <a:pt x="1511" y="15"/>
                    <a:pt x="1507" y="13"/>
                    <a:pt x="1495" y="13"/>
                  </a:cubicBezTo>
                  <a:lnTo>
                    <a:pt x="1423" y="13"/>
                  </a:lnTo>
                  <a:cubicBezTo>
                    <a:pt x="1411" y="13"/>
                    <a:pt x="1407" y="15"/>
                    <a:pt x="1407" y="28"/>
                  </a:cubicBezTo>
                  <a:lnTo>
                    <a:pt x="1407" y="545"/>
                  </a:lnTo>
                  <a:cubicBezTo>
                    <a:pt x="1407" y="559"/>
                    <a:pt x="1412" y="561"/>
                    <a:pt x="1422" y="561"/>
                  </a:cubicBezTo>
                  <a:lnTo>
                    <a:pt x="1687" y="561"/>
                  </a:lnTo>
                  <a:cubicBezTo>
                    <a:pt x="1701" y="561"/>
                    <a:pt x="1704" y="558"/>
                    <a:pt x="1704" y="545"/>
                  </a:cubicBezTo>
                  <a:lnTo>
                    <a:pt x="1704" y="505"/>
                  </a:lnTo>
                  <a:cubicBezTo>
                    <a:pt x="1704" y="493"/>
                    <a:pt x="1702" y="489"/>
                    <a:pt x="1689" y="489"/>
                  </a:cubicBezTo>
                  <a:lnTo>
                    <a:pt x="1511" y="489"/>
                  </a:lnTo>
                  <a:lnTo>
                    <a:pt x="1511" y="28"/>
                  </a:lnTo>
                  <a:close/>
                  <a:moveTo>
                    <a:pt x="1884" y="29"/>
                  </a:moveTo>
                  <a:cubicBezTo>
                    <a:pt x="1884" y="15"/>
                    <a:pt x="1879" y="13"/>
                    <a:pt x="1867" y="13"/>
                  </a:cubicBezTo>
                  <a:lnTo>
                    <a:pt x="1794" y="13"/>
                  </a:lnTo>
                  <a:cubicBezTo>
                    <a:pt x="1780" y="13"/>
                    <a:pt x="1778" y="18"/>
                    <a:pt x="1777" y="29"/>
                  </a:cubicBezTo>
                  <a:lnTo>
                    <a:pt x="1777" y="544"/>
                  </a:lnTo>
                  <a:cubicBezTo>
                    <a:pt x="1777" y="558"/>
                    <a:pt x="1784" y="560"/>
                    <a:pt x="1795" y="561"/>
                  </a:cubicBezTo>
                  <a:lnTo>
                    <a:pt x="1867" y="561"/>
                  </a:lnTo>
                  <a:cubicBezTo>
                    <a:pt x="1877" y="561"/>
                    <a:pt x="1884" y="558"/>
                    <a:pt x="1884" y="544"/>
                  </a:cubicBezTo>
                  <a:lnTo>
                    <a:pt x="1884" y="29"/>
                  </a:lnTo>
                  <a:close/>
                  <a:moveTo>
                    <a:pt x="2294" y="544"/>
                  </a:moveTo>
                  <a:cubicBezTo>
                    <a:pt x="2294" y="558"/>
                    <a:pt x="2298" y="561"/>
                    <a:pt x="2311" y="561"/>
                  </a:cubicBezTo>
                  <a:lnTo>
                    <a:pt x="2384" y="561"/>
                  </a:lnTo>
                  <a:cubicBezTo>
                    <a:pt x="2394" y="561"/>
                    <a:pt x="2400" y="560"/>
                    <a:pt x="2400" y="545"/>
                  </a:cubicBezTo>
                  <a:lnTo>
                    <a:pt x="2400" y="28"/>
                  </a:lnTo>
                  <a:cubicBezTo>
                    <a:pt x="2400" y="14"/>
                    <a:pt x="2396" y="12"/>
                    <a:pt x="2383" y="12"/>
                  </a:cubicBezTo>
                  <a:lnTo>
                    <a:pt x="2310" y="12"/>
                  </a:lnTo>
                  <a:cubicBezTo>
                    <a:pt x="2295" y="12"/>
                    <a:pt x="2294" y="18"/>
                    <a:pt x="2294" y="29"/>
                  </a:cubicBezTo>
                  <a:lnTo>
                    <a:pt x="2294" y="242"/>
                  </a:lnTo>
                  <a:lnTo>
                    <a:pt x="2110" y="242"/>
                  </a:lnTo>
                  <a:lnTo>
                    <a:pt x="2110" y="28"/>
                  </a:lnTo>
                  <a:cubicBezTo>
                    <a:pt x="2110" y="15"/>
                    <a:pt x="2106" y="12"/>
                    <a:pt x="2093" y="12"/>
                  </a:cubicBezTo>
                  <a:lnTo>
                    <a:pt x="2021" y="12"/>
                  </a:lnTo>
                  <a:cubicBezTo>
                    <a:pt x="2009" y="12"/>
                    <a:pt x="2004" y="15"/>
                    <a:pt x="2004" y="28"/>
                  </a:cubicBezTo>
                  <a:lnTo>
                    <a:pt x="2004" y="545"/>
                  </a:lnTo>
                  <a:cubicBezTo>
                    <a:pt x="2004" y="559"/>
                    <a:pt x="2010" y="561"/>
                    <a:pt x="2021" y="561"/>
                  </a:cubicBezTo>
                  <a:lnTo>
                    <a:pt x="2093" y="561"/>
                  </a:lnTo>
                  <a:cubicBezTo>
                    <a:pt x="2105" y="561"/>
                    <a:pt x="2110" y="559"/>
                    <a:pt x="2110" y="545"/>
                  </a:cubicBezTo>
                  <a:lnTo>
                    <a:pt x="2110" y="310"/>
                  </a:lnTo>
                  <a:lnTo>
                    <a:pt x="2294" y="310"/>
                  </a:lnTo>
                  <a:lnTo>
                    <a:pt x="2294" y="544"/>
                  </a:lnTo>
                  <a:close/>
                  <a:moveTo>
                    <a:pt x="2984" y="272"/>
                  </a:moveTo>
                  <a:cubicBezTo>
                    <a:pt x="2977" y="126"/>
                    <a:pt x="2893" y="0"/>
                    <a:pt x="2738" y="0"/>
                  </a:cubicBezTo>
                  <a:cubicBezTo>
                    <a:pt x="2580" y="0"/>
                    <a:pt x="2489" y="127"/>
                    <a:pt x="2489" y="288"/>
                  </a:cubicBezTo>
                  <a:cubicBezTo>
                    <a:pt x="2489" y="475"/>
                    <a:pt x="2604" y="573"/>
                    <a:pt x="2737" y="573"/>
                  </a:cubicBezTo>
                  <a:cubicBezTo>
                    <a:pt x="2886" y="573"/>
                    <a:pt x="2991" y="446"/>
                    <a:pt x="2984" y="272"/>
                  </a:cubicBezTo>
                  <a:close/>
                  <a:moveTo>
                    <a:pt x="2874" y="274"/>
                  </a:moveTo>
                  <a:cubicBezTo>
                    <a:pt x="2875" y="327"/>
                    <a:pt x="2869" y="387"/>
                    <a:pt x="2844" y="432"/>
                  </a:cubicBezTo>
                  <a:cubicBezTo>
                    <a:pt x="2815" y="482"/>
                    <a:pt x="2773" y="499"/>
                    <a:pt x="2738" y="499"/>
                  </a:cubicBezTo>
                  <a:cubicBezTo>
                    <a:pt x="2707" y="499"/>
                    <a:pt x="2627" y="484"/>
                    <a:pt x="2605" y="358"/>
                  </a:cubicBezTo>
                  <a:cubicBezTo>
                    <a:pt x="2601" y="336"/>
                    <a:pt x="2599" y="310"/>
                    <a:pt x="2599" y="279"/>
                  </a:cubicBezTo>
                  <a:cubicBezTo>
                    <a:pt x="2599" y="237"/>
                    <a:pt x="2602" y="127"/>
                    <a:pt x="2678" y="82"/>
                  </a:cubicBezTo>
                  <a:cubicBezTo>
                    <a:pt x="2695" y="72"/>
                    <a:pt x="2716" y="66"/>
                    <a:pt x="2736" y="66"/>
                  </a:cubicBezTo>
                  <a:cubicBezTo>
                    <a:pt x="2751" y="66"/>
                    <a:pt x="2801" y="68"/>
                    <a:pt x="2839" y="127"/>
                  </a:cubicBezTo>
                  <a:cubicBezTo>
                    <a:pt x="2869" y="174"/>
                    <a:pt x="2873" y="233"/>
                    <a:pt x="2874" y="274"/>
                  </a:cubicBezTo>
                  <a:close/>
                  <a:moveTo>
                    <a:pt x="3549" y="272"/>
                  </a:moveTo>
                  <a:cubicBezTo>
                    <a:pt x="3543" y="126"/>
                    <a:pt x="3459" y="0"/>
                    <a:pt x="3304" y="0"/>
                  </a:cubicBezTo>
                  <a:cubicBezTo>
                    <a:pt x="3146" y="0"/>
                    <a:pt x="3055" y="127"/>
                    <a:pt x="3055" y="288"/>
                  </a:cubicBezTo>
                  <a:cubicBezTo>
                    <a:pt x="3055" y="475"/>
                    <a:pt x="3170" y="573"/>
                    <a:pt x="3303" y="573"/>
                  </a:cubicBezTo>
                  <a:cubicBezTo>
                    <a:pt x="3452" y="573"/>
                    <a:pt x="3556" y="446"/>
                    <a:pt x="3549" y="272"/>
                  </a:cubicBezTo>
                  <a:close/>
                  <a:moveTo>
                    <a:pt x="3440" y="274"/>
                  </a:moveTo>
                  <a:cubicBezTo>
                    <a:pt x="3441" y="327"/>
                    <a:pt x="3435" y="387"/>
                    <a:pt x="3410" y="432"/>
                  </a:cubicBezTo>
                  <a:cubicBezTo>
                    <a:pt x="3381" y="482"/>
                    <a:pt x="3338" y="499"/>
                    <a:pt x="3303" y="499"/>
                  </a:cubicBezTo>
                  <a:cubicBezTo>
                    <a:pt x="3273" y="499"/>
                    <a:pt x="3193" y="484"/>
                    <a:pt x="3171" y="358"/>
                  </a:cubicBezTo>
                  <a:cubicBezTo>
                    <a:pt x="3167" y="336"/>
                    <a:pt x="3164" y="310"/>
                    <a:pt x="3164" y="279"/>
                  </a:cubicBezTo>
                  <a:cubicBezTo>
                    <a:pt x="3164" y="237"/>
                    <a:pt x="3168" y="127"/>
                    <a:pt x="3244" y="82"/>
                  </a:cubicBezTo>
                  <a:cubicBezTo>
                    <a:pt x="3261" y="72"/>
                    <a:pt x="3282" y="66"/>
                    <a:pt x="3302" y="66"/>
                  </a:cubicBezTo>
                  <a:cubicBezTo>
                    <a:pt x="3317" y="66"/>
                    <a:pt x="3367" y="68"/>
                    <a:pt x="3405" y="127"/>
                  </a:cubicBezTo>
                  <a:cubicBezTo>
                    <a:pt x="3435" y="174"/>
                    <a:pt x="3439" y="233"/>
                    <a:pt x="3440" y="274"/>
                  </a:cubicBezTo>
                  <a:close/>
                  <a:moveTo>
                    <a:pt x="3638" y="533"/>
                  </a:moveTo>
                  <a:cubicBezTo>
                    <a:pt x="3639" y="548"/>
                    <a:pt x="3642" y="554"/>
                    <a:pt x="3653" y="557"/>
                  </a:cubicBezTo>
                  <a:cubicBezTo>
                    <a:pt x="3675" y="565"/>
                    <a:pt x="3734" y="567"/>
                    <a:pt x="3765" y="567"/>
                  </a:cubicBezTo>
                  <a:cubicBezTo>
                    <a:pt x="3855" y="567"/>
                    <a:pt x="3947" y="546"/>
                    <a:pt x="4010" y="482"/>
                  </a:cubicBezTo>
                  <a:cubicBezTo>
                    <a:pt x="4031" y="460"/>
                    <a:pt x="4084" y="399"/>
                    <a:pt x="4084" y="287"/>
                  </a:cubicBezTo>
                  <a:cubicBezTo>
                    <a:pt x="4084" y="166"/>
                    <a:pt x="4026" y="102"/>
                    <a:pt x="3998" y="77"/>
                  </a:cubicBezTo>
                  <a:cubicBezTo>
                    <a:pt x="3924" y="11"/>
                    <a:pt x="3829" y="7"/>
                    <a:pt x="3783" y="7"/>
                  </a:cubicBezTo>
                  <a:cubicBezTo>
                    <a:pt x="3733" y="7"/>
                    <a:pt x="3671" y="14"/>
                    <a:pt x="3651" y="21"/>
                  </a:cubicBezTo>
                  <a:cubicBezTo>
                    <a:pt x="3644" y="24"/>
                    <a:pt x="3638" y="27"/>
                    <a:pt x="3638" y="45"/>
                  </a:cubicBezTo>
                  <a:lnTo>
                    <a:pt x="3638" y="533"/>
                  </a:lnTo>
                  <a:close/>
                  <a:moveTo>
                    <a:pt x="3743" y="74"/>
                  </a:moveTo>
                  <a:cubicBezTo>
                    <a:pt x="3754" y="74"/>
                    <a:pt x="3763" y="72"/>
                    <a:pt x="3778" y="72"/>
                  </a:cubicBezTo>
                  <a:cubicBezTo>
                    <a:pt x="3837" y="72"/>
                    <a:pt x="3896" y="94"/>
                    <a:pt x="3931" y="142"/>
                  </a:cubicBezTo>
                  <a:cubicBezTo>
                    <a:pt x="3944" y="160"/>
                    <a:pt x="3972" y="202"/>
                    <a:pt x="3972" y="284"/>
                  </a:cubicBezTo>
                  <a:cubicBezTo>
                    <a:pt x="3972" y="353"/>
                    <a:pt x="3953" y="399"/>
                    <a:pt x="3933" y="426"/>
                  </a:cubicBezTo>
                  <a:cubicBezTo>
                    <a:pt x="3896" y="475"/>
                    <a:pt x="3834" y="498"/>
                    <a:pt x="3768" y="498"/>
                  </a:cubicBezTo>
                  <a:cubicBezTo>
                    <a:pt x="3762" y="498"/>
                    <a:pt x="3754" y="498"/>
                    <a:pt x="3743" y="497"/>
                  </a:cubicBezTo>
                  <a:lnTo>
                    <a:pt x="3743" y="74"/>
                  </a:lnTo>
                  <a:close/>
                  <a:moveTo>
                    <a:pt x="4337" y="227"/>
                  </a:moveTo>
                  <a:cubicBezTo>
                    <a:pt x="4284" y="202"/>
                    <a:pt x="4245" y="181"/>
                    <a:pt x="4245" y="131"/>
                  </a:cubicBezTo>
                  <a:cubicBezTo>
                    <a:pt x="4245" y="92"/>
                    <a:pt x="4273" y="62"/>
                    <a:pt x="4312" y="62"/>
                  </a:cubicBezTo>
                  <a:cubicBezTo>
                    <a:pt x="4354" y="62"/>
                    <a:pt x="4374" y="94"/>
                    <a:pt x="4388" y="115"/>
                  </a:cubicBezTo>
                  <a:cubicBezTo>
                    <a:pt x="4398" y="132"/>
                    <a:pt x="4408" y="149"/>
                    <a:pt x="4435" y="149"/>
                  </a:cubicBezTo>
                  <a:cubicBezTo>
                    <a:pt x="4460" y="149"/>
                    <a:pt x="4479" y="130"/>
                    <a:pt x="4479" y="104"/>
                  </a:cubicBezTo>
                  <a:cubicBezTo>
                    <a:pt x="4479" y="59"/>
                    <a:pt x="4418" y="0"/>
                    <a:pt x="4315" y="0"/>
                  </a:cubicBezTo>
                  <a:cubicBezTo>
                    <a:pt x="4219" y="0"/>
                    <a:pt x="4149" y="58"/>
                    <a:pt x="4149" y="152"/>
                  </a:cubicBezTo>
                  <a:cubicBezTo>
                    <a:pt x="4149" y="246"/>
                    <a:pt x="4225" y="287"/>
                    <a:pt x="4255" y="303"/>
                  </a:cubicBezTo>
                  <a:lnTo>
                    <a:pt x="4298" y="325"/>
                  </a:lnTo>
                  <a:cubicBezTo>
                    <a:pt x="4360" y="358"/>
                    <a:pt x="4400" y="378"/>
                    <a:pt x="4400" y="433"/>
                  </a:cubicBezTo>
                  <a:cubicBezTo>
                    <a:pt x="4400" y="477"/>
                    <a:pt x="4369" y="506"/>
                    <a:pt x="4327" y="506"/>
                  </a:cubicBezTo>
                  <a:cubicBezTo>
                    <a:pt x="4275" y="506"/>
                    <a:pt x="4253" y="465"/>
                    <a:pt x="4243" y="444"/>
                  </a:cubicBezTo>
                  <a:cubicBezTo>
                    <a:pt x="4232" y="423"/>
                    <a:pt x="4219" y="399"/>
                    <a:pt x="4188" y="399"/>
                  </a:cubicBezTo>
                  <a:cubicBezTo>
                    <a:pt x="4170" y="399"/>
                    <a:pt x="4143" y="412"/>
                    <a:pt x="4143" y="446"/>
                  </a:cubicBezTo>
                  <a:cubicBezTo>
                    <a:pt x="4143" y="491"/>
                    <a:pt x="4194" y="573"/>
                    <a:pt x="4320" y="573"/>
                  </a:cubicBezTo>
                  <a:cubicBezTo>
                    <a:pt x="4422" y="573"/>
                    <a:pt x="4499" y="514"/>
                    <a:pt x="4499" y="413"/>
                  </a:cubicBezTo>
                  <a:cubicBezTo>
                    <a:pt x="4499" y="310"/>
                    <a:pt x="4423" y="271"/>
                    <a:pt x="4374" y="245"/>
                  </a:cubicBezTo>
                  <a:lnTo>
                    <a:pt x="4337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27137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C3CA35-1AA4-9E4E-7883-AB7B5666E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0"/>
            <a:ext cx="11747500" cy="820738"/>
          </a:xfrm>
        </p:spPr>
        <p:txBody>
          <a:bodyPr/>
          <a:lstStyle/>
          <a:p>
            <a:r>
              <a:rPr lang="en-GB"/>
              <a:t>profitability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B3BB42BF-2D82-0315-E45B-8166C82248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A1F9448-5859-032F-2F79-BD1D17BE6C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8" name="Chart Placeholder 7">
            <a:extLst>
              <a:ext uri="{FF2B5EF4-FFF2-40B4-BE49-F238E27FC236}">
                <a16:creationId xmlns:a16="http://schemas.microsoft.com/office/drawing/2014/main" id="{F026C6BA-D358-C304-FA9E-B5F7E317321C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1236602209"/>
              </p:ext>
            </p:extLst>
          </p:nvPr>
        </p:nvGraphicFramePr>
        <p:xfrm>
          <a:off x="215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Chart Placeholder 7">
            <a:extLst>
              <a:ext uri="{FF2B5EF4-FFF2-40B4-BE49-F238E27FC236}">
                <a16:creationId xmlns:a16="http://schemas.microsoft.com/office/drawing/2014/main" id="{44769C53-3E8A-1169-9AB2-AB7AE998A4E9}"/>
              </a:ext>
            </a:extLst>
          </p:cNvPr>
          <p:cNvGraphicFramePr>
            <a:graphicFrameLocks noGrp="1"/>
          </p:cNvGraphicFramePr>
          <p:nvPr>
            <p:ph type="chart" sz="quarter" idx="15"/>
            <p:extLst>
              <p:ext uri="{D42A27DB-BD31-4B8C-83A1-F6EECF244321}">
                <p14:modId xmlns:p14="http://schemas.microsoft.com/office/powerpoint/2010/main" val="1216639960"/>
              </p:ext>
            </p:extLst>
          </p:nvPr>
        </p:nvGraphicFramePr>
        <p:xfrm>
          <a:off x="6184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CC39DCB-613D-A3E7-6DAD-E3D5B8FEC3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15900" y="1366838"/>
            <a:ext cx="5789613" cy="381000"/>
          </a:xfrm>
        </p:spPr>
        <p:txBody>
          <a:bodyPr/>
          <a:lstStyle/>
          <a:p>
            <a:r>
              <a:rPr lang="en-GB"/>
              <a:t>Actual performanc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02290E95-DD23-246B-C164-AAE864AC12E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84900" y="1366838"/>
            <a:ext cx="5789613" cy="381000"/>
          </a:xfrm>
        </p:spPr>
        <p:txBody>
          <a:bodyPr/>
          <a:lstStyle/>
          <a:p>
            <a:r>
              <a:rPr lang="en-GB"/>
              <a:t>Normalised performance – </a:t>
            </a:r>
            <a:r>
              <a:rPr lang="en-GB" sz="1200"/>
              <a:t>Excluding FSG profit and LAHL impairmen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4564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</p:spPr>
        <p:txBody>
          <a:bodyPr/>
          <a:lstStyle/>
          <a:p>
            <a:r>
              <a:rPr lang="en-GB"/>
              <a:t>Net result from INSURANCE operations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3B36F835-D292-F1BC-949B-4284D70AB2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2829154"/>
            <a:ext cx="309562" cy="1428292"/>
          </a:xfrm>
        </p:spPr>
        <p:txBody>
          <a:bodyPr/>
          <a:lstStyle/>
          <a:p>
            <a:r>
              <a:rPr lang="en-GB"/>
              <a:t>BWP million</a:t>
            </a:r>
          </a:p>
        </p:txBody>
      </p:sp>
      <p:graphicFrame>
        <p:nvGraphicFramePr>
          <p:cNvPr id="9" name="Chart Placeholder 7">
            <a:extLst>
              <a:ext uri="{FF2B5EF4-FFF2-40B4-BE49-F238E27FC236}">
                <a16:creationId xmlns:a16="http://schemas.microsoft.com/office/drawing/2014/main" id="{70C026A9-ACDB-4EDC-820D-C2C603B808D2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1906258316"/>
              </p:ext>
            </p:extLst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322167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599DEC-CCFC-A782-671F-BF3CF52E0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5899" y="6400800"/>
            <a:ext cx="11758613" cy="211127"/>
          </a:xfrm>
        </p:spPr>
        <p:txBody>
          <a:bodyPr/>
          <a:lstStyle/>
          <a:p>
            <a:r>
              <a:rPr lang="en-GB"/>
              <a:t>*Including </a:t>
            </a:r>
            <a:r>
              <a:rPr lang="en-GB" err="1"/>
              <a:t>GrandRe</a:t>
            </a:r>
            <a:r>
              <a:rPr lang="en-GB"/>
              <a:t> (Tanzania) and Insure Guar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</p:spPr>
        <p:txBody>
          <a:bodyPr/>
          <a:lstStyle/>
          <a:p>
            <a:r>
              <a:rPr lang="en-GB"/>
              <a:t>Profit after tax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B517E34-8D82-667D-832C-BB620BC318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2829154"/>
            <a:ext cx="309562" cy="1428292"/>
          </a:xfrm>
        </p:spPr>
        <p:txBody>
          <a:bodyPr/>
          <a:lstStyle/>
          <a:p>
            <a:r>
              <a:rPr lang="en-GB"/>
              <a:t>BWP million</a:t>
            </a:r>
          </a:p>
        </p:txBody>
      </p:sp>
      <p:graphicFrame>
        <p:nvGraphicFramePr>
          <p:cNvPr id="8" name="Chart Placeholder 7">
            <a:extLst>
              <a:ext uri="{FF2B5EF4-FFF2-40B4-BE49-F238E27FC236}">
                <a16:creationId xmlns:a16="http://schemas.microsoft.com/office/drawing/2014/main" id="{5EC208F1-E633-489A-A778-F290F3CAAB10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3746093070"/>
              </p:ext>
            </p:extLst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5D94779-9661-F261-B157-B813B0D4466F}"/>
              </a:ext>
            </a:extLst>
          </p:cNvPr>
          <p:cNvSpPr/>
          <p:nvPr/>
        </p:nvSpPr>
        <p:spPr>
          <a:xfrm>
            <a:off x="248108" y="6017419"/>
            <a:ext cx="3180892" cy="309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FSG is being accounted for 6 months</a:t>
            </a:r>
            <a:endParaRPr kumimoji="0" lang="en-BW" sz="1200" b="0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50014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C734A48D-8966-AA82-554C-734CCBA3E8E1}"/>
              </a:ext>
            </a:extLst>
          </p:cNvPr>
          <p:cNvSpPr/>
          <p:nvPr/>
        </p:nvSpPr>
        <p:spPr>
          <a:xfrm>
            <a:off x="7352559" y="1928078"/>
            <a:ext cx="3459044" cy="345904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6" name="Chart Placeholder 7">
            <a:extLst>
              <a:ext uri="{FF2B5EF4-FFF2-40B4-BE49-F238E27FC236}">
                <a16:creationId xmlns:a16="http://schemas.microsoft.com/office/drawing/2014/main" id="{3E8C631C-FF0F-A4C6-51E9-0F5600FA81FD}"/>
              </a:ext>
            </a:extLst>
          </p:cNvPr>
          <p:cNvGraphicFramePr>
            <a:graphicFrameLocks noGrp="1"/>
          </p:cNvGraphicFramePr>
          <p:nvPr>
            <p:ph type="chart" sz="quarter" idx="15"/>
            <p:extLst>
              <p:ext uri="{D42A27DB-BD31-4B8C-83A1-F6EECF244321}">
                <p14:modId xmlns:p14="http://schemas.microsoft.com/office/powerpoint/2010/main" val="4072721418"/>
              </p:ext>
            </p:extLst>
          </p:nvPr>
        </p:nvGraphicFramePr>
        <p:xfrm>
          <a:off x="6184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29F06C87-A49E-BF89-7B48-ECE4B9817D96}"/>
              </a:ext>
            </a:extLst>
          </p:cNvPr>
          <p:cNvSpPr/>
          <p:nvPr/>
        </p:nvSpPr>
        <p:spPr>
          <a:xfrm>
            <a:off x="1390710" y="1928078"/>
            <a:ext cx="3459044" cy="345904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ubsidiaries contribution to operating profit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F69DAD86-D9AE-C648-C6DD-F87114CDD64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/>
              <a:t>June 2023</a:t>
            </a:r>
          </a:p>
        </p:txBody>
      </p:sp>
      <p:graphicFrame>
        <p:nvGraphicFramePr>
          <p:cNvPr id="35" name="Chart Placeholder 7">
            <a:extLst>
              <a:ext uri="{FF2B5EF4-FFF2-40B4-BE49-F238E27FC236}">
                <a16:creationId xmlns:a16="http://schemas.microsoft.com/office/drawing/2014/main" id="{939267C7-7036-925A-E64E-9B101BEC36DD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2049662426"/>
              </p:ext>
            </p:extLst>
          </p:nvPr>
        </p:nvGraphicFramePr>
        <p:xfrm>
          <a:off x="215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5F904F-9106-21C5-218C-A5B86878B40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/>
              <a:t>June 202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1628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C734A48D-8966-AA82-554C-734CCBA3E8E1}"/>
              </a:ext>
            </a:extLst>
          </p:cNvPr>
          <p:cNvSpPr/>
          <p:nvPr/>
        </p:nvSpPr>
        <p:spPr>
          <a:xfrm>
            <a:off x="7352559" y="1928078"/>
            <a:ext cx="3459044" cy="345904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9F06C87-A49E-BF89-7B48-ECE4B9817D96}"/>
              </a:ext>
            </a:extLst>
          </p:cNvPr>
          <p:cNvSpPr/>
          <p:nvPr/>
        </p:nvSpPr>
        <p:spPr>
          <a:xfrm>
            <a:off x="1390710" y="1928078"/>
            <a:ext cx="3459044" cy="345904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DB0E22-A6A7-E864-FF78-921B19DEB6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5899" y="6400800"/>
            <a:ext cx="11758613" cy="211127"/>
          </a:xfrm>
        </p:spPr>
        <p:txBody>
          <a:bodyPr/>
          <a:lstStyle/>
          <a:p>
            <a:r>
              <a:rPr lang="en-GB"/>
              <a:t>*Including </a:t>
            </a:r>
            <a:r>
              <a:rPr lang="en-GB" err="1"/>
              <a:t>GrandRe</a:t>
            </a:r>
            <a:r>
              <a:rPr lang="en-GB"/>
              <a:t> (Tanzania) and Insure Guar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</p:spPr>
        <p:txBody>
          <a:bodyPr/>
          <a:lstStyle/>
          <a:p>
            <a:r>
              <a:rPr lang="en-GB"/>
              <a:t>ASSOCIATES contribution to operating profi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AC7541-9E6F-7F8E-EA33-57785E89D8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15900" y="3505200"/>
            <a:ext cx="5789613" cy="381000"/>
          </a:xfrm>
        </p:spPr>
        <p:txBody>
          <a:bodyPr/>
          <a:lstStyle/>
          <a:p>
            <a:r>
              <a:rPr lang="en-GB"/>
              <a:t>June 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5F904F-9106-21C5-218C-A5B86878B4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84900" y="3505200"/>
            <a:ext cx="5789613" cy="381000"/>
          </a:xfrm>
        </p:spPr>
        <p:txBody>
          <a:bodyPr/>
          <a:lstStyle/>
          <a:p>
            <a:r>
              <a:rPr lang="nb-NO"/>
              <a:t>June 2023</a:t>
            </a:r>
            <a:endParaRPr lang="en-GB"/>
          </a:p>
        </p:txBody>
      </p:sp>
      <p:graphicFrame>
        <p:nvGraphicFramePr>
          <p:cNvPr id="35" name="Chart Placeholder 7">
            <a:extLst>
              <a:ext uri="{FF2B5EF4-FFF2-40B4-BE49-F238E27FC236}">
                <a16:creationId xmlns:a16="http://schemas.microsoft.com/office/drawing/2014/main" id="{939267C7-7036-925A-E64E-9B101BEC36DD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616632824"/>
              </p:ext>
            </p:extLst>
          </p:nvPr>
        </p:nvGraphicFramePr>
        <p:xfrm>
          <a:off x="215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Placeholder 7">
            <a:extLst>
              <a:ext uri="{FF2B5EF4-FFF2-40B4-BE49-F238E27FC236}">
                <a16:creationId xmlns:a16="http://schemas.microsoft.com/office/drawing/2014/main" id="{B9347964-4A04-DC82-7524-FE2DE215340D}"/>
              </a:ext>
            </a:extLst>
          </p:cNvPr>
          <p:cNvGraphicFramePr>
            <a:graphicFrameLocks noGrp="1"/>
          </p:cNvGraphicFramePr>
          <p:nvPr>
            <p:ph type="chart" sz="quarter" idx="15"/>
            <p:extLst>
              <p:ext uri="{D42A27DB-BD31-4B8C-83A1-F6EECF244321}">
                <p14:modId xmlns:p14="http://schemas.microsoft.com/office/powerpoint/2010/main" val="1625794584"/>
              </p:ext>
            </p:extLst>
          </p:nvPr>
        </p:nvGraphicFramePr>
        <p:xfrm>
          <a:off x="6184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977931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</p:spPr>
        <p:txBody>
          <a:bodyPr/>
          <a:lstStyle/>
          <a:p>
            <a:r>
              <a:rPr lang="en-GB"/>
              <a:t>SOURCES OF PROFIT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B517E34-8D82-667D-832C-BB620BC318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2829154"/>
            <a:ext cx="309562" cy="1428292"/>
          </a:xfrm>
        </p:spPr>
        <p:txBody>
          <a:bodyPr/>
          <a:lstStyle/>
          <a:p>
            <a:r>
              <a:rPr lang="en-GB"/>
              <a:t>BWP million</a:t>
            </a: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5D94779-9661-F261-B157-B813B0D4466F}"/>
              </a:ext>
            </a:extLst>
          </p:cNvPr>
          <p:cNvSpPr/>
          <p:nvPr/>
        </p:nvSpPr>
        <p:spPr>
          <a:xfrm>
            <a:off x="248108" y="6017419"/>
            <a:ext cx="3180892" cy="309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FSG is being accounted for 6 months</a:t>
            </a:r>
            <a:endParaRPr kumimoji="0" lang="en-BW" sz="1200" b="0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Chart Placeholder 7">
            <a:extLst>
              <a:ext uri="{FF2B5EF4-FFF2-40B4-BE49-F238E27FC236}">
                <a16:creationId xmlns:a16="http://schemas.microsoft.com/office/drawing/2014/main" id="{CE4C9B47-FA62-D74B-BD90-A1EA6CD2A7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81039622"/>
              </p:ext>
            </p:extLst>
          </p:nvPr>
        </p:nvGraphicFramePr>
        <p:xfrm>
          <a:off x="370681" y="1592826"/>
          <a:ext cx="11286255" cy="4041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438844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</p:spPr>
        <p:txBody>
          <a:bodyPr/>
          <a:lstStyle/>
          <a:p>
            <a:r>
              <a:rPr lang="en-GB"/>
              <a:t>dividends</a:t>
            </a:r>
          </a:p>
        </p:txBody>
      </p:sp>
      <p:graphicFrame>
        <p:nvGraphicFramePr>
          <p:cNvPr id="19" name="Chart Placeholder 7">
            <a:extLst>
              <a:ext uri="{FF2B5EF4-FFF2-40B4-BE49-F238E27FC236}">
                <a16:creationId xmlns:a16="http://schemas.microsoft.com/office/drawing/2014/main" id="{3B8BD170-8A43-0FE8-67C6-EF93D29E6B31}"/>
              </a:ext>
            </a:extLst>
          </p:cNvPr>
          <p:cNvGraphicFramePr>
            <a:graphicFrameLocks noGrp="1"/>
          </p:cNvGraphicFramePr>
          <p:nvPr>
            <p:ph type="chart" sz="quarter" idx="17"/>
            <p:extLst>
              <p:ext uri="{D42A27DB-BD31-4B8C-83A1-F6EECF244321}">
                <p14:modId xmlns:p14="http://schemas.microsoft.com/office/powerpoint/2010/main" val="3470905964"/>
              </p:ext>
            </p:extLst>
          </p:nvPr>
        </p:nvGraphicFramePr>
        <p:xfrm>
          <a:off x="215900" y="3836988"/>
          <a:ext cx="11758613" cy="2479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A7F04CC8-18AC-27BE-1387-37C863530BA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00399" y="3836988"/>
            <a:ext cx="5789613" cy="381000"/>
          </a:xfrm>
        </p:spPr>
        <p:txBody>
          <a:bodyPr/>
          <a:lstStyle/>
          <a:p>
            <a:r>
              <a:rPr lang="en-GB"/>
              <a:t>Total dividend trend</a:t>
            </a:r>
          </a:p>
        </p:txBody>
      </p:sp>
      <p:graphicFrame>
        <p:nvGraphicFramePr>
          <p:cNvPr id="5" name="Chart Placeholder 7">
            <a:extLst>
              <a:ext uri="{FF2B5EF4-FFF2-40B4-BE49-F238E27FC236}">
                <a16:creationId xmlns:a16="http://schemas.microsoft.com/office/drawing/2014/main" id="{D600699A-C719-3243-C0DB-08BA9448BAC0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1485272394"/>
              </p:ext>
            </p:extLst>
          </p:nvPr>
        </p:nvGraphicFramePr>
        <p:xfrm>
          <a:off x="215900" y="1366838"/>
          <a:ext cx="11758613" cy="2479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9B2F5729-860F-382D-5DE1-14F1250E44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0400" y="1366838"/>
            <a:ext cx="5789613" cy="381000"/>
          </a:xfrm>
        </p:spPr>
        <p:txBody>
          <a:bodyPr/>
          <a:lstStyle/>
          <a:p>
            <a:r>
              <a:rPr lang="en-GB"/>
              <a:t>Thebe per share</a:t>
            </a:r>
          </a:p>
        </p:txBody>
      </p:sp>
    </p:spTree>
    <p:extLst>
      <p:ext uri="{BB962C8B-B14F-4D97-AF65-F5344CB8AC3E}">
        <p14:creationId xmlns:p14="http://schemas.microsoft.com/office/powerpoint/2010/main" val="20553780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</p:spPr>
        <p:txBody>
          <a:bodyPr/>
          <a:lstStyle/>
          <a:p>
            <a:r>
              <a:rPr lang="en-GB"/>
              <a:t>Value of new business</a:t>
            </a:r>
          </a:p>
        </p:txBody>
      </p:sp>
      <p:graphicFrame>
        <p:nvGraphicFramePr>
          <p:cNvPr id="6" name="Chart Placeholder 7">
            <a:extLst>
              <a:ext uri="{FF2B5EF4-FFF2-40B4-BE49-F238E27FC236}">
                <a16:creationId xmlns:a16="http://schemas.microsoft.com/office/drawing/2014/main" id="{CE8629E6-8637-AFCE-C7AF-E467F5C64E09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1945699146"/>
              </p:ext>
            </p:extLst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DAD1A65-1280-5F77-4F7E-0348CAA630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BWP million</a:t>
            </a:r>
          </a:p>
        </p:txBody>
      </p:sp>
    </p:spTree>
    <p:extLst>
      <p:ext uri="{BB962C8B-B14F-4D97-AF65-F5344CB8AC3E}">
        <p14:creationId xmlns:p14="http://schemas.microsoft.com/office/powerpoint/2010/main" val="31723327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</p:spPr>
        <p:txBody>
          <a:bodyPr/>
          <a:lstStyle/>
          <a:p>
            <a:r>
              <a:rPr lang="en-GB"/>
              <a:t>Group equity valu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BF290C-9DD7-49B4-B859-671E3D828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2829154"/>
            <a:ext cx="309562" cy="1428292"/>
          </a:xfrm>
        </p:spPr>
        <p:txBody>
          <a:bodyPr/>
          <a:lstStyle/>
          <a:p>
            <a:r>
              <a:rPr lang="en-GB"/>
              <a:t>BWP million</a:t>
            </a:r>
          </a:p>
        </p:txBody>
      </p:sp>
      <p:graphicFrame>
        <p:nvGraphicFramePr>
          <p:cNvPr id="6" name="Chart Placeholder 7">
            <a:extLst>
              <a:ext uri="{FF2B5EF4-FFF2-40B4-BE49-F238E27FC236}">
                <a16:creationId xmlns:a16="http://schemas.microsoft.com/office/drawing/2014/main" id="{BFB9649C-6DC7-1A46-E279-FA593347CD72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81552531"/>
              </p:ext>
            </p:extLst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03680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AD6BA-CD75-D75B-37B6-57E5AECFD1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br>
              <a:rPr lang="en-US"/>
            </a:br>
            <a:r>
              <a:rPr lang="en-US"/>
              <a:t>agenda</a:t>
            </a:r>
            <a:endParaRPr lang="en-GB"/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BC9955B5-E10D-AF18-1C48-85C617C9E7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endParaRPr lang="en-GB"/>
          </a:p>
          <a:p>
            <a:r>
              <a:rPr lang="en-GB" b="1"/>
              <a:t>Operational Overview </a:t>
            </a:r>
            <a:endParaRPr lang="en-GB" b="1">
              <a:cs typeface="Arial"/>
            </a:endParaRPr>
          </a:p>
          <a:p>
            <a:r>
              <a:rPr lang="en-GB"/>
              <a:t>BIHL Group Chief Executive Officer</a:t>
            </a:r>
            <a:endParaRPr lang="en-GB">
              <a:cs typeface="Arial"/>
            </a:endParaRPr>
          </a:p>
          <a:p>
            <a:endParaRPr lang="en-GB"/>
          </a:p>
          <a:p>
            <a:r>
              <a:rPr lang="en-GB" b="1"/>
              <a:t>Financial Performance</a:t>
            </a:r>
            <a:endParaRPr lang="en-GB" b="1">
              <a:cs typeface="Arial"/>
            </a:endParaRPr>
          </a:p>
          <a:p>
            <a:r>
              <a:rPr lang="en-GB"/>
              <a:t>BIHL Chief Financial Officer</a:t>
            </a:r>
            <a:endParaRPr lang="en-GB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06682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</p:spPr>
        <p:txBody>
          <a:bodyPr/>
          <a:lstStyle/>
          <a:p>
            <a:r>
              <a:rPr lang="en-GB"/>
              <a:t>Financial positio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BF290C-9DD7-49B4-B859-671E3D828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2829154"/>
            <a:ext cx="309562" cy="1428292"/>
          </a:xfrm>
        </p:spPr>
        <p:txBody>
          <a:bodyPr/>
          <a:lstStyle/>
          <a:p>
            <a:r>
              <a:rPr lang="en-GB"/>
              <a:t>BWP billion</a:t>
            </a:r>
          </a:p>
        </p:txBody>
      </p:sp>
      <p:graphicFrame>
        <p:nvGraphicFramePr>
          <p:cNvPr id="9" name="Chart Placeholder 7">
            <a:extLst>
              <a:ext uri="{FF2B5EF4-FFF2-40B4-BE49-F238E27FC236}">
                <a16:creationId xmlns:a16="http://schemas.microsoft.com/office/drawing/2014/main" id="{E7AFC294-882C-4D12-B9FC-D11322B3BCBE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3447714842"/>
              </p:ext>
            </p:extLst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983560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Group Equity Value Earnings – GEV Movemen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5DC9ED-7004-4B9E-843F-DB72C3F448F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BF290C-9DD7-49B4-B859-671E3D8287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BWP million</a:t>
            </a:r>
            <a:endParaRPr lang="en-GB"/>
          </a:p>
        </p:txBody>
      </p:sp>
      <p:graphicFrame>
        <p:nvGraphicFramePr>
          <p:cNvPr id="14" name="Chart Placeholder 13">
            <a:extLst>
              <a:ext uri="{FF2B5EF4-FFF2-40B4-BE49-F238E27FC236}">
                <a16:creationId xmlns:a16="http://schemas.microsoft.com/office/drawing/2014/main" id="{F853A120-C365-8CB2-0B55-26117BCA6691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2910785946"/>
              </p:ext>
            </p:extLst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4511EF4-8B2B-8F86-9898-89722F356C65}"/>
              </a:ext>
            </a:extLst>
          </p:cNvPr>
          <p:cNvSpPr/>
          <p:nvPr/>
        </p:nvSpPr>
        <p:spPr>
          <a:xfrm>
            <a:off x="4800954" y="2060525"/>
            <a:ext cx="162932" cy="25049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E7D611-A5BF-0FD1-B266-B27487860054}"/>
              </a:ext>
            </a:extLst>
          </p:cNvPr>
          <p:cNvSpPr/>
          <p:nvPr/>
        </p:nvSpPr>
        <p:spPr>
          <a:xfrm>
            <a:off x="4800954" y="2044243"/>
            <a:ext cx="138119" cy="25465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CB346DE-7184-61C1-CEC4-02E86A904B64}"/>
              </a:ext>
            </a:extLst>
          </p:cNvPr>
          <p:cNvSpPr/>
          <p:nvPr/>
        </p:nvSpPr>
        <p:spPr>
          <a:xfrm>
            <a:off x="4800954" y="4876799"/>
            <a:ext cx="265774" cy="233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45A672A-3A1A-27A3-128D-ECA08A3C2618}"/>
              </a:ext>
            </a:extLst>
          </p:cNvPr>
          <p:cNvCxnSpPr>
            <a:cxnSpLocks/>
          </p:cNvCxnSpPr>
          <p:nvPr/>
        </p:nvCxnSpPr>
        <p:spPr>
          <a:xfrm flipH="1">
            <a:off x="4838632" y="4984265"/>
            <a:ext cx="326806" cy="331839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22A923C-AF1A-0D10-6F1F-F94C2765C1DF}"/>
              </a:ext>
            </a:extLst>
          </p:cNvPr>
          <p:cNvCxnSpPr>
            <a:cxnSpLocks/>
          </p:cNvCxnSpPr>
          <p:nvPr/>
        </p:nvCxnSpPr>
        <p:spPr>
          <a:xfrm flipH="1">
            <a:off x="4929510" y="4971561"/>
            <a:ext cx="326806" cy="331839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DC6BF7B-F016-83F4-5B08-BF6537F6FAFA}"/>
              </a:ext>
            </a:extLst>
          </p:cNvPr>
          <p:cNvSpPr/>
          <p:nvPr/>
        </p:nvSpPr>
        <p:spPr>
          <a:xfrm>
            <a:off x="4806186" y="4403544"/>
            <a:ext cx="265774" cy="233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F535EA-2B3A-7279-7AC5-37BBB3B290C3}"/>
              </a:ext>
            </a:extLst>
          </p:cNvPr>
          <p:cNvCxnSpPr>
            <a:cxnSpLocks/>
          </p:cNvCxnSpPr>
          <p:nvPr/>
        </p:nvCxnSpPr>
        <p:spPr>
          <a:xfrm flipH="1">
            <a:off x="4843864" y="4511010"/>
            <a:ext cx="326806" cy="331839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255B306-19E5-C362-A82A-1F8528497085}"/>
              </a:ext>
            </a:extLst>
          </p:cNvPr>
          <p:cNvCxnSpPr>
            <a:cxnSpLocks/>
          </p:cNvCxnSpPr>
          <p:nvPr/>
        </p:nvCxnSpPr>
        <p:spPr>
          <a:xfrm flipH="1">
            <a:off x="4934742" y="4498306"/>
            <a:ext cx="326806" cy="331839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66D2744-573C-F487-AB6A-B2492C6D0653}"/>
              </a:ext>
            </a:extLst>
          </p:cNvPr>
          <p:cNvCxnSpPr>
            <a:cxnSpLocks/>
          </p:cNvCxnSpPr>
          <p:nvPr/>
        </p:nvCxnSpPr>
        <p:spPr>
          <a:xfrm flipH="1">
            <a:off x="4800483" y="1774158"/>
            <a:ext cx="326806" cy="331839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71579E6-837F-5E0D-FD69-0B9E61398667}"/>
              </a:ext>
            </a:extLst>
          </p:cNvPr>
          <p:cNvCxnSpPr>
            <a:cxnSpLocks/>
          </p:cNvCxnSpPr>
          <p:nvPr/>
        </p:nvCxnSpPr>
        <p:spPr>
          <a:xfrm flipH="1">
            <a:off x="4873477" y="1780510"/>
            <a:ext cx="326806" cy="331839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06526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7ED80-8456-4B76-9A6C-41BFDDEA9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Return on group equity value</a:t>
            </a:r>
          </a:p>
        </p:txBody>
      </p:sp>
      <p:graphicFrame>
        <p:nvGraphicFramePr>
          <p:cNvPr id="8" name="Chart Placeholder 7">
            <a:extLst>
              <a:ext uri="{FF2B5EF4-FFF2-40B4-BE49-F238E27FC236}">
                <a16:creationId xmlns:a16="http://schemas.microsoft.com/office/drawing/2014/main" id="{2B8C79D1-E2AE-4CDA-8B71-1EDD01A56CFE}"/>
              </a:ext>
            </a:extLst>
          </p:cNvPr>
          <p:cNvGraphicFramePr>
            <a:graphicFrameLocks noGrp="1"/>
          </p:cNvGraphicFramePr>
          <p:nvPr>
            <p:ph type="chart" sz="quarter" idx="13"/>
            <p:extLst>
              <p:ext uri="{D42A27DB-BD31-4B8C-83A1-F6EECF244321}">
                <p14:modId xmlns:p14="http://schemas.microsoft.com/office/powerpoint/2010/main" val="933021003"/>
              </p:ext>
            </p:extLst>
          </p:nvPr>
        </p:nvGraphicFramePr>
        <p:xfrm>
          <a:off x="215900" y="1366838"/>
          <a:ext cx="11758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BACF99-101A-83CB-FEFF-977617B3EF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*Including </a:t>
            </a:r>
            <a:r>
              <a:rPr lang="en-GB" err="1"/>
              <a:t>GrandRe</a:t>
            </a:r>
            <a:r>
              <a:rPr lang="en-GB"/>
              <a:t> (Tanzania) and Insure Guard</a:t>
            </a:r>
          </a:p>
        </p:txBody>
      </p:sp>
    </p:spTree>
    <p:extLst>
      <p:ext uri="{BB962C8B-B14F-4D97-AF65-F5344CB8AC3E}">
        <p14:creationId xmlns:p14="http://schemas.microsoft.com/office/powerpoint/2010/main" val="28686851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C3CA35-1AA4-9E4E-7883-AB7B5666E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0"/>
            <a:ext cx="11747500" cy="820738"/>
          </a:xfrm>
        </p:spPr>
        <p:txBody>
          <a:bodyPr/>
          <a:lstStyle/>
          <a:p>
            <a:r>
              <a:rPr lang="en-GB"/>
              <a:t>profitability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B3BB42BF-2D82-0315-E45B-8166C82248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8A1F9448-5859-032F-2F79-BD1D17BE6C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18" name="Chart Placeholder 7">
            <a:extLst>
              <a:ext uri="{FF2B5EF4-FFF2-40B4-BE49-F238E27FC236}">
                <a16:creationId xmlns:a16="http://schemas.microsoft.com/office/drawing/2014/main" id="{F026C6BA-D358-C304-FA9E-B5F7E317321C}"/>
              </a:ext>
            </a:extLst>
          </p:cNvPr>
          <p:cNvGraphicFramePr>
            <a:graphicFrameLocks noGrp="1"/>
          </p:cNvGraphicFramePr>
          <p:nvPr>
            <p:ph type="chart" sz="quarter" idx="13"/>
          </p:nvPr>
        </p:nvGraphicFramePr>
        <p:xfrm>
          <a:off x="215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Chart Placeholder 7">
            <a:extLst>
              <a:ext uri="{FF2B5EF4-FFF2-40B4-BE49-F238E27FC236}">
                <a16:creationId xmlns:a16="http://schemas.microsoft.com/office/drawing/2014/main" id="{44769C53-3E8A-1169-9AB2-AB7AE998A4E9}"/>
              </a:ext>
            </a:extLst>
          </p:cNvPr>
          <p:cNvGraphicFramePr>
            <a:graphicFrameLocks noGrp="1"/>
          </p:cNvGraphicFramePr>
          <p:nvPr>
            <p:ph type="chart" sz="quarter" idx="15"/>
          </p:nvPr>
        </p:nvGraphicFramePr>
        <p:xfrm>
          <a:off x="6184900" y="1366838"/>
          <a:ext cx="5789613" cy="4949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BCC39DCB-613D-A3E7-6DAD-E3D5B8FEC33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15900" y="1366838"/>
            <a:ext cx="5789613" cy="381000"/>
          </a:xfrm>
        </p:spPr>
        <p:txBody>
          <a:bodyPr/>
          <a:lstStyle/>
          <a:p>
            <a:r>
              <a:rPr lang="en-GB"/>
              <a:t>Actual performanc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02290E95-DD23-246B-C164-AAE864AC12E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184900" y="1366838"/>
            <a:ext cx="5789613" cy="381000"/>
          </a:xfrm>
        </p:spPr>
        <p:txBody>
          <a:bodyPr/>
          <a:lstStyle/>
          <a:p>
            <a:r>
              <a:rPr lang="en-GB"/>
              <a:t>Normalised performance – </a:t>
            </a:r>
            <a:r>
              <a:rPr lang="en-GB" sz="1200"/>
              <a:t>Excluding FSG profit and LAHL impairmen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67040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8AD6BA-CD75-D75B-37B6-57E5AECFD1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QUESTIONS</a:t>
            </a:r>
            <a:endParaRPr lang="en-GB"/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BC9955B5-E10D-AF18-1C48-85C617C9E7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1054559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73EB85F-6CCE-23E3-F305-C3891D46C66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t="3" b="3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ED2A4DD-F037-895D-ADE4-E9F9B690B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</p:spPr>
        <p:txBody>
          <a:bodyPr/>
          <a:lstStyle/>
          <a:p>
            <a:r>
              <a:rPr lang="en-GB"/>
              <a:t>Operational Overview </a:t>
            </a: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D82CB0EE-D787-F2A6-4648-A682863E9D53}"/>
              </a:ext>
            </a:extLst>
          </p:cNvPr>
          <p:cNvSpPr/>
          <p:nvPr/>
        </p:nvSpPr>
        <p:spPr>
          <a:xfrm>
            <a:off x="213442" y="2438400"/>
            <a:ext cx="9571038" cy="4257011"/>
          </a:xfrm>
          <a:custGeom>
            <a:avLst/>
            <a:gdLst/>
            <a:ahLst/>
            <a:cxnLst/>
            <a:rect l="l" t="t" r="r" b="b"/>
            <a:pathLst>
              <a:path w="8400415" h="3736340">
                <a:moveTo>
                  <a:pt x="4392396" y="2075383"/>
                </a:moveTo>
                <a:lnTo>
                  <a:pt x="4382846" y="2000275"/>
                </a:lnTo>
                <a:lnTo>
                  <a:pt x="4372851" y="1962937"/>
                </a:lnTo>
                <a:lnTo>
                  <a:pt x="4359351" y="1926005"/>
                </a:lnTo>
                <a:lnTo>
                  <a:pt x="4342358" y="1889658"/>
                </a:lnTo>
                <a:lnTo>
                  <a:pt x="4321848" y="1854073"/>
                </a:lnTo>
                <a:lnTo>
                  <a:pt x="4297845" y="1819440"/>
                </a:lnTo>
                <a:lnTo>
                  <a:pt x="4270299" y="1785950"/>
                </a:lnTo>
                <a:lnTo>
                  <a:pt x="4239247" y="1753781"/>
                </a:lnTo>
                <a:lnTo>
                  <a:pt x="4204652" y="1723123"/>
                </a:lnTo>
                <a:lnTo>
                  <a:pt x="4166527" y="1694154"/>
                </a:lnTo>
                <a:lnTo>
                  <a:pt x="4124858" y="1667065"/>
                </a:lnTo>
                <a:lnTo>
                  <a:pt x="4079633" y="1642033"/>
                </a:lnTo>
                <a:lnTo>
                  <a:pt x="4030853" y="1619262"/>
                </a:lnTo>
                <a:lnTo>
                  <a:pt x="3978503" y="1598917"/>
                </a:lnTo>
                <a:lnTo>
                  <a:pt x="3922598" y="1581188"/>
                </a:lnTo>
                <a:lnTo>
                  <a:pt x="3863111" y="1566278"/>
                </a:lnTo>
                <a:lnTo>
                  <a:pt x="3804589" y="1554670"/>
                </a:lnTo>
                <a:lnTo>
                  <a:pt x="3746830" y="1545678"/>
                </a:lnTo>
                <a:lnTo>
                  <a:pt x="3689896" y="1539214"/>
                </a:lnTo>
                <a:lnTo>
                  <a:pt x="3633787" y="1535163"/>
                </a:lnTo>
                <a:lnTo>
                  <a:pt x="3578555" y="1533448"/>
                </a:lnTo>
                <a:lnTo>
                  <a:pt x="3524224" y="1533944"/>
                </a:lnTo>
                <a:lnTo>
                  <a:pt x="3470846" y="1536573"/>
                </a:lnTo>
                <a:lnTo>
                  <a:pt x="3418446" y="1541221"/>
                </a:lnTo>
                <a:lnTo>
                  <a:pt x="3367062" y="1547799"/>
                </a:lnTo>
                <a:lnTo>
                  <a:pt x="3316732" y="1556194"/>
                </a:lnTo>
                <a:lnTo>
                  <a:pt x="3267468" y="1566329"/>
                </a:lnTo>
                <a:lnTo>
                  <a:pt x="3219335" y="1578089"/>
                </a:lnTo>
                <a:lnTo>
                  <a:pt x="3172358" y="1591386"/>
                </a:lnTo>
                <a:lnTo>
                  <a:pt x="3126575" y="1606105"/>
                </a:lnTo>
                <a:lnTo>
                  <a:pt x="3082010" y="1622145"/>
                </a:lnTo>
                <a:lnTo>
                  <a:pt x="3038703" y="1639430"/>
                </a:lnTo>
                <a:lnTo>
                  <a:pt x="2996679" y="1657845"/>
                </a:lnTo>
                <a:lnTo>
                  <a:pt x="2956001" y="1677301"/>
                </a:lnTo>
                <a:lnTo>
                  <a:pt x="2916682" y="1697685"/>
                </a:lnTo>
                <a:lnTo>
                  <a:pt x="2878759" y="1718906"/>
                </a:lnTo>
                <a:lnTo>
                  <a:pt x="2842260" y="1740865"/>
                </a:lnTo>
                <a:lnTo>
                  <a:pt x="2807246" y="1763458"/>
                </a:lnTo>
                <a:lnTo>
                  <a:pt x="2773730" y="1786585"/>
                </a:lnTo>
                <a:lnTo>
                  <a:pt x="2741752" y="1810156"/>
                </a:lnTo>
                <a:lnTo>
                  <a:pt x="2711348" y="1834070"/>
                </a:lnTo>
                <a:lnTo>
                  <a:pt x="2671254" y="1867877"/>
                </a:lnTo>
                <a:lnTo>
                  <a:pt x="2633205" y="1902523"/>
                </a:lnTo>
                <a:lnTo>
                  <a:pt x="2597175" y="1937981"/>
                </a:lnTo>
                <a:lnTo>
                  <a:pt x="2563139" y="1974202"/>
                </a:lnTo>
                <a:lnTo>
                  <a:pt x="2531084" y="2011159"/>
                </a:lnTo>
                <a:lnTo>
                  <a:pt x="2500998" y="2048802"/>
                </a:lnTo>
                <a:lnTo>
                  <a:pt x="2472842" y="2087118"/>
                </a:lnTo>
                <a:lnTo>
                  <a:pt x="2446604" y="2126056"/>
                </a:lnTo>
                <a:lnTo>
                  <a:pt x="2422271" y="2165578"/>
                </a:lnTo>
                <a:lnTo>
                  <a:pt x="2399830" y="2205647"/>
                </a:lnTo>
                <a:lnTo>
                  <a:pt x="2379243" y="2246249"/>
                </a:lnTo>
                <a:lnTo>
                  <a:pt x="2360498" y="2287308"/>
                </a:lnTo>
                <a:lnTo>
                  <a:pt x="2343581" y="2328824"/>
                </a:lnTo>
                <a:lnTo>
                  <a:pt x="2328481" y="2370747"/>
                </a:lnTo>
                <a:lnTo>
                  <a:pt x="2315159" y="2413038"/>
                </a:lnTo>
                <a:lnTo>
                  <a:pt x="2303602" y="2455659"/>
                </a:lnTo>
                <a:lnTo>
                  <a:pt x="2293797" y="2498572"/>
                </a:lnTo>
                <a:lnTo>
                  <a:pt x="2285720" y="2541765"/>
                </a:lnTo>
                <a:lnTo>
                  <a:pt x="2279358" y="2585174"/>
                </a:lnTo>
                <a:lnTo>
                  <a:pt x="2274684" y="2628773"/>
                </a:lnTo>
                <a:lnTo>
                  <a:pt x="2271674" y="2672524"/>
                </a:lnTo>
                <a:lnTo>
                  <a:pt x="2270328" y="2716390"/>
                </a:lnTo>
                <a:lnTo>
                  <a:pt x="2270607" y="2760345"/>
                </a:lnTo>
                <a:lnTo>
                  <a:pt x="2272512" y="2804337"/>
                </a:lnTo>
                <a:lnTo>
                  <a:pt x="2276005" y="2848343"/>
                </a:lnTo>
                <a:lnTo>
                  <a:pt x="2281072" y="2892323"/>
                </a:lnTo>
                <a:lnTo>
                  <a:pt x="2287701" y="2936240"/>
                </a:lnTo>
                <a:lnTo>
                  <a:pt x="2295855" y="2980055"/>
                </a:lnTo>
                <a:lnTo>
                  <a:pt x="2305545" y="3023730"/>
                </a:lnTo>
                <a:lnTo>
                  <a:pt x="2316721" y="3067227"/>
                </a:lnTo>
                <a:lnTo>
                  <a:pt x="2329383" y="3110522"/>
                </a:lnTo>
                <a:lnTo>
                  <a:pt x="2343505" y="3153575"/>
                </a:lnTo>
                <a:lnTo>
                  <a:pt x="2359063" y="3196348"/>
                </a:lnTo>
                <a:lnTo>
                  <a:pt x="2376055" y="3238804"/>
                </a:lnTo>
                <a:lnTo>
                  <a:pt x="2394445" y="3280905"/>
                </a:lnTo>
                <a:lnTo>
                  <a:pt x="2414219" y="3322612"/>
                </a:lnTo>
                <a:lnTo>
                  <a:pt x="2435352" y="3363899"/>
                </a:lnTo>
                <a:lnTo>
                  <a:pt x="2457831" y="3404717"/>
                </a:lnTo>
                <a:lnTo>
                  <a:pt x="2481643" y="3445052"/>
                </a:lnTo>
                <a:lnTo>
                  <a:pt x="2506764" y="3484842"/>
                </a:lnTo>
                <a:lnTo>
                  <a:pt x="2533167" y="3524059"/>
                </a:lnTo>
                <a:lnTo>
                  <a:pt x="2560840" y="3562667"/>
                </a:lnTo>
                <a:lnTo>
                  <a:pt x="2589758" y="3600640"/>
                </a:lnTo>
                <a:lnTo>
                  <a:pt x="2619921" y="3637940"/>
                </a:lnTo>
                <a:lnTo>
                  <a:pt x="2667711" y="3691877"/>
                </a:lnTo>
                <a:lnTo>
                  <a:pt x="2697264" y="3723856"/>
                </a:lnTo>
                <a:lnTo>
                  <a:pt x="2735681" y="3733203"/>
                </a:lnTo>
                <a:lnTo>
                  <a:pt x="2767368" y="3736225"/>
                </a:lnTo>
                <a:lnTo>
                  <a:pt x="2809354" y="3732860"/>
                </a:lnTo>
                <a:lnTo>
                  <a:pt x="2878620" y="3723030"/>
                </a:lnTo>
                <a:lnTo>
                  <a:pt x="2946184" y="3705136"/>
                </a:lnTo>
                <a:lnTo>
                  <a:pt x="3011652" y="3677666"/>
                </a:lnTo>
                <a:lnTo>
                  <a:pt x="3061119" y="3652494"/>
                </a:lnTo>
                <a:lnTo>
                  <a:pt x="2864904" y="3464864"/>
                </a:lnTo>
                <a:lnTo>
                  <a:pt x="2745194" y="3327311"/>
                </a:lnTo>
                <a:lnTo>
                  <a:pt x="2678582" y="3157982"/>
                </a:lnTo>
                <a:lnTo>
                  <a:pt x="2622080" y="2886075"/>
                </a:lnTo>
                <a:lnTo>
                  <a:pt x="2613075" y="2832951"/>
                </a:lnTo>
                <a:lnTo>
                  <a:pt x="2606497" y="2780817"/>
                </a:lnTo>
                <a:lnTo>
                  <a:pt x="2602268" y="2729700"/>
                </a:lnTo>
                <a:lnTo>
                  <a:pt x="2600337" y="2679611"/>
                </a:lnTo>
                <a:lnTo>
                  <a:pt x="2600642" y="2630576"/>
                </a:lnTo>
                <a:lnTo>
                  <a:pt x="2603131" y="2582583"/>
                </a:lnTo>
                <a:lnTo>
                  <a:pt x="2607741" y="2535669"/>
                </a:lnTo>
                <a:lnTo>
                  <a:pt x="2614396" y="2489847"/>
                </a:lnTo>
                <a:lnTo>
                  <a:pt x="2623058" y="2445131"/>
                </a:lnTo>
                <a:lnTo>
                  <a:pt x="2633649" y="2401519"/>
                </a:lnTo>
                <a:lnTo>
                  <a:pt x="2646121" y="2359050"/>
                </a:lnTo>
                <a:lnTo>
                  <a:pt x="2660421" y="2317724"/>
                </a:lnTo>
                <a:lnTo>
                  <a:pt x="2676461" y="2277554"/>
                </a:lnTo>
                <a:lnTo>
                  <a:pt x="2694216" y="2238578"/>
                </a:lnTo>
                <a:lnTo>
                  <a:pt x="2713596" y="2200783"/>
                </a:lnTo>
                <a:lnTo>
                  <a:pt x="2734564" y="2164194"/>
                </a:lnTo>
                <a:lnTo>
                  <a:pt x="2757043" y="2128824"/>
                </a:lnTo>
                <a:lnTo>
                  <a:pt x="2780969" y="2094699"/>
                </a:lnTo>
                <a:lnTo>
                  <a:pt x="2806306" y="2061819"/>
                </a:lnTo>
                <a:lnTo>
                  <a:pt x="2832976" y="2030209"/>
                </a:lnTo>
                <a:lnTo>
                  <a:pt x="2860929" y="1999881"/>
                </a:lnTo>
                <a:lnTo>
                  <a:pt x="2890101" y="1970849"/>
                </a:lnTo>
                <a:lnTo>
                  <a:pt x="2920415" y="1943138"/>
                </a:lnTo>
                <a:lnTo>
                  <a:pt x="2951848" y="1916734"/>
                </a:lnTo>
                <a:lnTo>
                  <a:pt x="2984296" y="1891690"/>
                </a:lnTo>
                <a:lnTo>
                  <a:pt x="3017736" y="1867992"/>
                </a:lnTo>
                <a:lnTo>
                  <a:pt x="3052102" y="1845665"/>
                </a:lnTo>
                <a:lnTo>
                  <a:pt x="3087306" y="1824723"/>
                </a:lnTo>
                <a:lnTo>
                  <a:pt x="3123323" y="1805178"/>
                </a:lnTo>
                <a:lnTo>
                  <a:pt x="3160064" y="1787055"/>
                </a:lnTo>
                <a:lnTo>
                  <a:pt x="3197491" y="1770367"/>
                </a:lnTo>
                <a:lnTo>
                  <a:pt x="3235541" y="1755114"/>
                </a:lnTo>
                <a:lnTo>
                  <a:pt x="3274149" y="1741335"/>
                </a:lnTo>
                <a:lnTo>
                  <a:pt x="3313239" y="1729016"/>
                </a:lnTo>
                <a:lnTo>
                  <a:pt x="3352787" y="1718195"/>
                </a:lnTo>
                <a:lnTo>
                  <a:pt x="3392703" y="1708886"/>
                </a:lnTo>
                <a:lnTo>
                  <a:pt x="3432937" y="1701088"/>
                </a:lnTo>
                <a:lnTo>
                  <a:pt x="3473424" y="1694827"/>
                </a:lnTo>
                <a:lnTo>
                  <a:pt x="3514115" y="1690116"/>
                </a:lnTo>
                <a:lnTo>
                  <a:pt x="3554946" y="1686966"/>
                </a:lnTo>
                <a:lnTo>
                  <a:pt x="3595852" y="1685404"/>
                </a:lnTo>
                <a:lnTo>
                  <a:pt x="3636772" y="1685429"/>
                </a:lnTo>
                <a:lnTo>
                  <a:pt x="3677653" y="1687068"/>
                </a:lnTo>
                <a:lnTo>
                  <a:pt x="3718445" y="1690331"/>
                </a:lnTo>
                <a:lnTo>
                  <a:pt x="3759060" y="1695234"/>
                </a:lnTo>
                <a:lnTo>
                  <a:pt x="3799459" y="1701800"/>
                </a:lnTo>
                <a:lnTo>
                  <a:pt x="3855212" y="1714982"/>
                </a:lnTo>
                <a:lnTo>
                  <a:pt x="3905059" y="1732648"/>
                </a:lnTo>
                <a:lnTo>
                  <a:pt x="3949141" y="1754365"/>
                </a:lnTo>
                <a:lnTo>
                  <a:pt x="3987571" y="1779651"/>
                </a:lnTo>
                <a:lnTo>
                  <a:pt x="4020477" y="1808060"/>
                </a:lnTo>
                <a:lnTo>
                  <a:pt x="4048010" y="1839150"/>
                </a:lnTo>
                <a:lnTo>
                  <a:pt x="4070273" y="1872437"/>
                </a:lnTo>
                <a:lnTo>
                  <a:pt x="4087406" y="1907489"/>
                </a:lnTo>
                <a:lnTo>
                  <a:pt x="4099547" y="1943836"/>
                </a:lnTo>
                <a:lnTo>
                  <a:pt x="4109326" y="2018601"/>
                </a:lnTo>
                <a:lnTo>
                  <a:pt x="4107230" y="2056117"/>
                </a:lnTo>
                <a:lnTo>
                  <a:pt x="4089717" y="2129117"/>
                </a:lnTo>
                <a:lnTo>
                  <a:pt x="4055287" y="2196363"/>
                </a:lnTo>
                <a:lnTo>
                  <a:pt x="4032059" y="2226691"/>
                </a:lnTo>
                <a:lnTo>
                  <a:pt x="4004983" y="2254224"/>
                </a:lnTo>
                <a:lnTo>
                  <a:pt x="3956304" y="2292197"/>
                </a:lnTo>
                <a:lnTo>
                  <a:pt x="3905377" y="2322436"/>
                </a:lnTo>
                <a:lnTo>
                  <a:pt x="3853142" y="2345715"/>
                </a:lnTo>
                <a:lnTo>
                  <a:pt x="3800525" y="2362822"/>
                </a:lnTo>
                <a:lnTo>
                  <a:pt x="3748468" y="2374569"/>
                </a:lnTo>
                <a:lnTo>
                  <a:pt x="3697922" y="2381707"/>
                </a:lnTo>
                <a:lnTo>
                  <a:pt x="3649802" y="2385060"/>
                </a:lnTo>
                <a:lnTo>
                  <a:pt x="3605072" y="2385403"/>
                </a:lnTo>
                <a:lnTo>
                  <a:pt x="3564661" y="2383523"/>
                </a:lnTo>
                <a:lnTo>
                  <a:pt x="3529507" y="2380221"/>
                </a:lnTo>
                <a:lnTo>
                  <a:pt x="3569081" y="2405126"/>
                </a:lnTo>
                <a:lnTo>
                  <a:pt x="3608247" y="2434031"/>
                </a:lnTo>
                <a:lnTo>
                  <a:pt x="3646703" y="2466797"/>
                </a:lnTo>
                <a:lnTo>
                  <a:pt x="3684143" y="2503284"/>
                </a:lnTo>
                <a:lnTo>
                  <a:pt x="3720249" y="2543352"/>
                </a:lnTo>
                <a:lnTo>
                  <a:pt x="3754742" y="2586888"/>
                </a:lnTo>
                <a:lnTo>
                  <a:pt x="3787317" y="2633738"/>
                </a:lnTo>
                <a:lnTo>
                  <a:pt x="3983418" y="2607856"/>
                </a:lnTo>
                <a:lnTo>
                  <a:pt x="4103928" y="2566911"/>
                </a:lnTo>
                <a:lnTo>
                  <a:pt x="4198480" y="2481846"/>
                </a:lnTo>
                <a:lnTo>
                  <a:pt x="4316679" y="2323579"/>
                </a:lnTo>
                <a:lnTo>
                  <a:pt x="4337837" y="2291003"/>
                </a:lnTo>
                <a:lnTo>
                  <a:pt x="4355554" y="2257158"/>
                </a:lnTo>
                <a:lnTo>
                  <a:pt x="4380674" y="2186406"/>
                </a:lnTo>
                <a:lnTo>
                  <a:pt x="4391952" y="2112797"/>
                </a:lnTo>
                <a:lnTo>
                  <a:pt x="4392396" y="2075383"/>
                </a:lnTo>
                <a:close/>
              </a:path>
              <a:path w="8400415" h="3736340">
                <a:moveTo>
                  <a:pt x="8399793" y="2987103"/>
                </a:moveTo>
                <a:lnTo>
                  <a:pt x="8398624" y="2942691"/>
                </a:lnTo>
                <a:lnTo>
                  <a:pt x="8392681" y="2898698"/>
                </a:lnTo>
                <a:lnTo>
                  <a:pt x="8381797" y="2855582"/>
                </a:lnTo>
                <a:lnTo>
                  <a:pt x="8365769" y="2813799"/>
                </a:lnTo>
                <a:lnTo>
                  <a:pt x="8344382" y="2773807"/>
                </a:lnTo>
                <a:lnTo>
                  <a:pt x="8317458" y="2736037"/>
                </a:lnTo>
                <a:lnTo>
                  <a:pt x="8284794" y="2700972"/>
                </a:lnTo>
                <a:lnTo>
                  <a:pt x="8212404" y="2690838"/>
                </a:lnTo>
                <a:lnTo>
                  <a:pt x="8171993" y="2686723"/>
                </a:lnTo>
                <a:lnTo>
                  <a:pt x="8085087" y="2684386"/>
                </a:lnTo>
                <a:lnTo>
                  <a:pt x="8033245" y="2688107"/>
                </a:lnTo>
                <a:lnTo>
                  <a:pt x="7982775" y="2695371"/>
                </a:lnTo>
                <a:lnTo>
                  <a:pt x="7933791" y="2705963"/>
                </a:lnTo>
                <a:lnTo>
                  <a:pt x="7968488" y="2741549"/>
                </a:lnTo>
                <a:lnTo>
                  <a:pt x="7995602" y="2779992"/>
                </a:lnTo>
                <a:lnTo>
                  <a:pt x="8015579" y="2820720"/>
                </a:lnTo>
                <a:lnTo>
                  <a:pt x="8028813" y="2863189"/>
                </a:lnTo>
                <a:lnTo>
                  <a:pt x="8035747" y="2906839"/>
                </a:lnTo>
                <a:lnTo>
                  <a:pt x="8036788" y="2951099"/>
                </a:lnTo>
                <a:lnTo>
                  <a:pt x="8032369" y="2995422"/>
                </a:lnTo>
                <a:lnTo>
                  <a:pt x="8022895" y="3039262"/>
                </a:lnTo>
                <a:lnTo>
                  <a:pt x="8008810" y="3082061"/>
                </a:lnTo>
                <a:lnTo>
                  <a:pt x="7990510" y="3123247"/>
                </a:lnTo>
                <a:lnTo>
                  <a:pt x="7970177" y="3158921"/>
                </a:lnTo>
                <a:lnTo>
                  <a:pt x="7946771" y="3191078"/>
                </a:lnTo>
                <a:lnTo>
                  <a:pt x="7920469" y="3219843"/>
                </a:lnTo>
                <a:lnTo>
                  <a:pt x="7891450" y="3245332"/>
                </a:lnTo>
                <a:lnTo>
                  <a:pt x="7859903" y="3267659"/>
                </a:lnTo>
                <a:lnTo>
                  <a:pt x="7826007" y="3286950"/>
                </a:lnTo>
                <a:lnTo>
                  <a:pt x="7789939" y="3303308"/>
                </a:lnTo>
                <a:lnTo>
                  <a:pt x="7751889" y="3316859"/>
                </a:lnTo>
                <a:lnTo>
                  <a:pt x="7712037" y="3327717"/>
                </a:lnTo>
                <a:lnTo>
                  <a:pt x="7670559" y="3336010"/>
                </a:lnTo>
                <a:lnTo>
                  <a:pt x="7627658" y="3341840"/>
                </a:lnTo>
                <a:lnTo>
                  <a:pt x="7583487" y="3345345"/>
                </a:lnTo>
                <a:lnTo>
                  <a:pt x="7538250" y="3346627"/>
                </a:lnTo>
                <a:lnTo>
                  <a:pt x="7492111" y="3345815"/>
                </a:lnTo>
                <a:lnTo>
                  <a:pt x="7445273" y="3343021"/>
                </a:lnTo>
                <a:lnTo>
                  <a:pt x="7397902" y="3338360"/>
                </a:lnTo>
                <a:lnTo>
                  <a:pt x="7350188" y="3331959"/>
                </a:lnTo>
                <a:lnTo>
                  <a:pt x="7302309" y="3323920"/>
                </a:lnTo>
                <a:lnTo>
                  <a:pt x="7254443" y="3314382"/>
                </a:lnTo>
                <a:lnTo>
                  <a:pt x="7206793" y="3303447"/>
                </a:lnTo>
                <a:lnTo>
                  <a:pt x="7159523" y="3291230"/>
                </a:lnTo>
                <a:lnTo>
                  <a:pt x="7112813" y="3277870"/>
                </a:lnTo>
                <a:lnTo>
                  <a:pt x="7066851" y="3263468"/>
                </a:lnTo>
                <a:lnTo>
                  <a:pt x="7021830" y="3248152"/>
                </a:lnTo>
                <a:lnTo>
                  <a:pt x="6977913" y="3232023"/>
                </a:lnTo>
                <a:lnTo>
                  <a:pt x="6935292" y="3215221"/>
                </a:lnTo>
                <a:lnTo>
                  <a:pt x="6894144" y="3197847"/>
                </a:lnTo>
                <a:lnTo>
                  <a:pt x="6854660" y="3180016"/>
                </a:lnTo>
                <a:lnTo>
                  <a:pt x="6817017" y="3161868"/>
                </a:lnTo>
                <a:lnTo>
                  <a:pt x="6781393" y="3143504"/>
                </a:lnTo>
                <a:lnTo>
                  <a:pt x="6747980" y="3125051"/>
                </a:lnTo>
                <a:lnTo>
                  <a:pt x="6688493" y="3088322"/>
                </a:lnTo>
                <a:lnTo>
                  <a:pt x="6645186" y="3058604"/>
                </a:lnTo>
                <a:lnTo>
                  <a:pt x="6602438" y="3028086"/>
                </a:lnTo>
                <a:lnTo>
                  <a:pt x="6560236" y="2996768"/>
                </a:lnTo>
                <a:lnTo>
                  <a:pt x="6518567" y="2964700"/>
                </a:lnTo>
                <a:lnTo>
                  <a:pt x="6477432" y="2931909"/>
                </a:lnTo>
                <a:lnTo>
                  <a:pt x="6436804" y="2898406"/>
                </a:lnTo>
                <a:lnTo>
                  <a:pt x="6396685" y="2864231"/>
                </a:lnTo>
                <a:lnTo>
                  <a:pt x="6357086" y="2829407"/>
                </a:lnTo>
                <a:lnTo>
                  <a:pt x="6317970" y="2793962"/>
                </a:lnTo>
                <a:lnTo>
                  <a:pt x="6279337" y="2757919"/>
                </a:lnTo>
                <a:lnTo>
                  <a:pt x="6241186" y="2721305"/>
                </a:lnTo>
                <a:lnTo>
                  <a:pt x="6203505" y="2684157"/>
                </a:lnTo>
                <a:lnTo>
                  <a:pt x="6166282" y="2646489"/>
                </a:lnTo>
                <a:lnTo>
                  <a:pt x="6129502" y="2608351"/>
                </a:lnTo>
                <a:lnTo>
                  <a:pt x="6093180" y="2569743"/>
                </a:lnTo>
                <a:lnTo>
                  <a:pt x="6057290" y="2530703"/>
                </a:lnTo>
                <a:lnTo>
                  <a:pt x="6021832" y="2491270"/>
                </a:lnTo>
                <a:lnTo>
                  <a:pt x="5986780" y="2451455"/>
                </a:lnTo>
                <a:lnTo>
                  <a:pt x="5952147" y="2411285"/>
                </a:lnTo>
                <a:lnTo>
                  <a:pt x="5917920" y="2370798"/>
                </a:lnTo>
                <a:lnTo>
                  <a:pt x="5884088" y="2330018"/>
                </a:lnTo>
                <a:lnTo>
                  <a:pt x="5850636" y="2288971"/>
                </a:lnTo>
                <a:lnTo>
                  <a:pt x="5817552" y="2247684"/>
                </a:lnTo>
                <a:lnTo>
                  <a:pt x="5784850" y="2206180"/>
                </a:lnTo>
                <a:lnTo>
                  <a:pt x="5752503" y="2164486"/>
                </a:lnTo>
                <a:lnTo>
                  <a:pt x="5720512" y="2122640"/>
                </a:lnTo>
                <a:lnTo>
                  <a:pt x="5688863" y="2080666"/>
                </a:lnTo>
                <a:lnTo>
                  <a:pt x="5657558" y="2038578"/>
                </a:lnTo>
                <a:lnTo>
                  <a:pt x="5626570" y="1996427"/>
                </a:lnTo>
                <a:lnTo>
                  <a:pt x="5595912" y="1954212"/>
                </a:lnTo>
                <a:lnTo>
                  <a:pt x="5535498" y="1869770"/>
                </a:lnTo>
                <a:lnTo>
                  <a:pt x="5476265" y="1785442"/>
                </a:lnTo>
                <a:lnTo>
                  <a:pt x="5418137" y="1701457"/>
                </a:lnTo>
                <a:lnTo>
                  <a:pt x="5304955" y="1535417"/>
                </a:lnTo>
                <a:lnTo>
                  <a:pt x="5141823" y="1294409"/>
                </a:lnTo>
                <a:lnTo>
                  <a:pt x="5062766" y="1179131"/>
                </a:lnTo>
                <a:lnTo>
                  <a:pt x="5010836" y="1104696"/>
                </a:lnTo>
                <a:lnTo>
                  <a:pt x="4959451" y="1032471"/>
                </a:lnTo>
                <a:lnTo>
                  <a:pt x="4933937" y="997254"/>
                </a:lnTo>
                <a:lnTo>
                  <a:pt x="4908537" y="962672"/>
                </a:lnTo>
                <a:lnTo>
                  <a:pt x="4883239" y="928738"/>
                </a:lnTo>
                <a:lnTo>
                  <a:pt x="4858029" y="895502"/>
                </a:lnTo>
                <a:lnTo>
                  <a:pt x="4832909" y="862965"/>
                </a:lnTo>
                <a:lnTo>
                  <a:pt x="4807864" y="831176"/>
                </a:lnTo>
                <a:lnTo>
                  <a:pt x="4782896" y="800163"/>
                </a:lnTo>
                <a:lnTo>
                  <a:pt x="4757979" y="769937"/>
                </a:lnTo>
                <a:lnTo>
                  <a:pt x="4733112" y="740537"/>
                </a:lnTo>
                <a:lnTo>
                  <a:pt x="4669752" y="669391"/>
                </a:lnTo>
                <a:lnTo>
                  <a:pt x="4630598" y="628269"/>
                </a:lnTo>
                <a:lnTo>
                  <a:pt x="4590859" y="588606"/>
                </a:lnTo>
                <a:lnTo>
                  <a:pt x="4550575" y="550392"/>
                </a:lnTo>
                <a:lnTo>
                  <a:pt x="4509757" y="513600"/>
                </a:lnTo>
                <a:lnTo>
                  <a:pt x="4468431" y="478218"/>
                </a:lnTo>
                <a:lnTo>
                  <a:pt x="4426623" y="444246"/>
                </a:lnTo>
                <a:lnTo>
                  <a:pt x="4384357" y="411657"/>
                </a:lnTo>
                <a:lnTo>
                  <a:pt x="4341660" y="380428"/>
                </a:lnTo>
                <a:lnTo>
                  <a:pt x="4298543" y="350558"/>
                </a:lnTo>
                <a:lnTo>
                  <a:pt x="4255059" y="322021"/>
                </a:lnTo>
                <a:lnTo>
                  <a:pt x="4211205" y="294817"/>
                </a:lnTo>
                <a:lnTo>
                  <a:pt x="4167022" y="268922"/>
                </a:lnTo>
                <a:lnTo>
                  <a:pt x="4122521" y="244322"/>
                </a:lnTo>
                <a:lnTo>
                  <a:pt x="4077741" y="220992"/>
                </a:lnTo>
                <a:lnTo>
                  <a:pt x="4032694" y="198932"/>
                </a:lnTo>
                <a:lnTo>
                  <a:pt x="3987406" y="178117"/>
                </a:lnTo>
                <a:lnTo>
                  <a:pt x="3941915" y="158546"/>
                </a:lnTo>
                <a:lnTo>
                  <a:pt x="3896233" y="140182"/>
                </a:lnTo>
                <a:lnTo>
                  <a:pt x="3850386" y="123024"/>
                </a:lnTo>
                <a:lnTo>
                  <a:pt x="3804399" y="107061"/>
                </a:lnTo>
                <a:lnTo>
                  <a:pt x="3758298" y="92265"/>
                </a:lnTo>
                <a:lnTo>
                  <a:pt x="3712108" y="78638"/>
                </a:lnTo>
                <a:lnTo>
                  <a:pt x="3665855" y="66154"/>
                </a:lnTo>
                <a:lnTo>
                  <a:pt x="3619563" y="54787"/>
                </a:lnTo>
                <a:lnTo>
                  <a:pt x="3573246" y="44538"/>
                </a:lnTo>
                <a:lnTo>
                  <a:pt x="3526955" y="35394"/>
                </a:lnTo>
                <a:lnTo>
                  <a:pt x="3480676" y="27330"/>
                </a:lnTo>
                <a:lnTo>
                  <a:pt x="3434461" y="20345"/>
                </a:lnTo>
                <a:lnTo>
                  <a:pt x="3388334" y="14401"/>
                </a:lnTo>
                <a:lnTo>
                  <a:pt x="3342309" y="9499"/>
                </a:lnTo>
                <a:lnTo>
                  <a:pt x="3296412" y="5626"/>
                </a:lnTo>
                <a:lnTo>
                  <a:pt x="3250666" y="2755"/>
                </a:lnTo>
                <a:lnTo>
                  <a:pt x="3205111" y="889"/>
                </a:lnTo>
                <a:lnTo>
                  <a:pt x="3159747" y="0"/>
                </a:lnTo>
                <a:lnTo>
                  <a:pt x="3114624" y="63"/>
                </a:lnTo>
                <a:lnTo>
                  <a:pt x="3069742" y="1092"/>
                </a:lnTo>
                <a:lnTo>
                  <a:pt x="3025152" y="3035"/>
                </a:lnTo>
                <a:lnTo>
                  <a:pt x="2980855" y="5918"/>
                </a:lnTo>
                <a:lnTo>
                  <a:pt x="2936887" y="9690"/>
                </a:lnTo>
                <a:lnTo>
                  <a:pt x="2893276" y="14363"/>
                </a:lnTo>
                <a:lnTo>
                  <a:pt x="2850032" y="19900"/>
                </a:lnTo>
                <a:lnTo>
                  <a:pt x="2807182" y="26301"/>
                </a:lnTo>
                <a:lnTo>
                  <a:pt x="2764777" y="33540"/>
                </a:lnTo>
                <a:lnTo>
                  <a:pt x="2722803" y="41617"/>
                </a:lnTo>
                <a:lnTo>
                  <a:pt x="2681313" y="50507"/>
                </a:lnTo>
                <a:lnTo>
                  <a:pt x="2640317" y="60198"/>
                </a:lnTo>
                <a:lnTo>
                  <a:pt x="2599842" y="70662"/>
                </a:lnTo>
                <a:lnTo>
                  <a:pt x="2559926" y="81915"/>
                </a:lnTo>
                <a:lnTo>
                  <a:pt x="2520569" y="93903"/>
                </a:lnTo>
                <a:lnTo>
                  <a:pt x="2481808" y="106641"/>
                </a:lnTo>
                <a:lnTo>
                  <a:pt x="2443670" y="120103"/>
                </a:lnTo>
                <a:lnTo>
                  <a:pt x="2406180" y="134264"/>
                </a:lnTo>
                <a:lnTo>
                  <a:pt x="2369362" y="149136"/>
                </a:lnTo>
                <a:lnTo>
                  <a:pt x="2333244" y="164668"/>
                </a:lnTo>
                <a:lnTo>
                  <a:pt x="2297836" y="180873"/>
                </a:lnTo>
                <a:lnTo>
                  <a:pt x="2263165" y="197739"/>
                </a:lnTo>
                <a:lnTo>
                  <a:pt x="2223020" y="218732"/>
                </a:lnTo>
                <a:lnTo>
                  <a:pt x="2183892" y="240906"/>
                </a:lnTo>
                <a:lnTo>
                  <a:pt x="2145779" y="264261"/>
                </a:lnTo>
                <a:lnTo>
                  <a:pt x="2108695" y="288747"/>
                </a:lnTo>
                <a:lnTo>
                  <a:pt x="2072601" y="314363"/>
                </a:lnTo>
                <a:lnTo>
                  <a:pt x="2037537" y="341058"/>
                </a:lnTo>
                <a:lnTo>
                  <a:pt x="2003463" y="368820"/>
                </a:lnTo>
                <a:lnTo>
                  <a:pt x="1970392" y="397624"/>
                </a:lnTo>
                <a:lnTo>
                  <a:pt x="1938312" y="427443"/>
                </a:lnTo>
                <a:lnTo>
                  <a:pt x="1907235" y="458254"/>
                </a:lnTo>
                <a:lnTo>
                  <a:pt x="1877148" y="490016"/>
                </a:lnTo>
                <a:lnTo>
                  <a:pt x="1848040" y="522732"/>
                </a:lnTo>
                <a:lnTo>
                  <a:pt x="1819922" y="556361"/>
                </a:lnTo>
                <a:lnTo>
                  <a:pt x="1792795" y="590867"/>
                </a:lnTo>
                <a:lnTo>
                  <a:pt x="1766633" y="626249"/>
                </a:lnTo>
                <a:lnTo>
                  <a:pt x="1741449" y="662457"/>
                </a:lnTo>
                <a:lnTo>
                  <a:pt x="1717230" y="699477"/>
                </a:lnTo>
                <a:lnTo>
                  <a:pt x="1693989" y="737298"/>
                </a:lnTo>
                <a:lnTo>
                  <a:pt x="1671701" y="775868"/>
                </a:lnTo>
                <a:lnTo>
                  <a:pt x="1650377" y="815174"/>
                </a:lnTo>
                <a:lnTo>
                  <a:pt x="1630006" y="855192"/>
                </a:lnTo>
                <a:lnTo>
                  <a:pt x="1610601" y="895896"/>
                </a:lnTo>
                <a:lnTo>
                  <a:pt x="1592135" y="937272"/>
                </a:lnTo>
                <a:lnTo>
                  <a:pt x="1574622" y="979271"/>
                </a:lnTo>
                <a:lnTo>
                  <a:pt x="1558061" y="1021880"/>
                </a:lnTo>
                <a:lnTo>
                  <a:pt x="1542427" y="1065072"/>
                </a:lnTo>
                <a:lnTo>
                  <a:pt x="1527733" y="1108824"/>
                </a:lnTo>
                <a:lnTo>
                  <a:pt x="1513979" y="1153109"/>
                </a:lnTo>
                <a:lnTo>
                  <a:pt x="1501152" y="1197914"/>
                </a:lnTo>
                <a:lnTo>
                  <a:pt x="1489252" y="1243190"/>
                </a:lnTo>
                <a:lnTo>
                  <a:pt x="1478267" y="1288923"/>
                </a:lnTo>
                <a:lnTo>
                  <a:pt x="1468221" y="1335100"/>
                </a:lnTo>
                <a:lnTo>
                  <a:pt x="1459077" y="1381671"/>
                </a:lnTo>
                <a:lnTo>
                  <a:pt x="1450848" y="1428623"/>
                </a:lnTo>
                <a:lnTo>
                  <a:pt x="1443532" y="1475943"/>
                </a:lnTo>
                <a:lnTo>
                  <a:pt x="1437132" y="1523580"/>
                </a:lnTo>
                <a:lnTo>
                  <a:pt x="1431632" y="1571536"/>
                </a:lnTo>
                <a:lnTo>
                  <a:pt x="1427022" y="1619770"/>
                </a:lnTo>
                <a:lnTo>
                  <a:pt x="1423314" y="1668246"/>
                </a:lnTo>
                <a:lnTo>
                  <a:pt x="1420507" y="1716963"/>
                </a:lnTo>
                <a:lnTo>
                  <a:pt x="1418590" y="1765884"/>
                </a:lnTo>
                <a:lnTo>
                  <a:pt x="1417548" y="1814982"/>
                </a:lnTo>
                <a:lnTo>
                  <a:pt x="1417396" y="1864245"/>
                </a:lnTo>
                <a:lnTo>
                  <a:pt x="1418132" y="1913623"/>
                </a:lnTo>
                <a:lnTo>
                  <a:pt x="1419733" y="1963102"/>
                </a:lnTo>
                <a:lnTo>
                  <a:pt x="1422209" y="2012670"/>
                </a:lnTo>
                <a:lnTo>
                  <a:pt x="1425562" y="2062276"/>
                </a:lnTo>
                <a:lnTo>
                  <a:pt x="1429778" y="2111921"/>
                </a:lnTo>
                <a:lnTo>
                  <a:pt x="1434858" y="2161565"/>
                </a:lnTo>
                <a:lnTo>
                  <a:pt x="1440802" y="2211184"/>
                </a:lnTo>
                <a:lnTo>
                  <a:pt x="1447596" y="2260765"/>
                </a:lnTo>
                <a:lnTo>
                  <a:pt x="1455254" y="2310257"/>
                </a:lnTo>
                <a:lnTo>
                  <a:pt x="1463751" y="2359660"/>
                </a:lnTo>
                <a:lnTo>
                  <a:pt x="1473111" y="2408923"/>
                </a:lnTo>
                <a:lnTo>
                  <a:pt x="1483296" y="2458047"/>
                </a:lnTo>
                <a:lnTo>
                  <a:pt x="1494332" y="2506992"/>
                </a:lnTo>
                <a:lnTo>
                  <a:pt x="1506194" y="2555748"/>
                </a:lnTo>
                <a:lnTo>
                  <a:pt x="1518907" y="2604262"/>
                </a:lnTo>
                <a:lnTo>
                  <a:pt x="1532432" y="2652534"/>
                </a:lnTo>
                <a:lnTo>
                  <a:pt x="1546796" y="2700528"/>
                </a:lnTo>
                <a:lnTo>
                  <a:pt x="1511693" y="2688031"/>
                </a:lnTo>
                <a:lnTo>
                  <a:pt x="1445272" y="2652966"/>
                </a:lnTo>
                <a:lnTo>
                  <a:pt x="1414005" y="2630703"/>
                </a:lnTo>
                <a:lnTo>
                  <a:pt x="1384071" y="2605494"/>
                </a:lnTo>
                <a:lnTo>
                  <a:pt x="1355471" y="2577515"/>
                </a:lnTo>
                <a:lnTo>
                  <a:pt x="1328254" y="2546934"/>
                </a:lnTo>
                <a:lnTo>
                  <a:pt x="1302423" y="2513888"/>
                </a:lnTo>
                <a:lnTo>
                  <a:pt x="1278001" y="2478570"/>
                </a:lnTo>
                <a:lnTo>
                  <a:pt x="1255026" y="2441105"/>
                </a:lnTo>
                <a:lnTo>
                  <a:pt x="1233500" y="2401684"/>
                </a:lnTo>
                <a:lnTo>
                  <a:pt x="1213459" y="2360460"/>
                </a:lnTo>
                <a:lnTo>
                  <a:pt x="1194917" y="2317585"/>
                </a:lnTo>
                <a:lnTo>
                  <a:pt x="1177899" y="2273236"/>
                </a:lnTo>
                <a:lnTo>
                  <a:pt x="1162431" y="2227567"/>
                </a:lnTo>
                <a:lnTo>
                  <a:pt x="1148524" y="2180729"/>
                </a:lnTo>
                <a:lnTo>
                  <a:pt x="1136205" y="2132901"/>
                </a:lnTo>
                <a:lnTo>
                  <a:pt x="1125512" y="2084247"/>
                </a:lnTo>
                <a:lnTo>
                  <a:pt x="1116444" y="2034908"/>
                </a:lnTo>
                <a:lnTo>
                  <a:pt x="1109027" y="1985073"/>
                </a:lnTo>
                <a:lnTo>
                  <a:pt x="1103299" y="1934870"/>
                </a:lnTo>
                <a:lnTo>
                  <a:pt x="1099261" y="1884489"/>
                </a:lnTo>
                <a:lnTo>
                  <a:pt x="1096949" y="1834083"/>
                </a:lnTo>
                <a:lnTo>
                  <a:pt x="1096391" y="1783803"/>
                </a:lnTo>
                <a:lnTo>
                  <a:pt x="1097584" y="1733829"/>
                </a:lnTo>
                <a:lnTo>
                  <a:pt x="1100582" y="1684312"/>
                </a:lnTo>
                <a:lnTo>
                  <a:pt x="1105382" y="1635417"/>
                </a:lnTo>
                <a:lnTo>
                  <a:pt x="1112012" y="1587296"/>
                </a:lnTo>
                <a:lnTo>
                  <a:pt x="1120495" y="1540129"/>
                </a:lnTo>
                <a:lnTo>
                  <a:pt x="1130871" y="1494053"/>
                </a:lnTo>
                <a:lnTo>
                  <a:pt x="1143127" y="1449260"/>
                </a:lnTo>
                <a:lnTo>
                  <a:pt x="1157312" y="1405890"/>
                </a:lnTo>
                <a:lnTo>
                  <a:pt x="1173441" y="1364107"/>
                </a:lnTo>
                <a:lnTo>
                  <a:pt x="1146327" y="1372616"/>
                </a:lnTo>
                <a:lnTo>
                  <a:pt x="1091044" y="1388084"/>
                </a:lnTo>
                <a:lnTo>
                  <a:pt x="1010666" y="1406055"/>
                </a:lnTo>
                <a:lnTo>
                  <a:pt x="958596" y="1414830"/>
                </a:lnTo>
                <a:lnTo>
                  <a:pt x="906754" y="1421422"/>
                </a:lnTo>
                <a:lnTo>
                  <a:pt x="855218" y="1425841"/>
                </a:lnTo>
                <a:lnTo>
                  <a:pt x="804062" y="1428153"/>
                </a:lnTo>
                <a:lnTo>
                  <a:pt x="753364" y="1428369"/>
                </a:lnTo>
                <a:lnTo>
                  <a:pt x="703186" y="1426540"/>
                </a:lnTo>
                <a:lnTo>
                  <a:pt x="653605" y="1422692"/>
                </a:lnTo>
                <a:lnTo>
                  <a:pt x="604685" y="1416862"/>
                </a:lnTo>
                <a:lnTo>
                  <a:pt x="556526" y="1409103"/>
                </a:lnTo>
                <a:lnTo>
                  <a:pt x="509168" y="1399425"/>
                </a:lnTo>
                <a:lnTo>
                  <a:pt x="462711" y="1387881"/>
                </a:lnTo>
                <a:lnTo>
                  <a:pt x="417220" y="1374508"/>
                </a:lnTo>
                <a:lnTo>
                  <a:pt x="372757" y="1359331"/>
                </a:lnTo>
                <a:lnTo>
                  <a:pt x="329412" y="1342390"/>
                </a:lnTo>
                <a:lnTo>
                  <a:pt x="287248" y="1323721"/>
                </a:lnTo>
                <a:lnTo>
                  <a:pt x="246341" y="1303362"/>
                </a:lnTo>
                <a:lnTo>
                  <a:pt x="206756" y="1281353"/>
                </a:lnTo>
                <a:lnTo>
                  <a:pt x="168592" y="1257719"/>
                </a:lnTo>
                <a:lnTo>
                  <a:pt x="131889" y="1232496"/>
                </a:lnTo>
                <a:lnTo>
                  <a:pt x="96748" y="1205738"/>
                </a:lnTo>
                <a:lnTo>
                  <a:pt x="63220" y="1177455"/>
                </a:lnTo>
                <a:lnTo>
                  <a:pt x="31394" y="1147711"/>
                </a:lnTo>
                <a:lnTo>
                  <a:pt x="1333" y="1116520"/>
                </a:lnTo>
                <a:lnTo>
                  <a:pt x="0" y="1121333"/>
                </a:lnTo>
                <a:lnTo>
                  <a:pt x="23418" y="1174991"/>
                </a:lnTo>
                <a:lnTo>
                  <a:pt x="46037" y="1217637"/>
                </a:lnTo>
                <a:lnTo>
                  <a:pt x="70675" y="1258519"/>
                </a:lnTo>
                <a:lnTo>
                  <a:pt x="97320" y="1297559"/>
                </a:lnTo>
                <a:lnTo>
                  <a:pt x="125945" y="1334731"/>
                </a:lnTo>
                <a:lnTo>
                  <a:pt x="156540" y="1369974"/>
                </a:lnTo>
                <a:lnTo>
                  <a:pt x="189077" y="1403235"/>
                </a:lnTo>
                <a:lnTo>
                  <a:pt x="223545" y="1434439"/>
                </a:lnTo>
                <a:lnTo>
                  <a:pt x="259930" y="1463560"/>
                </a:lnTo>
                <a:lnTo>
                  <a:pt x="298221" y="1490535"/>
                </a:lnTo>
                <a:lnTo>
                  <a:pt x="338378" y="1515313"/>
                </a:lnTo>
                <a:lnTo>
                  <a:pt x="380403" y="1537830"/>
                </a:lnTo>
                <a:lnTo>
                  <a:pt x="424268" y="1558036"/>
                </a:lnTo>
                <a:lnTo>
                  <a:pt x="469950" y="1575892"/>
                </a:lnTo>
                <a:lnTo>
                  <a:pt x="517448" y="1591322"/>
                </a:lnTo>
                <a:lnTo>
                  <a:pt x="566750" y="1604289"/>
                </a:lnTo>
                <a:lnTo>
                  <a:pt x="617804" y="1614728"/>
                </a:lnTo>
                <a:lnTo>
                  <a:pt x="670636" y="1622590"/>
                </a:lnTo>
                <a:lnTo>
                  <a:pt x="725195" y="1627835"/>
                </a:lnTo>
                <a:lnTo>
                  <a:pt x="781469" y="1630387"/>
                </a:lnTo>
                <a:lnTo>
                  <a:pt x="780707" y="1697189"/>
                </a:lnTo>
                <a:lnTo>
                  <a:pt x="781672" y="1761921"/>
                </a:lnTo>
                <a:lnTo>
                  <a:pt x="784313" y="1824621"/>
                </a:lnTo>
                <a:lnTo>
                  <a:pt x="788593" y="1885302"/>
                </a:lnTo>
                <a:lnTo>
                  <a:pt x="794499" y="1943976"/>
                </a:lnTo>
                <a:lnTo>
                  <a:pt x="801954" y="2000681"/>
                </a:lnTo>
                <a:lnTo>
                  <a:pt x="810958" y="2055431"/>
                </a:lnTo>
                <a:lnTo>
                  <a:pt x="821448" y="2108263"/>
                </a:lnTo>
                <a:lnTo>
                  <a:pt x="833412" y="2159177"/>
                </a:lnTo>
                <a:lnTo>
                  <a:pt x="846785" y="2208212"/>
                </a:lnTo>
                <a:lnTo>
                  <a:pt x="861555" y="2255380"/>
                </a:lnTo>
                <a:lnTo>
                  <a:pt x="877671" y="2300706"/>
                </a:lnTo>
                <a:lnTo>
                  <a:pt x="895096" y="2344216"/>
                </a:lnTo>
                <a:lnTo>
                  <a:pt x="913803" y="2385936"/>
                </a:lnTo>
                <a:lnTo>
                  <a:pt x="933742" y="2425877"/>
                </a:lnTo>
                <a:lnTo>
                  <a:pt x="954900" y="2464079"/>
                </a:lnTo>
                <a:lnTo>
                  <a:pt x="977201" y="2500553"/>
                </a:lnTo>
                <a:lnTo>
                  <a:pt x="1000645" y="2535313"/>
                </a:lnTo>
                <a:lnTo>
                  <a:pt x="1025182" y="2568397"/>
                </a:lnTo>
                <a:lnTo>
                  <a:pt x="1050759" y="2599817"/>
                </a:lnTo>
                <a:lnTo>
                  <a:pt x="1077366" y="2629598"/>
                </a:lnTo>
                <a:lnTo>
                  <a:pt x="1104950" y="2657767"/>
                </a:lnTo>
                <a:lnTo>
                  <a:pt x="1133475" y="2684348"/>
                </a:lnTo>
                <a:lnTo>
                  <a:pt x="1162913" y="2709354"/>
                </a:lnTo>
                <a:lnTo>
                  <a:pt x="1193228" y="2732811"/>
                </a:lnTo>
                <a:lnTo>
                  <a:pt x="1256296" y="2775178"/>
                </a:lnTo>
                <a:lnTo>
                  <a:pt x="1322412" y="2811615"/>
                </a:lnTo>
                <a:lnTo>
                  <a:pt x="1391272" y="2842323"/>
                </a:lnTo>
                <a:lnTo>
                  <a:pt x="1462582" y="2867469"/>
                </a:lnTo>
                <a:lnTo>
                  <a:pt x="1536052" y="2887230"/>
                </a:lnTo>
                <a:lnTo>
                  <a:pt x="1573491" y="2895142"/>
                </a:lnTo>
                <a:lnTo>
                  <a:pt x="1611376" y="2901785"/>
                </a:lnTo>
                <a:lnTo>
                  <a:pt x="1649641" y="2907169"/>
                </a:lnTo>
                <a:lnTo>
                  <a:pt x="1688261" y="2911322"/>
                </a:lnTo>
                <a:lnTo>
                  <a:pt x="1727200" y="2914269"/>
                </a:lnTo>
                <a:lnTo>
                  <a:pt x="1766417" y="2916021"/>
                </a:lnTo>
                <a:lnTo>
                  <a:pt x="1805876" y="2916605"/>
                </a:lnTo>
                <a:lnTo>
                  <a:pt x="1845551" y="2916059"/>
                </a:lnTo>
                <a:lnTo>
                  <a:pt x="1885391" y="2914383"/>
                </a:lnTo>
                <a:lnTo>
                  <a:pt x="1925358" y="2911614"/>
                </a:lnTo>
                <a:lnTo>
                  <a:pt x="1906905" y="2874695"/>
                </a:lnTo>
                <a:lnTo>
                  <a:pt x="1889518" y="2835833"/>
                </a:lnTo>
                <a:lnTo>
                  <a:pt x="1873199" y="2795155"/>
                </a:lnTo>
                <a:lnTo>
                  <a:pt x="1857921" y="2752801"/>
                </a:lnTo>
                <a:lnTo>
                  <a:pt x="1843709" y="2708872"/>
                </a:lnTo>
                <a:lnTo>
                  <a:pt x="1830527" y="2663507"/>
                </a:lnTo>
                <a:lnTo>
                  <a:pt x="1818373" y="2616835"/>
                </a:lnTo>
                <a:lnTo>
                  <a:pt x="1807248" y="2568981"/>
                </a:lnTo>
                <a:lnTo>
                  <a:pt x="1797138" y="2520061"/>
                </a:lnTo>
                <a:lnTo>
                  <a:pt x="1788045" y="2470213"/>
                </a:lnTo>
                <a:lnTo>
                  <a:pt x="1779955" y="2419566"/>
                </a:lnTo>
                <a:lnTo>
                  <a:pt x="1772856" y="2368232"/>
                </a:lnTo>
                <a:lnTo>
                  <a:pt x="1766747" y="2316340"/>
                </a:lnTo>
                <a:lnTo>
                  <a:pt x="1761617" y="2264029"/>
                </a:lnTo>
                <a:lnTo>
                  <a:pt x="1757451" y="2211400"/>
                </a:lnTo>
                <a:lnTo>
                  <a:pt x="1754263" y="2158606"/>
                </a:lnTo>
                <a:lnTo>
                  <a:pt x="1752028" y="2105761"/>
                </a:lnTo>
                <a:lnTo>
                  <a:pt x="1750745" y="2052993"/>
                </a:lnTo>
                <a:lnTo>
                  <a:pt x="1750402" y="2000427"/>
                </a:lnTo>
                <a:lnTo>
                  <a:pt x="1750999" y="1948192"/>
                </a:lnTo>
                <a:lnTo>
                  <a:pt x="1752511" y="1896414"/>
                </a:lnTo>
                <a:lnTo>
                  <a:pt x="1754962" y="1845208"/>
                </a:lnTo>
                <a:lnTo>
                  <a:pt x="1758315" y="1794713"/>
                </a:lnTo>
                <a:lnTo>
                  <a:pt x="1762569" y="1745056"/>
                </a:lnTo>
                <a:lnTo>
                  <a:pt x="1767738" y="1696351"/>
                </a:lnTo>
                <a:lnTo>
                  <a:pt x="1773783" y="1648739"/>
                </a:lnTo>
                <a:lnTo>
                  <a:pt x="1781632" y="1599196"/>
                </a:lnTo>
                <a:lnTo>
                  <a:pt x="1792452" y="1544281"/>
                </a:lnTo>
                <a:lnTo>
                  <a:pt x="1806448" y="1484617"/>
                </a:lnTo>
                <a:lnTo>
                  <a:pt x="1823758" y="1420850"/>
                </a:lnTo>
                <a:lnTo>
                  <a:pt x="1844598" y="1353591"/>
                </a:lnTo>
                <a:lnTo>
                  <a:pt x="1869109" y="1283500"/>
                </a:lnTo>
                <a:lnTo>
                  <a:pt x="1882800" y="1247584"/>
                </a:lnTo>
                <a:lnTo>
                  <a:pt x="1897468" y="1211199"/>
                </a:lnTo>
                <a:lnTo>
                  <a:pt x="1913166" y="1174407"/>
                </a:lnTo>
                <a:lnTo>
                  <a:pt x="1929879" y="1137310"/>
                </a:lnTo>
                <a:lnTo>
                  <a:pt x="1947646" y="1099985"/>
                </a:lnTo>
                <a:lnTo>
                  <a:pt x="1966480" y="1062494"/>
                </a:lnTo>
                <a:lnTo>
                  <a:pt x="1986419" y="1024928"/>
                </a:lnTo>
                <a:lnTo>
                  <a:pt x="2007476" y="987361"/>
                </a:lnTo>
                <a:lnTo>
                  <a:pt x="2029675" y="949883"/>
                </a:lnTo>
                <a:lnTo>
                  <a:pt x="2053018" y="912571"/>
                </a:lnTo>
                <a:lnTo>
                  <a:pt x="2077554" y="875487"/>
                </a:lnTo>
                <a:lnTo>
                  <a:pt x="2103297" y="838720"/>
                </a:lnTo>
                <a:lnTo>
                  <a:pt x="2130272" y="802360"/>
                </a:lnTo>
                <a:lnTo>
                  <a:pt x="2158479" y="766483"/>
                </a:lnTo>
                <a:lnTo>
                  <a:pt x="2187968" y="731151"/>
                </a:lnTo>
                <a:lnTo>
                  <a:pt x="2218740" y="696468"/>
                </a:lnTo>
                <a:lnTo>
                  <a:pt x="2250833" y="662495"/>
                </a:lnTo>
                <a:lnTo>
                  <a:pt x="2284260" y="629310"/>
                </a:lnTo>
                <a:lnTo>
                  <a:pt x="2319045" y="597014"/>
                </a:lnTo>
                <a:lnTo>
                  <a:pt x="2355202" y="565658"/>
                </a:lnTo>
                <a:lnTo>
                  <a:pt x="2392769" y="535343"/>
                </a:lnTo>
                <a:lnTo>
                  <a:pt x="2431758" y="506133"/>
                </a:lnTo>
                <a:lnTo>
                  <a:pt x="2472182" y="478116"/>
                </a:lnTo>
                <a:lnTo>
                  <a:pt x="2514079" y="451370"/>
                </a:lnTo>
                <a:lnTo>
                  <a:pt x="2557462" y="425983"/>
                </a:lnTo>
                <a:lnTo>
                  <a:pt x="2602357" y="402018"/>
                </a:lnTo>
                <a:lnTo>
                  <a:pt x="2648788" y="379564"/>
                </a:lnTo>
                <a:lnTo>
                  <a:pt x="2696768" y="358686"/>
                </a:lnTo>
                <a:lnTo>
                  <a:pt x="2746311" y="339483"/>
                </a:lnTo>
                <a:lnTo>
                  <a:pt x="2797467" y="322033"/>
                </a:lnTo>
                <a:lnTo>
                  <a:pt x="2850235" y="306400"/>
                </a:lnTo>
                <a:lnTo>
                  <a:pt x="2904655" y="292671"/>
                </a:lnTo>
                <a:lnTo>
                  <a:pt x="2960725" y="280936"/>
                </a:lnTo>
                <a:lnTo>
                  <a:pt x="3018485" y="271259"/>
                </a:lnTo>
                <a:lnTo>
                  <a:pt x="3077946" y="263715"/>
                </a:lnTo>
                <a:lnTo>
                  <a:pt x="3139148" y="258406"/>
                </a:lnTo>
                <a:lnTo>
                  <a:pt x="3202089" y="255397"/>
                </a:lnTo>
                <a:lnTo>
                  <a:pt x="3257181" y="254685"/>
                </a:lnTo>
                <a:lnTo>
                  <a:pt x="3311017" y="255765"/>
                </a:lnTo>
                <a:lnTo>
                  <a:pt x="3363607" y="258597"/>
                </a:lnTo>
                <a:lnTo>
                  <a:pt x="3414992" y="263144"/>
                </a:lnTo>
                <a:lnTo>
                  <a:pt x="3465195" y="269354"/>
                </a:lnTo>
                <a:lnTo>
                  <a:pt x="3514255" y="277190"/>
                </a:lnTo>
                <a:lnTo>
                  <a:pt x="3562197" y="286600"/>
                </a:lnTo>
                <a:lnTo>
                  <a:pt x="3609035" y="297548"/>
                </a:lnTo>
                <a:lnTo>
                  <a:pt x="3654806" y="309994"/>
                </a:lnTo>
                <a:lnTo>
                  <a:pt x="3699548" y="323875"/>
                </a:lnTo>
                <a:lnTo>
                  <a:pt x="3743274" y="339166"/>
                </a:lnTo>
                <a:lnTo>
                  <a:pt x="3786009" y="355815"/>
                </a:lnTo>
                <a:lnTo>
                  <a:pt x="3827805" y="373773"/>
                </a:lnTo>
                <a:lnTo>
                  <a:pt x="3868674" y="393014"/>
                </a:lnTo>
                <a:lnTo>
                  <a:pt x="3908641" y="413486"/>
                </a:lnTo>
                <a:lnTo>
                  <a:pt x="3947731" y="435127"/>
                </a:lnTo>
                <a:lnTo>
                  <a:pt x="3985984" y="457923"/>
                </a:lnTo>
                <a:lnTo>
                  <a:pt x="4023423" y="481812"/>
                </a:lnTo>
                <a:lnTo>
                  <a:pt x="4060088" y="506755"/>
                </a:lnTo>
                <a:lnTo>
                  <a:pt x="4095978" y="532714"/>
                </a:lnTo>
                <a:lnTo>
                  <a:pt x="4131157" y="559625"/>
                </a:lnTo>
                <a:lnTo>
                  <a:pt x="4165625" y="587476"/>
                </a:lnTo>
                <a:lnTo>
                  <a:pt x="4199420" y="616191"/>
                </a:lnTo>
                <a:lnTo>
                  <a:pt x="4232567" y="645756"/>
                </a:lnTo>
                <a:lnTo>
                  <a:pt x="4265104" y="676097"/>
                </a:lnTo>
                <a:lnTo>
                  <a:pt x="4297045" y="707199"/>
                </a:lnTo>
                <a:lnTo>
                  <a:pt x="4328426" y="739000"/>
                </a:lnTo>
                <a:lnTo>
                  <a:pt x="4359287" y="771461"/>
                </a:lnTo>
                <a:lnTo>
                  <a:pt x="4389628" y="804545"/>
                </a:lnTo>
                <a:lnTo>
                  <a:pt x="4419498" y="838187"/>
                </a:lnTo>
                <a:lnTo>
                  <a:pt x="4448924" y="872375"/>
                </a:lnTo>
                <a:lnTo>
                  <a:pt x="4477931" y="907034"/>
                </a:lnTo>
                <a:lnTo>
                  <a:pt x="4506531" y="942149"/>
                </a:lnTo>
                <a:lnTo>
                  <a:pt x="4534776" y="977646"/>
                </a:lnTo>
                <a:lnTo>
                  <a:pt x="4562691" y="1013510"/>
                </a:lnTo>
                <a:lnTo>
                  <a:pt x="4590288" y="1049680"/>
                </a:lnTo>
                <a:lnTo>
                  <a:pt x="4617618" y="1086116"/>
                </a:lnTo>
                <a:lnTo>
                  <a:pt x="4644682" y="1122781"/>
                </a:lnTo>
                <a:lnTo>
                  <a:pt x="4698187" y="1196606"/>
                </a:lnTo>
                <a:lnTo>
                  <a:pt x="4881638" y="1455585"/>
                </a:lnTo>
                <a:lnTo>
                  <a:pt x="4933886" y="1528318"/>
                </a:lnTo>
                <a:lnTo>
                  <a:pt x="4960124" y="1564246"/>
                </a:lnTo>
                <a:lnTo>
                  <a:pt x="4986490" y="1599831"/>
                </a:lnTo>
                <a:lnTo>
                  <a:pt x="5012982" y="1635036"/>
                </a:lnTo>
                <a:lnTo>
                  <a:pt x="5039652" y="1669808"/>
                </a:lnTo>
                <a:lnTo>
                  <a:pt x="5221046" y="1899818"/>
                </a:lnTo>
                <a:lnTo>
                  <a:pt x="5305412" y="2005507"/>
                </a:lnTo>
                <a:lnTo>
                  <a:pt x="5364213" y="2078113"/>
                </a:lnTo>
                <a:lnTo>
                  <a:pt x="5425021" y="2152040"/>
                </a:lnTo>
                <a:lnTo>
                  <a:pt x="5487784" y="2226983"/>
                </a:lnTo>
                <a:lnTo>
                  <a:pt x="5519902" y="2264727"/>
                </a:lnTo>
                <a:lnTo>
                  <a:pt x="5552491" y="2302586"/>
                </a:lnTo>
                <a:lnTo>
                  <a:pt x="5585561" y="2340546"/>
                </a:lnTo>
                <a:lnTo>
                  <a:pt x="5619089" y="2378545"/>
                </a:lnTo>
                <a:lnTo>
                  <a:pt x="5653100" y="2416556"/>
                </a:lnTo>
                <a:lnTo>
                  <a:pt x="5687555" y="2454529"/>
                </a:lnTo>
                <a:lnTo>
                  <a:pt x="5722480" y="2492425"/>
                </a:lnTo>
                <a:lnTo>
                  <a:pt x="5757850" y="2530195"/>
                </a:lnTo>
                <a:lnTo>
                  <a:pt x="5793676" y="2567813"/>
                </a:lnTo>
                <a:lnTo>
                  <a:pt x="5829947" y="2605227"/>
                </a:lnTo>
                <a:lnTo>
                  <a:pt x="5866650" y="2642400"/>
                </a:lnTo>
                <a:lnTo>
                  <a:pt x="5903798" y="2679293"/>
                </a:lnTo>
                <a:lnTo>
                  <a:pt x="5941377" y="2715857"/>
                </a:lnTo>
                <a:lnTo>
                  <a:pt x="5979376" y="2752052"/>
                </a:lnTo>
                <a:lnTo>
                  <a:pt x="6017806" y="2787853"/>
                </a:lnTo>
                <a:lnTo>
                  <a:pt x="6056655" y="2823197"/>
                </a:lnTo>
                <a:lnTo>
                  <a:pt x="6095911" y="2858058"/>
                </a:lnTo>
                <a:lnTo>
                  <a:pt x="6135573" y="2892399"/>
                </a:lnTo>
                <a:lnTo>
                  <a:pt x="6175654" y="2926156"/>
                </a:lnTo>
                <a:lnTo>
                  <a:pt x="6216129" y="2959316"/>
                </a:lnTo>
                <a:lnTo>
                  <a:pt x="6256998" y="2991815"/>
                </a:lnTo>
                <a:lnTo>
                  <a:pt x="6298273" y="3023616"/>
                </a:lnTo>
                <a:lnTo>
                  <a:pt x="6339929" y="3054693"/>
                </a:lnTo>
                <a:lnTo>
                  <a:pt x="6381966" y="3084982"/>
                </a:lnTo>
                <a:lnTo>
                  <a:pt x="6424384" y="3114471"/>
                </a:lnTo>
                <a:lnTo>
                  <a:pt x="6467183" y="3143097"/>
                </a:lnTo>
                <a:lnTo>
                  <a:pt x="6510350" y="3170821"/>
                </a:lnTo>
                <a:lnTo>
                  <a:pt x="6553873" y="3197606"/>
                </a:lnTo>
                <a:lnTo>
                  <a:pt x="6597777" y="3223412"/>
                </a:lnTo>
                <a:lnTo>
                  <a:pt x="6642024" y="3248190"/>
                </a:lnTo>
                <a:lnTo>
                  <a:pt x="6686639" y="3271913"/>
                </a:lnTo>
                <a:lnTo>
                  <a:pt x="6731597" y="3294532"/>
                </a:lnTo>
                <a:lnTo>
                  <a:pt x="6776898" y="3316008"/>
                </a:lnTo>
                <a:lnTo>
                  <a:pt x="6822541" y="3336302"/>
                </a:lnTo>
                <a:lnTo>
                  <a:pt x="6868528" y="3355365"/>
                </a:lnTo>
                <a:lnTo>
                  <a:pt x="6914832" y="3373158"/>
                </a:lnTo>
                <a:lnTo>
                  <a:pt x="6961479" y="3389642"/>
                </a:lnTo>
                <a:lnTo>
                  <a:pt x="7005510" y="3403803"/>
                </a:lnTo>
                <a:lnTo>
                  <a:pt x="7050710" y="3417100"/>
                </a:lnTo>
                <a:lnTo>
                  <a:pt x="7096963" y="3429508"/>
                </a:lnTo>
                <a:lnTo>
                  <a:pt x="7144156" y="3440963"/>
                </a:lnTo>
                <a:lnTo>
                  <a:pt x="7192188" y="3451415"/>
                </a:lnTo>
                <a:lnTo>
                  <a:pt x="7240930" y="3460826"/>
                </a:lnTo>
                <a:lnTo>
                  <a:pt x="7290270" y="3469144"/>
                </a:lnTo>
                <a:lnTo>
                  <a:pt x="7340117" y="3476320"/>
                </a:lnTo>
                <a:lnTo>
                  <a:pt x="7390333" y="3482289"/>
                </a:lnTo>
                <a:lnTo>
                  <a:pt x="7440828" y="3487039"/>
                </a:lnTo>
                <a:lnTo>
                  <a:pt x="7491463" y="3490493"/>
                </a:lnTo>
                <a:lnTo>
                  <a:pt x="7542162" y="3492601"/>
                </a:lnTo>
                <a:lnTo>
                  <a:pt x="7592784" y="3493338"/>
                </a:lnTo>
                <a:lnTo>
                  <a:pt x="7643215" y="3492639"/>
                </a:lnTo>
                <a:lnTo>
                  <a:pt x="7693368" y="3490455"/>
                </a:lnTo>
                <a:lnTo>
                  <a:pt x="7743114" y="3486747"/>
                </a:lnTo>
                <a:lnTo>
                  <a:pt x="7792339" y="3481463"/>
                </a:lnTo>
                <a:lnTo>
                  <a:pt x="7840942" y="3474555"/>
                </a:lnTo>
                <a:lnTo>
                  <a:pt x="7888795" y="3465969"/>
                </a:lnTo>
                <a:lnTo>
                  <a:pt x="7935798" y="3455657"/>
                </a:lnTo>
                <a:lnTo>
                  <a:pt x="7981836" y="3443579"/>
                </a:lnTo>
                <a:lnTo>
                  <a:pt x="8026794" y="3429685"/>
                </a:lnTo>
                <a:lnTo>
                  <a:pt x="8070558" y="3413912"/>
                </a:lnTo>
                <a:lnTo>
                  <a:pt x="8113027" y="3396234"/>
                </a:lnTo>
                <a:lnTo>
                  <a:pt x="8154073" y="3376599"/>
                </a:lnTo>
                <a:lnTo>
                  <a:pt x="8193595" y="3354946"/>
                </a:lnTo>
                <a:lnTo>
                  <a:pt x="8229092" y="3331197"/>
                </a:lnTo>
                <a:lnTo>
                  <a:pt x="8261807" y="3303359"/>
                </a:lnTo>
                <a:lnTo>
                  <a:pt x="8291538" y="3271850"/>
                </a:lnTo>
                <a:lnTo>
                  <a:pt x="8318106" y="3237153"/>
                </a:lnTo>
                <a:lnTo>
                  <a:pt x="8341309" y="3199701"/>
                </a:lnTo>
                <a:lnTo>
                  <a:pt x="8360931" y="3159963"/>
                </a:lnTo>
                <a:lnTo>
                  <a:pt x="8376793" y="3118370"/>
                </a:lnTo>
                <a:lnTo>
                  <a:pt x="8388680" y="3075406"/>
                </a:lnTo>
                <a:lnTo>
                  <a:pt x="8396427" y="3031502"/>
                </a:lnTo>
                <a:lnTo>
                  <a:pt x="8399793" y="2987103"/>
                </a:lnTo>
                <a:close/>
              </a:path>
            </a:pathLst>
          </a:custGeom>
          <a:solidFill>
            <a:srgbClr val="FFFFFF">
              <a:alpha val="25098"/>
            </a:srgb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851B3E-0B84-8168-CA3C-5D0D4081BE48}"/>
              </a:ext>
            </a:extLst>
          </p:cNvPr>
          <p:cNvSpPr txBox="1"/>
          <p:nvPr/>
        </p:nvSpPr>
        <p:spPr>
          <a:xfrm>
            <a:off x="215900" y="1321351"/>
            <a:ext cx="6127422" cy="309315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Medium"/>
                <a:ea typeface="+mn-ea"/>
                <a:cs typeface="+mn-cs"/>
              </a:rPr>
              <a:t>Dream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Medium"/>
                <a:ea typeface="+mn-ea"/>
                <a:cs typeface="+mn-cs"/>
              </a:rPr>
              <a:t>are not driven by he, she or we,</a:t>
            </a:r>
            <a:b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Medium"/>
                <a:ea typeface="+mn-ea"/>
                <a:cs typeface="+mn-cs"/>
              </a:rPr>
            </a:br>
            <a:r>
              <a: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Medium"/>
                <a:ea typeface="+mn-ea"/>
                <a:cs typeface="+mn-cs"/>
              </a:rPr>
              <a:t>they are driven by 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Regular"/>
                <a:ea typeface="+mn-ea"/>
                <a:cs typeface="+mn-cs"/>
              </a:rPr>
              <a:t>It takes a single step to start the journey,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Regular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Regular"/>
                <a:ea typeface="+mn-ea"/>
                <a:cs typeface="+mn-cs"/>
              </a:rPr>
              <a:t>but many people to get you t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Regular"/>
                <a:ea typeface="+mn-ea"/>
                <a:cs typeface="+mn-cs"/>
              </a:rPr>
              <a:t>No matter how bold or big your dream, you</a:t>
            </a:r>
            <a:b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Regular"/>
                <a:ea typeface="+mn-ea"/>
                <a:cs typeface="+mn-cs"/>
              </a:rPr>
            </a:b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rmeno-Regular"/>
                <a:ea typeface="+mn-ea"/>
                <a:cs typeface="+mn-cs"/>
              </a:rPr>
              <a:t>will always need the support of others</a:t>
            </a: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36A8E50-A462-3DBB-2FEE-9ABD78A92654}"/>
              </a:ext>
            </a:extLst>
          </p:cNvPr>
          <p:cNvGrpSpPr/>
          <p:nvPr/>
        </p:nvGrpSpPr>
        <p:grpSpPr>
          <a:xfrm>
            <a:off x="10210800" y="5562600"/>
            <a:ext cx="1654175" cy="492125"/>
            <a:chOff x="5268913" y="3182938"/>
            <a:chExt cx="1654175" cy="492125"/>
          </a:xfrm>
        </p:grpSpPr>
        <p:sp>
          <p:nvSpPr>
            <p:cNvPr id="29" name="AutoShape 3">
              <a:extLst>
                <a:ext uri="{FF2B5EF4-FFF2-40B4-BE49-F238E27FC236}">
                  <a16:creationId xmlns:a16="http://schemas.microsoft.com/office/drawing/2014/main" id="{F9F9B70C-D5EE-4BC9-0C22-EDC89AC7094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68913" y="3182938"/>
              <a:ext cx="1654175" cy="492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F78A4F90-1692-1D7A-8075-E64A251A6E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3201" y="3197226"/>
              <a:ext cx="1411288" cy="207963"/>
            </a:xfrm>
            <a:custGeom>
              <a:avLst/>
              <a:gdLst>
                <a:gd name="T0" fmla="*/ 16 w 3904"/>
                <a:gd name="T1" fmla="*/ 13 h 574"/>
                <a:gd name="T2" fmla="*/ 17 w 3904"/>
                <a:gd name="T3" fmla="*/ 561 h 574"/>
                <a:gd name="T4" fmla="*/ 106 w 3904"/>
                <a:gd name="T5" fmla="*/ 30 h 574"/>
                <a:gd name="T6" fmla="*/ 734 w 3904"/>
                <a:gd name="T7" fmla="*/ 561 h 574"/>
                <a:gd name="T8" fmla="*/ 736 w 3904"/>
                <a:gd name="T9" fmla="*/ 13 h 574"/>
                <a:gd name="T10" fmla="*/ 491 w 3904"/>
                <a:gd name="T11" fmla="*/ 384 h 574"/>
                <a:gd name="T12" fmla="*/ 244 w 3904"/>
                <a:gd name="T13" fmla="*/ 13 h 574"/>
                <a:gd name="T14" fmla="*/ 244 w 3904"/>
                <a:gd name="T15" fmla="*/ 561 h 574"/>
                <a:gd name="T16" fmla="*/ 307 w 3904"/>
                <a:gd name="T17" fmla="*/ 173 h 574"/>
                <a:gd name="T18" fmla="*/ 502 w 3904"/>
                <a:gd name="T19" fmla="*/ 547 h 574"/>
                <a:gd name="T20" fmla="*/ 874 w 3904"/>
                <a:gd name="T21" fmla="*/ 544 h 574"/>
                <a:gd name="T22" fmla="*/ 980 w 3904"/>
                <a:gd name="T23" fmla="*/ 545 h 574"/>
                <a:gd name="T24" fmla="*/ 1242 w 3904"/>
                <a:gd name="T25" fmla="*/ 170 h 574"/>
                <a:gd name="T26" fmla="*/ 874 w 3904"/>
                <a:gd name="T27" fmla="*/ 43 h 574"/>
                <a:gd name="T28" fmla="*/ 1016 w 3904"/>
                <a:gd name="T29" fmla="*/ 68 h 574"/>
                <a:gd name="T30" fmla="*/ 980 w 3904"/>
                <a:gd name="T31" fmla="*/ 276 h 574"/>
                <a:gd name="T32" fmla="*/ 1329 w 3904"/>
                <a:gd name="T33" fmla="*/ 561 h 574"/>
                <a:gd name="T34" fmla="*/ 1414 w 3904"/>
                <a:gd name="T35" fmla="*/ 347 h 574"/>
                <a:gd name="T36" fmla="*/ 1575 w 3904"/>
                <a:gd name="T37" fmla="*/ 546 h 574"/>
                <a:gd name="T38" fmla="*/ 1694 w 3904"/>
                <a:gd name="T39" fmla="*/ 551 h 574"/>
                <a:gd name="T40" fmla="*/ 1664 w 3904"/>
                <a:gd name="T41" fmla="*/ 161 h 574"/>
                <a:gd name="T42" fmla="*/ 1325 w 3904"/>
                <a:gd name="T43" fmla="*/ 19 h 574"/>
                <a:gd name="T44" fmla="*/ 1414 w 3904"/>
                <a:gd name="T45" fmla="*/ 70 h 574"/>
                <a:gd name="T46" fmla="*/ 1465 w 3904"/>
                <a:gd name="T47" fmla="*/ 278 h 574"/>
                <a:gd name="T48" fmla="*/ 2225 w 3904"/>
                <a:gd name="T49" fmla="*/ 273 h 574"/>
                <a:gd name="T50" fmla="*/ 1978 w 3904"/>
                <a:gd name="T51" fmla="*/ 574 h 574"/>
                <a:gd name="T52" fmla="*/ 2086 w 3904"/>
                <a:gd name="T53" fmla="*/ 432 h 574"/>
                <a:gd name="T54" fmla="*/ 1840 w 3904"/>
                <a:gd name="T55" fmla="*/ 280 h 574"/>
                <a:gd name="T56" fmla="*/ 2081 w 3904"/>
                <a:gd name="T57" fmla="*/ 127 h 574"/>
                <a:gd name="T58" fmla="*/ 2329 w 3904"/>
                <a:gd name="T59" fmla="*/ 13 h 574"/>
                <a:gd name="T60" fmla="*/ 2240 w 3904"/>
                <a:gd name="T61" fmla="*/ 36 h 574"/>
                <a:gd name="T62" fmla="*/ 2473 w 3904"/>
                <a:gd name="T63" fmla="*/ 561 h 574"/>
                <a:gd name="T64" fmla="*/ 2674 w 3904"/>
                <a:gd name="T65" fmla="*/ 23 h 574"/>
                <a:gd name="T66" fmla="*/ 2587 w 3904"/>
                <a:gd name="T67" fmla="*/ 28 h 574"/>
                <a:gd name="T68" fmla="*/ 2824 w 3904"/>
                <a:gd name="T69" fmla="*/ 30 h 574"/>
                <a:gd name="T70" fmla="*/ 2718 w 3904"/>
                <a:gd name="T71" fmla="*/ 30 h 574"/>
                <a:gd name="T72" fmla="*/ 2807 w 3904"/>
                <a:gd name="T73" fmla="*/ 561 h 574"/>
                <a:gd name="T74" fmla="*/ 3045 w 3904"/>
                <a:gd name="T75" fmla="*/ 27 h 574"/>
                <a:gd name="T76" fmla="*/ 2944 w 3904"/>
                <a:gd name="T77" fmla="*/ 30 h 574"/>
                <a:gd name="T78" fmla="*/ 3010 w 3904"/>
                <a:gd name="T79" fmla="*/ 561 h 574"/>
                <a:gd name="T80" fmla="*/ 3293 w 3904"/>
                <a:gd name="T81" fmla="*/ 545 h 574"/>
                <a:gd name="T82" fmla="*/ 3372 w 3904"/>
                <a:gd name="T83" fmla="*/ 546 h 574"/>
                <a:gd name="T84" fmla="*/ 3308 w 3904"/>
                <a:gd name="T85" fmla="*/ 13 h 574"/>
                <a:gd name="T86" fmla="*/ 3045 w 3904"/>
                <a:gd name="T87" fmla="*/ 27 h 574"/>
                <a:gd name="T88" fmla="*/ 3729 w 3904"/>
                <a:gd name="T89" fmla="*/ 502 h 574"/>
                <a:gd name="T90" fmla="*/ 3807 w 3904"/>
                <a:gd name="T91" fmla="*/ 126 h 574"/>
                <a:gd name="T92" fmla="*/ 3714 w 3904"/>
                <a:gd name="T93" fmla="*/ 0 h 574"/>
                <a:gd name="T94" fmla="*/ 3890 w 3904"/>
                <a:gd name="T95" fmla="*/ 513 h 574"/>
                <a:gd name="T96" fmla="*/ 3886 w 3904"/>
                <a:gd name="T97" fmla="*/ 274 h 574"/>
                <a:gd name="T98" fmla="*/ 3705 w 3904"/>
                <a:gd name="T99" fmla="*/ 329 h 574"/>
                <a:gd name="T100" fmla="*/ 3804 w 3904"/>
                <a:gd name="T101" fmla="*/ 436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04" h="574">
                  <a:moveTo>
                    <a:pt x="106" y="30"/>
                  </a:moveTo>
                  <a:cubicBezTo>
                    <a:pt x="106" y="16"/>
                    <a:pt x="102" y="13"/>
                    <a:pt x="90" y="13"/>
                  </a:cubicBezTo>
                  <a:lnTo>
                    <a:pt x="16" y="13"/>
                  </a:lnTo>
                  <a:cubicBezTo>
                    <a:pt x="3" y="13"/>
                    <a:pt x="1" y="19"/>
                    <a:pt x="0" y="30"/>
                  </a:cubicBezTo>
                  <a:lnTo>
                    <a:pt x="0" y="544"/>
                  </a:lnTo>
                  <a:cubicBezTo>
                    <a:pt x="0" y="558"/>
                    <a:pt x="6" y="560"/>
                    <a:pt x="17" y="561"/>
                  </a:cubicBezTo>
                  <a:lnTo>
                    <a:pt x="89" y="561"/>
                  </a:lnTo>
                  <a:cubicBezTo>
                    <a:pt x="100" y="561"/>
                    <a:pt x="106" y="559"/>
                    <a:pt x="106" y="544"/>
                  </a:cubicBezTo>
                  <a:lnTo>
                    <a:pt x="106" y="30"/>
                  </a:lnTo>
                  <a:close/>
                  <a:moveTo>
                    <a:pt x="654" y="544"/>
                  </a:moveTo>
                  <a:cubicBezTo>
                    <a:pt x="654" y="558"/>
                    <a:pt x="657" y="561"/>
                    <a:pt x="672" y="561"/>
                  </a:cubicBezTo>
                  <a:lnTo>
                    <a:pt x="734" y="561"/>
                  </a:lnTo>
                  <a:cubicBezTo>
                    <a:pt x="748" y="561"/>
                    <a:pt x="752" y="560"/>
                    <a:pt x="752" y="545"/>
                  </a:cubicBezTo>
                  <a:lnTo>
                    <a:pt x="752" y="28"/>
                  </a:lnTo>
                  <a:cubicBezTo>
                    <a:pt x="752" y="15"/>
                    <a:pt x="748" y="13"/>
                    <a:pt x="736" y="13"/>
                  </a:cubicBezTo>
                  <a:lnTo>
                    <a:pt x="661" y="13"/>
                  </a:lnTo>
                  <a:cubicBezTo>
                    <a:pt x="646" y="13"/>
                    <a:pt x="644" y="16"/>
                    <a:pt x="637" y="30"/>
                  </a:cubicBezTo>
                  <a:lnTo>
                    <a:pt x="491" y="384"/>
                  </a:lnTo>
                  <a:lnTo>
                    <a:pt x="341" y="30"/>
                  </a:lnTo>
                  <a:cubicBezTo>
                    <a:pt x="335" y="15"/>
                    <a:pt x="332" y="13"/>
                    <a:pt x="318" y="13"/>
                  </a:cubicBezTo>
                  <a:lnTo>
                    <a:pt x="244" y="13"/>
                  </a:lnTo>
                  <a:cubicBezTo>
                    <a:pt x="231" y="13"/>
                    <a:pt x="228" y="17"/>
                    <a:pt x="228" y="30"/>
                  </a:cubicBezTo>
                  <a:lnTo>
                    <a:pt x="228" y="544"/>
                  </a:lnTo>
                  <a:cubicBezTo>
                    <a:pt x="228" y="557"/>
                    <a:pt x="231" y="561"/>
                    <a:pt x="244" y="561"/>
                  </a:cubicBezTo>
                  <a:lnTo>
                    <a:pt x="290" y="561"/>
                  </a:lnTo>
                  <a:cubicBezTo>
                    <a:pt x="301" y="561"/>
                    <a:pt x="307" y="558"/>
                    <a:pt x="307" y="545"/>
                  </a:cubicBezTo>
                  <a:lnTo>
                    <a:pt x="307" y="173"/>
                  </a:lnTo>
                  <a:lnTo>
                    <a:pt x="460" y="547"/>
                  </a:lnTo>
                  <a:cubicBezTo>
                    <a:pt x="465" y="560"/>
                    <a:pt x="470" y="564"/>
                    <a:pt x="481" y="564"/>
                  </a:cubicBezTo>
                  <a:cubicBezTo>
                    <a:pt x="493" y="564"/>
                    <a:pt x="495" y="560"/>
                    <a:pt x="502" y="547"/>
                  </a:cubicBezTo>
                  <a:lnTo>
                    <a:pt x="654" y="173"/>
                  </a:lnTo>
                  <a:lnTo>
                    <a:pt x="654" y="544"/>
                  </a:lnTo>
                  <a:close/>
                  <a:moveTo>
                    <a:pt x="874" y="544"/>
                  </a:moveTo>
                  <a:cubicBezTo>
                    <a:pt x="874" y="557"/>
                    <a:pt x="876" y="560"/>
                    <a:pt x="891" y="561"/>
                  </a:cubicBezTo>
                  <a:lnTo>
                    <a:pt x="962" y="561"/>
                  </a:lnTo>
                  <a:cubicBezTo>
                    <a:pt x="974" y="561"/>
                    <a:pt x="980" y="560"/>
                    <a:pt x="980" y="545"/>
                  </a:cubicBezTo>
                  <a:lnTo>
                    <a:pt x="980" y="337"/>
                  </a:lnTo>
                  <a:cubicBezTo>
                    <a:pt x="1000" y="339"/>
                    <a:pt x="1008" y="339"/>
                    <a:pt x="1025" y="339"/>
                  </a:cubicBezTo>
                  <a:cubicBezTo>
                    <a:pt x="1143" y="339"/>
                    <a:pt x="1242" y="291"/>
                    <a:pt x="1242" y="170"/>
                  </a:cubicBezTo>
                  <a:cubicBezTo>
                    <a:pt x="1242" y="7"/>
                    <a:pt x="1070" y="7"/>
                    <a:pt x="1022" y="7"/>
                  </a:cubicBezTo>
                  <a:cubicBezTo>
                    <a:pt x="970" y="7"/>
                    <a:pt x="904" y="13"/>
                    <a:pt x="887" y="20"/>
                  </a:cubicBezTo>
                  <a:cubicBezTo>
                    <a:pt x="876" y="23"/>
                    <a:pt x="874" y="28"/>
                    <a:pt x="874" y="43"/>
                  </a:cubicBezTo>
                  <a:lnTo>
                    <a:pt x="874" y="544"/>
                  </a:lnTo>
                  <a:close/>
                  <a:moveTo>
                    <a:pt x="980" y="71"/>
                  </a:moveTo>
                  <a:cubicBezTo>
                    <a:pt x="989" y="69"/>
                    <a:pt x="999" y="68"/>
                    <a:pt x="1016" y="68"/>
                  </a:cubicBezTo>
                  <a:cubicBezTo>
                    <a:pt x="1050" y="68"/>
                    <a:pt x="1134" y="72"/>
                    <a:pt x="1134" y="171"/>
                  </a:cubicBezTo>
                  <a:cubicBezTo>
                    <a:pt x="1134" y="265"/>
                    <a:pt x="1065" y="278"/>
                    <a:pt x="1012" y="278"/>
                  </a:cubicBezTo>
                  <a:cubicBezTo>
                    <a:pt x="999" y="278"/>
                    <a:pt x="989" y="277"/>
                    <a:pt x="980" y="276"/>
                  </a:cubicBezTo>
                  <a:lnTo>
                    <a:pt x="980" y="71"/>
                  </a:lnTo>
                  <a:close/>
                  <a:moveTo>
                    <a:pt x="1312" y="545"/>
                  </a:moveTo>
                  <a:cubicBezTo>
                    <a:pt x="1312" y="560"/>
                    <a:pt x="1318" y="561"/>
                    <a:pt x="1329" y="561"/>
                  </a:cubicBezTo>
                  <a:lnTo>
                    <a:pt x="1396" y="561"/>
                  </a:lnTo>
                  <a:cubicBezTo>
                    <a:pt x="1411" y="561"/>
                    <a:pt x="1414" y="557"/>
                    <a:pt x="1414" y="543"/>
                  </a:cubicBezTo>
                  <a:lnTo>
                    <a:pt x="1414" y="347"/>
                  </a:lnTo>
                  <a:cubicBezTo>
                    <a:pt x="1414" y="340"/>
                    <a:pt x="1414" y="327"/>
                    <a:pt x="1430" y="327"/>
                  </a:cubicBezTo>
                  <a:cubicBezTo>
                    <a:pt x="1446" y="327"/>
                    <a:pt x="1455" y="340"/>
                    <a:pt x="1458" y="347"/>
                  </a:cubicBezTo>
                  <a:lnTo>
                    <a:pt x="1575" y="546"/>
                  </a:lnTo>
                  <a:cubicBezTo>
                    <a:pt x="1583" y="559"/>
                    <a:pt x="1584" y="560"/>
                    <a:pt x="1600" y="561"/>
                  </a:cubicBezTo>
                  <a:lnTo>
                    <a:pt x="1679" y="561"/>
                  </a:lnTo>
                  <a:cubicBezTo>
                    <a:pt x="1684" y="561"/>
                    <a:pt x="1694" y="561"/>
                    <a:pt x="1694" y="551"/>
                  </a:cubicBezTo>
                  <a:cubicBezTo>
                    <a:pt x="1694" y="546"/>
                    <a:pt x="1691" y="540"/>
                    <a:pt x="1688" y="536"/>
                  </a:cubicBezTo>
                  <a:lnTo>
                    <a:pt x="1543" y="307"/>
                  </a:lnTo>
                  <a:cubicBezTo>
                    <a:pt x="1597" y="291"/>
                    <a:pt x="1664" y="246"/>
                    <a:pt x="1664" y="161"/>
                  </a:cubicBezTo>
                  <a:cubicBezTo>
                    <a:pt x="1664" y="117"/>
                    <a:pt x="1648" y="75"/>
                    <a:pt x="1614" y="47"/>
                  </a:cubicBezTo>
                  <a:cubicBezTo>
                    <a:pt x="1567" y="10"/>
                    <a:pt x="1499" y="7"/>
                    <a:pt x="1453" y="7"/>
                  </a:cubicBezTo>
                  <a:cubicBezTo>
                    <a:pt x="1402" y="7"/>
                    <a:pt x="1342" y="13"/>
                    <a:pt x="1325" y="19"/>
                  </a:cubicBezTo>
                  <a:cubicBezTo>
                    <a:pt x="1314" y="23"/>
                    <a:pt x="1312" y="27"/>
                    <a:pt x="1312" y="44"/>
                  </a:cubicBezTo>
                  <a:lnTo>
                    <a:pt x="1312" y="545"/>
                  </a:lnTo>
                  <a:close/>
                  <a:moveTo>
                    <a:pt x="1414" y="70"/>
                  </a:moveTo>
                  <a:cubicBezTo>
                    <a:pt x="1422" y="69"/>
                    <a:pt x="1433" y="68"/>
                    <a:pt x="1449" y="68"/>
                  </a:cubicBezTo>
                  <a:cubicBezTo>
                    <a:pt x="1479" y="68"/>
                    <a:pt x="1559" y="68"/>
                    <a:pt x="1559" y="173"/>
                  </a:cubicBezTo>
                  <a:cubicBezTo>
                    <a:pt x="1559" y="245"/>
                    <a:pt x="1511" y="273"/>
                    <a:pt x="1465" y="278"/>
                  </a:cubicBezTo>
                  <a:cubicBezTo>
                    <a:pt x="1452" y="280"/>
                    <a:pt x="1443" y="280"/>
                    <a:pt x="1414" y="279"/>
                  </a:cubicBezTo>
                  <a:lnTo>
                    <a:pt x="1414" y="70"/>
                  </a:lnTo>
                  <a:close/>
                  <a:moveTo>
                    <a:pt x="2225" y="273"/>
                  </a:moveTo>
                  <a:cubicBezTo>
                    <a:pt x="2219" y="127"/>
                    <a:pt x="2134" y="0"/>
                    <a:pt x="1980" y="0"/>
                  </a:cubicBezTo>
                  <a:cubicBezTo>
                    <a:pt x="1822" y="0"/>
                    <a:pt x="1731" y="127"/>
                    <a:pt x="1731" y="288"/>
                  </a:cubicBezTo>
                  <a:cubicBezTo>
                    <a:pt x="1731" y="476"/>
                    <a:pt x="1846" y="574"/>
                    <a:pt x="1978" y="574"/>
                  </a:cubicBezTo>
                  <a:cubicBezTo>
                    <a:pt x="2128" y="574"/>
                    <a:pt x="2232" y="446"/>
                    <a:pt x="2225" y="273"/>
                  </a:cubicBezTo>
                  <a:close/>
                  <a:moveTo>
                    <a:pt x="2116" y="274"/>
                  </a:moveTo>
                  <a:cubicBezTo>
                    <a:pt x="2117" y="328"/>
                    <a:pt x="2110" y="388"/>
                    <a:pt x="2086" y="432"/>
                  </a:cubicBezTo>
                  <a:cubicBezTo>
                    <a:pt x="2057" y="483"/>
                    <a:pt x="2014" y="500"/>
                    <a:pt x="1979" y="500"/>
                  </a:cubicBezTo>
                  <a:cubicBezTo>
                    <a:pt x="1949" y="500"/>
                    <a:pt x="1869" y="485"/>
                    <a:pt x="1847" y="358"/>
                  </a:cubicBezTo>
                  <a:cubicBezTo>
                    <a:pt x="1843" y="336"/>
                    <a:pt x="1840" y="311"/>
                    <a:pt x="1840" y="280"/>
                  </a:cubicBezTo>
                  <a:cubicBezTo>
                    <a:pt x="1840" y="238"/>
                    <a:pt x="1844" y="127"/>
                    <a:pt x="1919" y="82"/>
                  </a:cubicBezTo>
                  <a:cubicBezTo>
                    <a:pt x="1937" y="72"/>
                    <a:pt x="1958" y="67"/>
                    <a:pt x="1978" y="67"/>
                  </a:cubicBezTo>
                  <a:cubicBezTo>
                    <a:pt x="1993" y="67"/>
                    <a:pt x="2043" y="69"/>
                    <a:pt x="2081" y="127"/>
                  </a:cubicBezTo>
                  <a:cubicBezTo>
                    <a:pt x="2110" y="175"/>
                    <a:pt x="2115" y="233"/>
                    <a:pt x="2116" y="274"/>
                  </a:cubicBezTo>
                  <a:close/>
                  <a:moveTo>
                    <a:pt x="2350" y="28"/>
                  </a:moveTo>
                  <a:cubicBezTo>
                    <a:pt x="2345" y="14"/>
                    <a:pt x="2342" y="13"/>
                    <a:pt x="2329" y="13"/>
                  </a:cubicBezTo>
                  <a:lnTo>
                    <a:pt x="2252" y="13"/>
                  </a:lnTo>
                  <a:cubicBezTo>
                    <a:pt x="2246" y="13"/>
                    <a:pt x="2237" y="13"/>
                    <a:pt x="2237" y="23"/>
                  </a:cubicBezTo>
                  <a:cubicBezTo>
                    <a:pt x="2237" y="27"/>
                    <a:pt x="2238" y="28"/>
                    <a:pt x="2240" y="36"/>
                  </a:cubicBezTo>
                  <a:lnTo>
                    <a:pt x="2423" y="547"/>
                  </a:lnTo>
                  <a:cubicBezTo>
                    <a:pt x="2426" y="557"/>
                    <a:pt x="2428" y="560"/>
                    <a:pt x="2436" y="561"/>
                  </a:cubicBezTo>
                  <a:lnTo>
                    <a:pt x="2473" y="561"/>
                  </a:lnTo>
                  <a:cubicBezTo>
                    <a:pt x="2486" y="561"/>
                    <a:pt x="2489" y="559"/>
                    <a:pt x="2493" y="547"/>
                  </a:cubicBezTo>
                  <a:lnTo>
                    <a:pt x="2670" y="36"/>
                  </a:lnTo>
                  <a:cubicBezTo>
                    <a:pt x="2674" y="27"/>
                    <a:pt x="2674" y="25"/>
                    <a:pt x="2674" y="23"/>
                  </a:cubicBezTo>
                  <a:cubicBezTo>
                    <a:pt x="2674" y="15"/>
                    <a:pt x="2665" y="13"/>
                    <a:pt x="2658" y="13"/>
                  </a:cubicBezTo>
                  <a:lnTo>
                    <a:pt x="2606" y="13"/>
                  </a:lnTo>
                  <a:cubicBezTo>
                    <a:pt x="2595" y="13"/>
                    <a:pt x="2592" y="15"/>
                    <a:pt x="2587" y="28"/>
                  </a:cubicBezTo>
                  <a:lnTo>
                    <a:pt x="2468" y="388"/>
                  </a:lnTo>
                  <a:lnTo>
                    <a:pt x="2350" y="28"/>
                  </a:lnTo>
                  <a:close/>
                  <a:moveTo>
                    <a:pt x="2824" y="30"/>
                  </a:moveTo>
                  <a:cubicBezTo>
                    <a:pt x="2824" y="16"/>
                    <a:pt x="2819" y="13"/>
                    <a:pt x="2808" y="13"/>
                  </a:cubicBezTo>
                  <a:lnTo>
                    <a:pt x="2734" y="13"/>
                  </a:lnTo>
                  <a:cubicBezTo>
                    <a:pt x="2720" y="13"/>
                    <a:pt x="2718" y="19"/>
                    <a:pt x="2718" y="30"/>
                  </a:cubicBezTo>
                  <a:lnTo>
                    <a:pt x="2718" y="544"/>
                  </a:lnTo>
                  <a:cubicBezTo>
                    <a:pt x="2718" y="558"/>
                    <a:pt x="2724" y="560"/>
                    <a:pt x="2735" y="561"/>
                  </a:cubicBezTo>
                  <a:lnTo>
                    <a:pt x="2807" y="561"/>
                  </a:lnTo>
                  <a:cubicBezTo>
                    <a:pt x="2817" y="561"/>
                    <a:pt x="2824" y="559"/>
                    <a:pt x="2824" y="544"/>
                  </a:cubicBezTo>
                  <a:lnTo>
                    <a:pt x="2824" y="30"/>
                  </a:lnTo>
                  <a:close/>
                  <a:moveTo>
                    <a:pt x="3045" y="27"/>
                  </a:moveTo>
                  <a:cubicBezTo>
                    <a:pt x="3036" y="15"/>
                    <a:pt x="3033" y="13"/>
                    <a:pt x="3020" y="13"/>
                  </a:cubicBezTo>
                  <a:lnTo>
                    <a:pt x="2961" y="13"/>
                  </a:lnTo>
                  <a:cubicBezTo>
                    <a:pt x="2950" y="13"/>
                    <a:pt x="2944" y="15"/>
                    <a:pt x="2944" y="30"/>
                  </a:cubicBezTo>
                  <a:lnTo>
                    <a:pt x="2944" y="546"/>
                  </a:lnTo>
                  <a:cubicBezTo>
                    <a:pt x="2944" y="560"/>
                    <a:pt x="2949" y="561"/>
                    <a:pt x="2961" y="561"/>
                  </a:cubicBezTo>
                  <a:lnTo>
                    <a:pt x="3010" y="561"/>
                  </a:lnTo>
                  <a:cubicBezTo>
                    <a:pt x="3023" y="561"/>
                    <a:pt x="3026" y="557"/>
                    <a:pt x="3026" y="544"/>
                  </a:cubicBezTo>
                  <a:lnTo>
                    <a:pt x="3026" y="169"/>
                  </a:lnTo>
                  <a:lnTo>
                    <a:pt x="3293" y="545"/>
                  </a:lnTo>
                  <a:cubicBezTo>
                    <a:pt x="3301" y="557"/>
                    <a:pt x="3303" y="560"/>
                    <a:pt x="3313" y="561"/>
                  </a:cubicBezTo>
                  <a:lnTo>
                    <a:pt x="3356" y="561"/>
                  </a:lnTo>
                  <a:cubicBezTo>
                    <a:pt x="3368" y="561"/>
                    <a:pt x="3372" y="559"/>
                    <a:pt x="3372" y="546"/>
                  </a:cubicBezTo>
                  <a:lnTo>
                    <a:pt x="3372" y="29"/>
                  </a:lnTo>
                  <a:cubicBezTo>
                    <a:pt x="3372" y="16"/>
                    <a:pt x="3369" y="13"/>
                    <a:pt x="3357" y="13"/>
                  </a:cubicBezTo>
                  <a:lnTo>
                    <a:pt x="3308" y="13"/>
                  </a:lnTo>
                  <a:cubicBezTo>
                    <a:pt x="3296" y="13"/>
                    <a:pt x="3293" y="17"/>
                    <a:pt x="3293" y="29"/>
                  </a:cubicBezTo>
                  <a:lnTo>
                    <a:pt x="3293" y="374"/>
                  </a:lnTo>
                  <a:lnTo>
                    <a:pt x="3045" y="27"/>
                  </a:lnTo>
                  <a:close/>
                  <a:moveTo>
                    <a:pt x="3804" y="436"/>
                  </a:moveTo>
                  <a:cubicBezTo>
                    <a:pt x="3804" y="460"/>
                    <a:pt x="3803" y="475"/>
                    <a:pt x="3786" y="488"/>
                  </a:cubicBezTo>
                  <a:cubicBezTo>
                    <a:pt x="3773" y="497"/>
                    <a:pt x="3751" y="502"/>
                    <a:pt x="3729" y="502"/>
                  </a:cubicBezTo>
                  <a:cubicBezTo>
                    <a:pt x="3626" y="502"/>
                    <a:pt x="3574" y="403"/>
                    <a:pt x="3574" y="274"/>
                  </a:cubicBezTo>
                  <a:cubicBezTo>
                    <a:pt x="3574" y="134"/>
                    <a:pt x="3636" y="65"/>
                    <a:pt x="3712" y="65"/>
                  </a:cubicBezTo>
                  <a:cubicBezTo>
                    <a:pt x="3768" y="65"/>
                    <a:pt x="3791" y="100"/>
                    <a:pt x="3807" y="126"/>
                  </a:cubicBezTo>
                  <a:cubicBezTo>
                    <a:pt x="3819" y="145"/>
                    <a:pt x="3830" y="164"/>
                    <a:pt x="3858" y="164"/>
                  </a:cubicBezTo>
                  <a:cubicBezTo>
                    <a:pt x="3883" y="164"/>
                    <a:pt x="3904" y="145"/>
                    <a:pt x="3904" y="118"/>
                  </a:cubicBezTo>
                  <a:cubicBezTo>
                    <a:pt x="3904" y="77"/>
                    <a:pt x="3844" y="0"/>
                    <a:pt x="3714" y="0"/>
                  </a:cubicBezTo>
                  <a:cubicBezTo>
                    <a:pt x="3560" y="0"/>
                    <a:pt x="3461" y="121"/>
                    <a:pt x="3461" y="287"/>
                  </a:cubicBezTo>
                  <a:cubicBezTo>
                    <a:pt x="3461" y="423"/>
                    <a:pt x="3523" y="574"/>
                    <a:pt x="3721" y="574"/>
                  </a:cubicBezTo>
                  <a:cubicBezTo>
                    <a:pt x="3813" y="574"/>
                    <a:pt x="3868" y="540"/>
                    <a:pt x="3890" y="513"/>
                  </a:cubicBezTo>
                  <a:cubicBezTo>
                    <a:pt x="3902" y="499"/>
                    <a:pt x="3903" y="491"/>
                    <a:pt x="3903" y="469"/>
                  </a:cubicBezTo>
                  <a:lnTo>
                    <a:pt x="3903" y="294"/>
                  </a:lnTo>
                  <a:cubicBezTo>
                    <a:pt x="3903" y="280"/>
                    <a:pt x="3902" y="274"/>
                    <a:pt x="3886" y="274"/>
                  </a:cubicBezTo>
                  <a:lnTo>
                    <a:pt x="3722" y="274"/>
                  </a:lnTo>
                  <a:cubicBezTo>
                    <a:pt x="3711" y="274"/>
                    <a:pt x="3704" y="274"/>
                    <a:pt x="3704" y="288"/>
                  </a:cubicBezTo>
                  <a:cubicBezTo>
                    <a:pt x="3704" y="301"/>
                    <a:pt x="3704" y="325"/>
                    <a:pt x="3705" y="329"/>
                  </a:cubicBezTo>
                  <a:cubicBezTo>
                    <a:pt x="3706" y="336"/>
                    <a:pt x="3710" y="338"/>
                    <a:pt x="3722" y="338"/>
                  </a:cubicBezTo>
                  <a:lnTo>
                    <a:pt x="3804" y="338"/>
                  </a:lnTo>
                  <a:lnTo>
                    <a:pt x="3804" y="4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065CCE33-C98B-340D-F272-BAC58FF5AE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3201" y="3452813"/>
              <a:ext cx="1625600" cy="207963"/>
            </a:xfrm>
            <a:custGeom>
              <a:avLst/>
              <a:gdLst>
                <a:gd name="T0" fmla="*/ 16 w 4499"/>
                <a:gd name="T1" fmla="*/ 13 h 573"/>
                <a:gd name="T2" fmla="*/ 15 w 4499"/>
                <a:gd name="T3" fmla="*/ 561 h 573"/>
                <a:gd name="T4" fmla="*/ 298 w 4499"/>
                <a:gd name="T5" fmla="*/ 505 h 573"/>
                <a:gd name="T6" fmla="*/ 105 w 4499"/>
                <a:gd name="T7" fmla="*/ 28 h 573"/>
                <a:gd name="T8" fmla="*/ 387 w 4499"/>
                <a:gd name="T9" fmla="*/ 13 h 573"/>
                <a:gd name="T10" fmla="*/ 388 w 4499"/>
                <a:gd name="T11" fmla="*/ 561 h 573"/>
                <a:gd name="T12" fmla="*/ 477 w 4499"/>
                <a:gd name="T13" fmla="*/ 29 h 573"/>
                <a:gd name="T14" fmla="*/ 535 w 4499"/>
                <a:gd name="T15" fmla="*/ 13 h 573"/>
                <a:gd name="T16" fmla="*/ 706 w 4499"/>
                <a:gd name="T17" fmla="*/ 547 h 573"/>
                <a:gd name="T18" fmla="*/ 777 w 4499"/>
                <a:gd name="T19" fmla="*/ 546 h 573"/>
                <a:gd name="T20" fmla="*/ 941 w 4499"/>
                <a:gd name="T21" fmla="*/ 13 h 573"/>
                <a:gd name="T22" fmla="*/ 752 w 4499"/>
                <a:gd name="T23" fmla="*/ 388 h 573"/>
                <a:gd name="T24" fmla="*/ 1278 w 4499"/>
                <a:gd name="T25" fmla="*/ 295 h 573"/>
                <a:gd name="T26" fmla="*/ 1107 w 4499"/>
                <a:gd name="T27" fmla="*/ 242 h 573"/>
                <a:gd name="T28" fmla="*/ 1309 w 4499"/>
                <a:gd name="T29" fmla="*/ 65 h 573"/>
                <a:gd name="T30" fmla="*/ 1021 w 4499"/>
                <a:gd name="T31" fmla="*/ 12 h 573"/>
                <a:gd name="T32" fmla="*/ 1021 w 4499"/>
                <a:gd name="T33" fmla="*/ 561 h 573"/>
                <a:gd name="T34" fmla="*/ 1309 w 4499"/>
                <a:gd name="T35" fmla="*/ 506 h 573"/>
                <a:gd name="T36" fmla="*/ 1107 w 4499"/>
                <a:gd name="T37" fmla="*/ 310 h 573"/>
                <a:gd name="T38" fmla="*/ 1495 w 4499"/>
                <a:gd name="T39" fmla="*/ 13 h 573"/>
                <a:gd name="T40" fmla="*/ 1407 w 4499"/>
                <a:gd name="T41" fmla="*/ 545 h 573"/>
                <a:gd name="T42" fmla="*/ 1704 w 4499"/>
                <a:gd name="T43" fmla="*/ 545 h 573"/>
                <a:gd name="T44" fmla="*/ 1511 w 4499"/>
                <a:gd name="T45" fmla="*/ 489 h 573"/>
                <a:gd name="T46" fmla="*/ 1867 w 4499"/>
                <a:gd name="T47" fmla="*/ 13 h 573"/>
                <a:gd name="T48" fmla="*/ 1777 w 4499"/>
                <a:gd name="T49" fmla="*/ 544 h 573"/>
                <a:gd name="T50" fmla="*/ 1884 w 4499"/>
                <a:gd name="T51" fmla="*/ 544 h 573"/>
                <a:gd name="T52" fmla="*/ 2311 w 4499"/>
                <a:gd name="T53" fmla="*/ 561 h 573"/>
                <a:gd name="T54" fmla="*/ 2400 w 4499"/>
                <a:gd name="T55" fmla="*/ 28 h 573"/>
                <a:gd name="T56" fmla="*/ 2294 w 4499"/>
                <a:gd name="T57" fmla="*/ 29 h 573"/>
                <a:gd name="T58" fmla="*/ 2110 w 4499"/>
                <a:gd name="T59" fmla="*/ 28 h 573"/>
                <a:gd name="T60" fmla="*/ 2004 w 4499"/>
                <a:gd name="T61" fmla="*/ 28 h 573"/>
                <a:gd name="T62" fmla="*/ 2093 w 4499"/>
                <a:gd name="T63" fmla="*/ 561 h 573"/>
                <a:gd name="T64" fmla="*/ 2294 w 4499"/>
                <a:gd name="T65" fmla="*/ 310 h 573"/>
                <a:gd name="T66" fmla="*/ 2738 w 4499"/>
                <a:gd name="T67" fmla="*/ 0 h 573"/>
                <a:gd name="T68" fmla="*/ 2984 w 4499"/>
                <a:gd name="T69" fmla="*/ 272 h 573"/>
                <a:gd name="T70" fmla="*/ 2738 w 4499"/>
                <a:gd name="T71" fmla="*/ 499 h 573"/>
                <a:gd name="T72" fmla="*/ 2678 w 4499"/>
                <a:gd name="T73" fmla="*/ 82 h 573"/>
                <a:gd name="T74" fmla="*/ 2874 w 4499"/>
                <a:gd name="T75" fmla="*/ 274 h 573"/>
                <a:gd name="T76" fmla="*/ 3055 w 4499"/>
                <a:gd name="T77" fmla="*/ 288 h 573"/>
                <a:gd name="T78" fmla="*/ 3440 w 4499"/>
                <a:gd name="T79" fmla="*/ 274 h 573"/>
                <a:gd name="T80" fmla="*/ 3171 w 4499"/>
                <a:gd name="T81" fmla="*/ 358 h 573"/>
                <a:gd name="T82" fmla="*/ 3302 w 4499"/>
                <a:gd name="T83" fmla="*/ 66 h 573"/>
                <a:gd name="T84" fmla="*/ 3638 w 4499"/>
                <a:gd name="T85" fmla="*/ 533 h 573"/>
                <a:gd name="T86" fmla="*/ 4010 w 4499"/>
                <a:gd name="T87" fmla="*/ 482 h 573"/>
                <a:gd name="T88" fmla="*/ 3783 w 4499"/>
                <a:gd name="T89" fmla="*/ 7 h 573"/>
                <a:gd name="T90" fmla="*/ 3638 w 4499"/>
                <a:gd name="T91" fmla="*/ 533 h 573"/>
                <a:gd name="T92" fmla="*/ 3931 w 4499"/>
                <a:gd name="T93" fmla="*/ 142 h 573"/>
                <a:gd name="T94" fmla="*/ 3768 w 4499"/>
                <a:gd name="T95" fmla="*/ 498 h 573"/>
                <a:gd name="T96" fmla="*/ 4337 w 4499"/>
                <a:gd name="T97" fmla="*/ 227 h 573"/>
                <a:gd name="T98" fmla="*/ 4388 w 4499"/>
                <a:gd name="T99" fmla="*/ 115 h 573"/>
                <a:gd name="T100" fmla="*/ 4315 w 4499"/>
                <a:gd name="T101" fmla="*/ 0 h 573"/>
                <a:gd name="T102" fmla="*/ 4298 w 4499"/>
                <a:gd name="T103" fmla="*/ 325 h 573"/>
                <a:gd name="T104" fmla="*/ 4243 w 4499"/>
                <a:gd name="T105" fmla="*/ 444 h 573"/>
                <a:gd name="T106" fmla="*/ 4320 w 4499"/>
                <a:gd name="T107" fmla="*/ 573 h 573"/>
                <a:gd name="T108" fmla="*/ 4337 w 4499"/>
                <a:gd name="T109" fmla="*/ 227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9" h="573">
                  <a:moveTo>
                    <a:pt x="105" y="28"/>
                  </a:moveTo>
                  <a:cubicBezTo>
                    <a:pt x="105" y="15"/>
                    <a:pt x="101" y="13"/>
                    <a:pt x="88" y="13"/>
                  </a:cubicBezTo>
                  <a:lnTo>
                    <a:pt x="16" y="13"/>
                  </a:lnTo>
                  <a:cubicBezTo>
                    <a:pt x="5" y="13"/>
                    <a:pt x="0" y="15"/>
                    <a:pt x="0" y="28"/>
                  </a:cubicBezTo>
                  <a:lnTo>
                    <a:pt x="0" y="545"/>
                  </a:lnTo>
                  <a:cubicBezTo>
                    <a:pt x="0" y="559"/>
                    <a:pt x="5" y="561"/>
                    <a:pt x="15" y="561"/>
                  </a:cubicBezTo>
                  <a:lnTo>
                    <a:pt x="281" y="561"/>
                  </a:lnTo>
                  <a:cubicBezTo>
                    <a:pt x="294" y="561"/>
                    <a:pt x="297" y="558"/>
                    <a:pt x="298" y="545"/>
                  </a:cubicBezTo>
                  <a:lnTo>
                    <a:pt x="298" y="505"/>
                  </a:lnTo>
                  <a:cubicBezTo>
                    <a:pt x="298" y="493"/>
                    <a:pt x="296" y="489"/>
                    <a:pt x="282" y="489"/>
                  </a:cubicBezTo>
                  <a:lnTo>
                    <a:pt x="105" y="489"/>
                  </a:lnTo>
                  <a:lnTo>
                    <a:pt x="105" y="28"/>
                  </a:lnTo>
                  <a:close/>
                  <a:moveTo>
                    <a:pt x="477" y="29"/>
                  </a:moveTo>
                  <a:cubicBezTo>
                    <a:pt x="477" y="15"/>
                    <a:pt x="473" y="13"/>
                    <a:pt x="461" y="13"/>
                  </a:cubicBezTo>
                  <a:lnTo>
                    <a:pt x="387" y="13"/>
                  </a:lnTo>
                  <a:cubicBezTo>
                    <a:pt x="373" y="13"/>
                    <a:pt x="372" y="18"/>
                    <a:pt x="371" y="29"/>
                  </a:cubicBezTo>
                  <a:lnTo>
                    <a:pt x="371" y="544"/>
                  </a:lnTo>
                  <a:cubicBezTo>
                    <a:pt x="371" y="558"/>
                    <a:pt x="377" y="560"/>
                    <a:pt x="388" y="561"/>
                  </a:cubicBezTo>
                  <a:lnTo>
                    <a:pt x="460" y="561"/>
                  </a:lnTo>
                  <a:cubicBezTo>
                    <a:pt x="470" y="561"/>
                    <a:pt x="477" y="558"/>
                    <a:pt x="477" y="544"/>
                  </a:cubicBezTo>
                  <a:lnTo>
                    <a:pt x="477" y="29"/>
                  </a:lnTo>
                  <a:close/>
                  <a:moveTo>
                    <a:pt x="633" y="28"/>
                  </a:moveTo>
                  <a:cubicBezTo>
                    <a:pt x="629" y="14"/>
                    <a:pt x="625" y="13"/>
                    <a:pt x="612" y="13"/>
                  </a:cubicBezTo>
                  <a:lnTo>
                    <a:pt x="535" y="13"/>
                  </a:lnTo>
                  <a:cubicBezTo>
                    <a:pt x="530" y="13"/>
                    <a:pt x="521" y="13"/>
                    <a:pt x="521" y="23"/>
                  </a:cubicBezTo>
                  <a:cubicBezTo>
                    <a:pt x="521" y="26"/>
                    <a:pt x="522" y="28"/>
                    <a:pt x="524" y="35"/>
                  </a:cubicBezTo>
                  <a:lnTo>
                    <a:pt x="706" y="547"/>
                  </a:lnTo>
                  <a:cubicBezTo>
                    <a:pt x="710" y="557"/>
                    <a:pt x="712" y="560"/>
                    <a:pt x="719" y="561"/>
                  </a:cubicBezTo>
                  <a:lnTo>
                    <a:pt x="757" y="561"/>
                  </a:lnTo>
                  <a:cubicBezTo>
                    <a:pt x="770" y="561"/>
                    <a:pt x="772" y="558"/>
                    <a:pt x="777" y="546"/>
                  </a:cubicBezTo>
                  <a:lnTo>
                    <a:pt x="954" y="35"/>
                  </a:lnTo>
                  <a:cubicBezTo>
                    <a:pt x="958" y="26"/>
                    <a:pt x="958" y="24"/>
                    <a:pt x="958" y="23"/>
                  </a:cubicBezTo>
                  <a:cubicBezTo>
                    <a:pt x="958" y="14"/>
                    <a:pt x="949" y="13"/>
                    <a:pt x="941" y="13"/>
                  </a:cubicBezTo>
                  <a:lnTo>
                    <a:pt x="890" y="13"/>
                  </a:lnTo>
                  <a:cubicBezTo>
                    <a:pt x="878" y="13"/>
                    <a:pt x="875" y="14"/>
                    <a:pt x="871" y="28"/>
                  </a:cubicBezTo>
                  <a:lnTo>
                    <a:pt x="752" y="388"/>
                  </a:lnTo>
                  <a:lnTo>
                    <a:pt x="633" y="28"/>
                  </a:lnTo>
                  <a:close/>
                  <a:moveTo>
                    <a:pt x="1261" y="310"/>
                  </a:moveTo>
                  <a:cubicBezTo>
                    <a:pt x="1274" y="310"/>
                    <a:pt x="1278" y="308"/>
                    <a:pt x="1278" y="295"/>
                  </a:cubicBezTo>
                  <a:lnTo>
                    <a:pt x="1278" y="257"/>
                  </a:lnTo>
                  <a:cubicBezTo>
                    <a:pt x="1278" y="243"/>
                    <a:pt x="1274" y="242"/>
                    <a:pt x="1262" y="242"/>
                  </a:cubicBezTo>
                  <a:lnTo>
                    <a:pt x="1107" y="242"/>
                  </a:lnTo>
                  <a:lnTo>
                    <a:pt x="1107" y="82"/>
                  </a:lnTo>
                  <a:lnTo>
                    <a:pt x="1291" y="82"/>
                  </a:lnTo>
                  <a:cubicBezTo>
                    <a:pt x="1304" y="82"/>
                    <a:pt x="1309" y="80"/>
                    <a:pt x="1309" y="65"/>
                  </a:cubicBezTo>
                  <a:lnTo>
                    <a:pt x="1309" y="27"/>
                  </a:lnTo>
                  <a:cubicBezTo>
                    <a:pt x="1309" y="12"/>
                    <a:pt x="1302" y="12"/>
                    <a:pt x="1291" y="12"/>
                  </a:cubicBezTo>
                  <a:lnTo>
                    <a:pt x="1021" y="12"/>
                  </a:lnTo>
                  <a:cubicBezTo>
                    <a:pt x="1007" y="13"/>
                    <a:pt x="1002" y="17"/>
                    <a:pt x="1002" y="34"/>
                  </a:cubicBezTo>
                  <a:lnTo>
                    <a:pt x="1002" y="543"/>
                  </a:lnTo>
                  <a:cubicBezTo>
                    <a:pt x="1002" y="559"/>
                    <a:pt x="1007" y="561"/>
                    <a:pt x="1021" y="561"/>
                  </a:cubicBezTo>
                  <a:lnTo>
                    <a:pt x="1291" y="561"/>
                  </a:lnTo>
                  <a:cubicBezTo>
                    <a:pt x="1304" y="561"/>
                    <a:pt x="1307" y="558"/>
                    <a:pt x="1309" y="551"/>
                  </a:cubicBezTo>
                  <a:lnTo>
                    <a:pt x="1309" y="506"/>
                  </a:lnTo>
                  <a:cubicBezTo>
                    <a:pt x="1309" y="491"/>
                    <a:pt x="1302" y="490"/>
                    <a:pt x="1291" y="490"/>
                  </a:cubicBezTo>
                  <a:lnTo>
                    <a:pt x="1107" y="490"/>
                  </a:lnTo>
                  <a:lnTo>
                    <a:pt x="1107" y="310"/>
                  </a:lnTo>
                  <a:lnTo>
                    <a:pt x="1261" y="310"/>
                  </a:lnTo>
                  <a:close/>
                  <a:moveTo>
                    <a:pt x="1511" y="28"/>
                  </a:moveTo>
                  <a:cubicBezTo>
                    <a:pt x="1511" y="15"/>
                    <a:pt x="1507" y="13"/>
                    <a:pt x="1495" y="13"/>
                  </a:cubicBezTo>
                  <a:lnTo>
                    <a:pt x="1423" y="13"/>
                  </a:lnTo>
                  <a:cubicBezTo>
                    <a:pt x="1411" y="13"/>
                    <a:pt x="1407" y="15"/>
                    <a:pt x="1407" y="28"/>
                  </a:cubicBezTo>
                  <a:lnTo>
                    <a:pt x="1407" y="545"/>
                  </a:lnTo>
                  <a:cubicBezTo>
                    <a:pt x="1407" y="559"/>
                    <a:pt x="1412" y="561"/>
                    <a:pt x="1422" y="561"/>
                  </a:cubicBezTo>
                  <a:lnTo>
                    <a:pt x="1687" y="561"/>
                  </a:lnTo>
                  <a:cubicBezTo>
                    <a:pt x="1701" y="561"/>
                    <a:pt x="1704" y="558"/>
                    <a:pt x="1704" y="545"/>
                  </a:cubicBezTo>
                  <a:lnTo>
                    <a:pt x="1704" y="505"/>
                  </a:lnTo>
                  <a:cubicBezTo>
                    <a:pt x="1704" y="493"/>
                    <a:pt x="1702" y="489"/>
                    <a:pt x="1689" y="489"/>
                  </a:cubicBezTo>
                  <a:lnTo>
                    <a:pt x="1511" y="489"/>
                  </a:lnTo>
                  <a:lnTo>
                    <a:pt x="1511" y="28"/>
                  </a:lnTo>
                  <a:close/>
                  <a:moveTo>
                    <a:pt x="1884" y="29"/>
                  </a:moveTo>
                  <a:cubicBezTo>
                    <a:pt x="1884" y="15"/>
                    <a:pt x="1879" y="13"/>
                    <a:pt x="1867" y="13"/>
                  </a:cubicBezTo>
                  <a:lnTo>
                    <a:pt x="1794" y="13"/>
                  </a:lnTo>
                  <a:cubicBezTo>
                    <a:pt x="1780" y="13"/>
                    <a:pt x="1778" y="18"/>
                    <a:pt x="1777" y="29"/>
                  </a:cubicBezTo>
                  <a:lnTo>
                    <a:pt x="1777" y="544"/>
                  </a:lnTo>
                  <a:cubicBezTo>
                    <a:pt x="1777" y="558"/>
                    <a:pt x="1784" y="560"/>
                    <a:pt x="1795" y="561"/>
                  </a:cubicBezTo>
                  <a:lnTo>
                    <a:pt x="1867" y="561"/>
                  </a:lnTo>
                  <a:cubicBezTo>
                    <a:pt x="1877" y="561"/>
                    <a:pt x="1884" y="558"/>
                    <a:pt x="1884" y="544"/>
                  </a:cubicBezTo>
                  <a:lnTo>
                    <a:pt x="1884" y="29"/>
                  </a:lnTo>
                  <a:close/>
                  <a:moveTo>
                    <a:pt x="2294" y="544"/>
                  </a:moveTo>
                  <a:cubicBezTo>
                    <a:pt x="2294" y="558"/>
                    <a:pt x="2298" y="561"/>
                    <a:pt x="2311" y="561"/>
                  </a:cubicBezTo>
                  <a:lnTo>
                    <a:pt x="2384" y="561"/>
                  </a:lnTo>
                  <a:cubicBezTo>
                    <a:pt x="2394" y="561"/>
                    <a:pt x="2400" y="560"/>
                    <a:pt x="2400" y="545"/>
                  </a:cubicBezTo>
                  <a:lnTo>
                    <a:pt x="2400" y="28"/>
                  </a:lnTo>
                  <a:cubicBezTo>
                    <a:pt x="2400" y="14"/>
                    <a:pt x="2396" y="12"/>
                    <a:pt x="2383" y="12"/>
                  </a:cubicBezTo>
                  <a:lnTo>
                    <a:pt x="2310" y="12"/>
                  </a:lnTo>
                  <a:cubicBezTo>
                    <a:pt x="2295" y="12"/>
                    <a:pt x="2294" y="18"/>
                    <a:pt x="2294" y="29"/>
                  </a:cubicBezTo>
                  <a:lnTo>
                    <a:pt x="2294" y="242"/>
                  </a:lnTo>
                  <a:lnTo>
                    <a:pt x="2110" y="242"/>
                  </a:lnTo>
                  <a:lnTo>
                    <a:pt x="2110" y="28"/>
                  </a:lnTo>
                  <a:cubicBezTo>
                    <a:pt x="2110" y="15"/>
                    <a:pt x="2106" y="12"/>
                    <a:pt x="2093" y="12"/>
                  </a:cubicBezTo>
                  <a:lnTo>
                    <a:pt x="2021" y="12"/>
                  </a:lnTo>
                  <a:cubicBezTo>
                    <a:pt x="2009" y="12"/>
                    <a:pt x="2004" y="15"/>
                    <a:pt x="2004" y="28"/>
                  </a:cubicBezTo>
                  <a:lnTo>
                    <a:pt x="2004" y="545"/>
                  </a:lnTo>
                  <a:cubicBezTo>
                    <a:pt x="2004" y="559"/>
                    <a:pt x="2010" y="561"/>
                    <a:pt x="2021" y="561"/>
                  </a:cubicBezTo>
                  <a:lnTo>
                    <a:pt x="2093" y="561"/>
                  </a:lnTo>
                  <a:cubicBezTo>
                    <a:pt x="2105" y="561"/>
                    <a:pt x="2110" y="559"/>
                    <a:pt x="2110" y="545"/>
                  </a:cubicBezTo>
                  <a:lnTo>
                    <a:pt x="2110" y="310"/>
                  </a:lnTo>
                  <a:lnTo>
                    <a:pt x="2294" y="310"/>
                  </a:lnTo>
                  <a:lnTo>
                    <a:pt x="2294" y="544"/>
                  </a:lnTo>
                  <a:close/>
                  <a:moveTo>
                    <a:pt x="2984" y="272"/>
                  </a:moveTo>
                  <a:cubicBezTo>
                    <a:pt x="2977" y="126"/>
                    <a:pt x="2893" y="0"/>
                    <a:pt x="2738" y="0"/>
                  </a:cubicBezTo>
                  <a:cubicBezTo>
                    <a:pt x="2580" y="0"/>
                    <a:pt x="2489" y="127"/>
                    <a:pt x="2489" y="288"/>
                  </a:cubicBezTo>
                  <a:cubicBezTo>
                    <a:pt x="2489" y="475"/>
                    <a:pt x="2604" y="573"/>
                    <a:pt x="2737" y="573"/>
                  </a:cubicBezTo>
                  <a:cubicBezTo>
                    <a:pt x="2886" y="573"/>
                    <a:pt x="2991" y="446"/>
                    <a:pt x="2984" y="272"/>
                  </a:cubicBezTo>
                  <a:close/>
                  <a:moveTo>
                    <a:pt x="2874" y="274"/>
                  </a:moveTo>
                  <a:cubicBezTo>
                    <a:pt x="2875" y="327"/>
                    <a:pt x="2869" y="387"/>
                    <a:pt x="2844" y="432"/>
                  </a:cubicBezTo>
                  <a:cubicBezTo>
                    <a:pt x="2815" y="482"/>
                    <a:pt x="2773" y="499"/>
                    <a:pt x="2738" y="499"/>
                  </a:cubicBezTo>
                  <a:cubicBezTo>
                    <a:pt x="2707" y="499"/>
                    <a:pt x="2627" y="484"/>
                    <a:pt x="2605" y="358"/>
                  </a:cubicBezTo>
                  <a:cubicBezTo>
                    <a:pt x="2601" y="336"/>
                    <a:pt x="2599" y="310"/>
                    <a:pt x="2599" y="279"/>
                  </a:cubicBezTo>
                  <a:cubicBezTo>
                    <a:pt x="2599" y="237"/>
                    <a:pt x="2602" y="127"/>
                    <a:pt x="2678" y="82"/>
                  </a:cubicBezTo>
                  <a:cubicBezTo>
                    <a:pt x="2695" y="72"/>
                    <a:pt x="2716" y="66"/>
                    <a:pt x="2736" y="66"/>
                  </a:cubicBezTo>
                  <a:cubicBezTo>
                    <a:pt x="2751" y="66"/>
                    <a:pt x="2801" y="68"/>
                    <a:pt x="2839" y="127"/>
                  </a:cubicBezTo>
                  <a:cubicBezTo>
                    <a:pt x="2869" y="174"/>
                    <a:pt x="2873" y="233"/>
                    <a:pt x="2874" y="274"/>
                  </a:cubicBezTo>
                  <a:close/>
                  <a:moveTo>
                    <a:pt x="3549" y="272"/>
                  </a:moveTo>
                  <a:cubicBezTo>
                    <a:pt x="3543" y="126"/>
                    <a:pt x="3459" y="0"/>
                    <a:pt x="3304" y="0"/>
                  </a:cubicBezTo>
                  <a:cubicBezTo>
                    <a:pt x="3146" y="0"/>
                    <a:pt x="3055" y="127"/>
                    <a:pt x="3055" y="288"/>
                  </a:cubicBezTo>
                  <a:cubicBezTo>
                    <a:pt x="3055" y="475"/>
                    <a:pt x="3170" y="573"/>
                    <a:pt x="3303" y="573"/>
                  </a:cubicBezTo>
                  <a:cubicBezTo>
                    <a:pt x="3452" y="573"/>
                    <a:pt x="3556" y="446"/>
                    <a:pt x="3549" y="272"/>
                  </a:cubicBezTo>
                  <a:close/>
                  <a:moveTo>
                    <a:pt x="3440" y="274"/>
                  </a:moveTo>
                  <a:cubicBezTo>
                    <a:pt x="3441" y="327"/>
                    <a:pt x="3435" y="387"/>
                    <a:pt x="3410" y="432"/>
                  </a:cubicBezTo>
                  <a:cubicBezTo>
                    <a:pt x="3381" y="482"/>
                    <a:pt x="3338" y="499"/>
                    <a:pt x="3303" y="499"/>
                  </a:cubicBezTo>
                  <a:cubicBezTo>
                    <a:pt x="3273" y="499"/>
                    <a:pt x="3193" y="484"/>
                    <a:pt x="3171" y="358"/>
                  </a:cubicBezTo>
                  <a:cubicBezTo>
                    <a:pt x="3167" y="336"/>
                    <a:pt x="3164" y="310"/>
                    <a:pt x="3164" y="279"/>
                  </a:cubicBezTo>
                  <a:cubicBezTo>
                    <a:pt x="3164" y="237"/>
                    <a:pt x="3168" y="127"/>
                    <a:pt x="3244" y="82"/>
                  </a:cubicBezTo>
                  <a:cubicBezTo>
                    <a:pt x="3261" y="72"/>
                    <a:pt x="3282" y="66"/>
                    <a:pt x="3302" y="66"/>
                  </a:cubicBezTo>
                  <a:cubicBezTo>
                    <a:pt x="3317" y="66"/>
                    <a:pt x="3367" y="68"/>
                    <a:pt x="3405" y="127"/>
                  </a:cubicBezTo>
                  <a:cubicBezTo>
                    <a:pt x="3435" y="174"/>
                    <a:pt x="3439" y="233"/>
                    <a:pt x="3440" y="274"/>
                  </a:cubicBezTo>
                  <a:close/>
                  <a:moveTo>
                    <a:pt x="3638" y="533"/>
                  </a:moveTo>
                  <a:cubicBezTo>
                    <a:pt x="3639" y="548"/>
                    <a:pt x="3642" y="554"/>
                    <a:pt x="3653" y="557"/>
                  </a:cubicBezTo>
                  <a:cubicBezTo>
                    <a:pt x="3675" y="565"/>
                    <a:pt x="3734" y="567"/>
                    <a:pt x="3765" y="567"/>
                  </a:cubicBezTo>
                  <a:cubicBezTo>
                    <a:pt x="3855" y="567"/>
                    <a:pt x="3947" y="546"/>
                    <a:pt x="4010" y="482"/>
                  </a:cubicBezTo>
                  <a:cubicBezTo>
                    <a:pt x="4031" y="460"/>
                    <a:pt x="4084" y="399"/>
                    <a:pt x="4084" y="287"/>
                  </a:cubicBezTo>
                  <a:cubicBezTo>
                    <a:pt x="4084" y="166"/>
                    <a:pt x="4026" y="102"/>
                    <a:pt x="3998" y="77"/>
                  </a:cubicBezTo>
                  <a:cubicBezTo>
                    <a:pt x="3924" y="11"/>
                    <a:pt x="3829" y="7"/>
                    <a:pt x="3783" y="7"/>
                  </a:cubicBezTo>
                  <a:cubicBezTo>
                    <a:pt x="3733" y="7"/>
                    <a:pt x="3671" y="14"/>
                    <a:pt x="3651" y="21"/>
                  </a:cubicBezTo>
                  <a:cubicBezTo>
                    <a:pt x="3644" y="24"/>
                    <a:pt x="3638" y="27"/>
                    <a:pt x="3638" y="45"/>
                  </a:cubicBezTo>
                  <a:lnTo>
                    <a:pt x="3638" y="533"/>
                  </a:lnTo>
                  <a:close/>
                  <a:moveTo>
                    <a:pt x="3743" y="74"/>
                  </a:moveTo>
                  <a:cubicBezTo>
                    <a:pt x="3754" y="74"/>
                    <a:pt x="3763" y="72"/>
                    <a:pt x="3778" y="72"/>
                  </a:cubicBezTo>
                  <a:cubicBezTo>
                    <a:pt x="3837" y="72"/>
                    <a:pt x="3896" y="94"/>
                    <a:pt x="3931" y="142"/>
                  </a:cubicBezTo>
                  <a:cubicBezTo>
                    <a:pt x="3944" y="160"/>
                    <a:pt x="3972" y="202"/>
                    <a:pt x="3972" y="284"/>
                  </a:cubicBezTo>
                  <a:cubicBezTo>
                    <a:pt x="3972" y="353"/>
                    <a:pt x="3953" y="399"/>
                    <a:pt x="3933" y="426"/>
                  </a:cubicBezTo>
                  <a:cubicBezTo>
                    <a:pt x="3896" y="475"/>
                    <a:pt x="3834" y="498"/>
                    <a:pt x="3768" y="498"/>
                  </a:cubicBezTo>
                  <a:cubicBezTo>
                    <a:pt x="3762" y="498"/>
                    <a:pt x="3754" y="498"/>
                    <a:pt x="3743" y="497"/>
                  </a:cubicBezTo>
                  <a:lnTo>
                    <a:pt x="3743" y="74"/>
                  </a:lnTo>
                  <a:close/>
                  <a:moveTo>
                    <a:pt x="4337" y="227"/>
                  </a:moveTo>
                  <a:cubicBezTo>
                    <a:pt x="4284" y="202"/>
                    <a:pt x="4245" y="181"/>
                    <a:pt x="4245" y="131"/>
                  </a:cubicBezTo>
                  <a:cubicBezTo>
                    <a:pt x="4245" y="92"/>
                    <a:pt x="4273" y="62"/>
                    <a:pt x="4312" y="62"/>
                  </a:cubicBezTo>
                  <a:cubicBezTo>
                    <a:pt x="4354" y="62"/>
                    <a:pt x="4374" y="94"/>
                    <a:pt x="4388" y="115"/>
                  </a:cubicBezTo>
                  <a:cubicBezTo>
                    <a:pt x="4398" y="132"/>
                    <a:pt x="4408" y="149"/>
                    <a:pt x="4435" y="149"/>
                  </a:cubicBezTo>
                  <a:cubicBezTo>
                    <a:pt x="4460" y="149"/>
                    <a:pt x="4479" y="130"/>
                    <a:pt x="4479" y="104"/>
                  </a:cubicBezTo>
                  <a:cubicBezTo>
                    <a:pt x="4479" y="59"/>
                    <a:pt x="4418" y="0"/>
                    <a:pt x="4315" y="0"/>
                  </a:cubicBezTo>
                  <a:cubicBezTo>
                    <a:pt x="4219" y="0"/>
                    <a:pt x="4149" y="58"/>
                    <a:pt x="4149" y="152"/>
                  </a:cubicBezTo>
                  <a:cubicBezTo>
                    <a:pt x="4149" y="246"/>
                    <a:pt x="4225" y="287"/>
                    <a:pt x="4255" y="303"/>
                  </a:cubicBezTo>
                  <a:lnTo>
                    <a:pt x="4298" y="325"/>
                  </a:lnTo>
                  <a:cubicBezTo>
                    <a:pt x="4360" y="358"/>
                    <a:pt x="4400" y="378"/>
                    <a:pt x="4400" y="433"/>
                  </a:cubicBezTo>
                  <a:cubicBezTo>
                    <a:pt x="4400" y="477"/>
                    <a:pt x="4369" y="506"/>
                    <a:pt x="4327" y="506"/>
                  </a:cubicBezTo>
                  <a:cubicBezTo>
                    <a:pt x="4275" y="506"/>
                    <a:pt x="4253" y="465"/>
                    <a:pt x="4243" y="444"/>
                  </a:cubicBezTo>
                  <a:cubicBezTo>
                    <a:pt x="4232" y="423"/>
                    <a:pt x="4219" y="399"/>
                    <a:pt x="4188" y="399"/>
                  </a:cubicBezTo>
                  <a:cubicBezTo>
                    <a:pt x="4170" y="399"/>
                    <a:pt x="4143" y="412"/>
                    <a:pt x="4143" y="446"/>
                  </a:cubicBezTo>
                  <a:cubicBezTo>
                    <a:pt x="4143" y="491"/>
                    <a:pt x="4194" y="573"/>
                    <a:pt x="4320" y="573"/>
                  </a:cubicBezTo>
                  <a:cubicBezTo>
                    <a:pt x="4422" y="573"/>
                    <a:pt x="4499" y="514"/>
                    <a:pt x="4499" y="413"/>
                  </a:cubicBezTo>
                  <a:cubicBezTo>
                    <a:pt x="4499" y="310"/>
                    <a:pt x="4423" y="271"/>
                    <a:pt x="4374" y="245"/>
                  </a:cubicBezTo>
                  <a:lnTo>
                    <a:pt x="4337" y="22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0238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6B99C32-55DA-EE2D-B2A0-41C888DDA121}"/>
              </a:ext>
            </a:extLst>
          </p:cNvPr>
          <p:cNvSpPr/>
          <p:nvPr/>
        </p:nvSpPr>
        <p:spPr>
          <a:xfrm>
            <a:off x="215900" y="2590800"/>
            <a:ext cx="4611550" cy="3962400"/>
          </a:xfrm>
          <a:prstGeom prst="roundRect">
            <a:avLst>
              <a:gd name="adj" fmla="val 6410"/>
            </a:avLst>
          </a:prstGeom>
          <a:solidFill>
            <a:schemeClr val="bg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2F796EA-59FE-D111-47DF-483FC71F9F4B}"/>
              </a:ext>
            </a:extLst>
          </p:cNvPr>
          <p:cNvSpPr/>
          <p:nvPr/>
        </p:nvSpPr>
        <p:spPr>
          <a:xfrm>
            <a:off x="7430464" y="2563137"/>
            <a:ext cx="4611550" cy="3962400"/>
          </a:xfrm>
          <a:prstGeom prst="roundRect">
            <a:avLst>
              <a:gd name="adj" fmla="val 6410"/>
            </a:avLst>
          </a:prstGeom>
          <a:solidFill>
            <a:schemeClr val="bg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FF1AE4-61BB-AEEA-B181-0A5314B91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IVERSE PORTFOLIO OF COMPANIES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8BD97E4-9226-EA4B-5C1C-CD7D7949B48A}"/>
              </a:ext>
            </a:extLst>
          </p:cNvPr>
          <p:cNvSpPr/>
          <p:nvPr/>
        </p:nvSpPr>
        <p:spPr>
          <a:xfrm>
            <a:off x="215899" y="4501940"/>
            <a:ext cx="4595814" cy="315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HL top shareholder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D1ED49F-C397-A666-B764-E143857AEDF4}"/>
              </a:ext>
            </a:extLst>
          </p:cNvPr>
          <p:cNvGrpSpPr/>
          <p:nvPr/>
        </p:nvGrpSpPr>
        <p:grpSpPr>
          <a:xfrm>
            <a:off x="3505200" y="4903335"/>
            <a:ext cx="1135401" cy="1460192"/>
            <a:chOff x="474539" y="4696503"/>
            <a:chExt cx="4166062" cy="1460192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768F093-2688-FE39-2AF7-959D4D9F084D}"/>
                </a:ext>
              </a:extLst>
            </p:cNvPr>
            <p:cNvSpPr/>
            <p:nvPr/>
          </p:nvSpPr>
          <p:spPr>
            <a:xfrm>
              <a:off x="474540" y="4696503"/>
              <a:ext cx="4166061" cy="3156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7.92%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203B297-E954-988A-805C-8D45C9D7772B}"/>
                </a:ext>
              </a:extLst>
            </p:cNvPr>
            <p:cNvSpPr/>
            <p:nvPr/>
          </p:nvSpPr>
          <p:spPr>
            <a:xfrm>
              <a:off x="474539" y="5077555"/>
              <a:ext cx="4166061" cy="3156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r">
                <a:defRPr/>
              </a:pPr>
              <a:r>
                <a:rPr lang="en-US" b="1">
                  <a:solidFill>
                    <a:schemeClr val="tx1"/>
                  </a:solidFill>
                  <a:latin typeface="Arial"/>
                </a:rPr>
                <a:t>11.89%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AE32A88-92F0-23E3-7946-817CC7CC726E}"/>
                </a:ext>
              </a:extLst>
            </p:cNvPr>
            <p:cNvSpPr/>
            <p:nvPr/>
          </p:nvSpPr>
          <p:spPr>
            <a:xfrm>
              <a:off x="474539" y="5442145"/>
              <a:ext cx="4166061" cy="3156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.00%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224D3D4-75B3-36BE-B979-BADCA84C7E5C}"/>
                </a:ext>
              </a:extLst>
            </p:cNvPr>
            <p:cNvSpPr/>
            <p:nvPr/>
          </p:nvSpPr>
          <p:spPr>
            <a:xfrm>
              <a:off x="474539" y="5841027"/>
              <a:ext cx="4166061" cy="3156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>
                  <a:solidFill>
                    <a:schemeClr val="tx1"/>
                  </a:solidFill>
                  <a:latin typeface="Arial"/>
                </a:rPr>
                <a:t>26.19%</a:t>
              </a: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C2611E9A-39AF-3CEC-9DDC-0A4C2650E0B0}"/>
              </a:ext>
            </a:extLst>
          </p:cNvPr>
          <p:cNvSpPr/>
          <p:nvPr/>
        </p:nvSpPr>
        <p:spPr>
          <a:xfrm>
            <a:off x="10746854" y="4228669"/>
            <a:ext cx="1120601" cy="315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7.61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A8A3097-80BD-B971-2EA5-897A986EFD3F}"/>
              </a:ext>
            </a:extLst>
          </p:cNvPr>
          <p:cNvSpPr/>
          <p:nvPr/>
        </p:nvSpPr>
        <p:spPr>
          <a:xfrm>
            <a:off x="10754602" y="4730511"/>
            <a:ext cx="1120601" cy="315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.00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0185D20-6DBA-1222-2ED1-DD93758F123F}"/>
              </a:ext>
            </a:extLst>
          </p:cNvPr>
          <p:cNvSpPr/>
          <p:nvPr/>
        </p:nvSpPr>
        <p:spPr>
          <a:xfrm>
            <a:off x="10790326" y="6038634"/>
            <a:ext cx="1115507" cy="315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.10%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9FE45F7-38C7-62DD-564F-95738E45648D}"/>
              </a:ext>
            </a:extLst>
          </p:cNvPr>
          <p:cNvSpPr/>
          <p:nvPr/>
        </p:nvSpPr>
        <p:spPr>
          <a:xfrm>
            <a:off x="10778791" y="5560456"/>
            <a:ext cx="1127042" cy="3096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3.00%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C44681A-FC2D-E3A4-5B91-AEFD25774420}"/>
              </a:ext>
            </a:extLst>
          </p:cNvPr>
          <p:cNvGrpSpPr/>
          <p:nvPr/>
        </p:nvGrpSpPr>
        <p:grpSpPr>
          <a:xfrm>
            <a:off x="390549" y="4903335"/>
            <a:ext cx="1971651" cy="1460192"/>
            <a:chOff x="-914401" y="6327197"/>
            <a:chExt cx="4166062" cy="1460192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1F6CE32-7576-EE15-4281-CC65D1730F34}"/>
                </a:ext>
              </a:extLst>
            </p:cNvPr>
            <p:cNvSpPr/>
            <p:nvPr/>
          </p:nvSpPr>
          <p:spPr>
            <a:xfrm>
              <a:off x="-914400" y="6327197"/>
              <a:ext cx="4166061" cy="3156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nlamAllianz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D434773-61E9-2DF6-5CAC-7A11FBA69F5C}"/>
                </a:ext>
              </a:extLst>
            </p:cNvPr>
            <p:cNvSpPr/>
            <p:nvPr/>
          </p:nvSpPr>
          <p:spPr>
            <a:xfrm>
              <a:off x="-914401" y="6708249"/>
              <a:ext cx="4166061" cy="3156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>
                <a:defRPr/>
              </a:pPr>
              <a:r>
                <a:rPr lang="en-US">
                  <a:solidFill>
                    <a:schemeClr val="tx1"/>
                  </a:solidFill>
                  <a:latin typeface="Arial"/>
                </a:rPr>
                <a:t>BPOPF</a:t>
              </a:r>
              <a:endParaRPr lang="en-US" b="1">
                <a:solidFill>
                  <a:schemeClr val="tx1"/>
                </a:solidFill>
                <a:latin typeface="Arial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47D5069-3E2B-2074-D7AC-9547812FE54B}"/>
                </a:ext>
              </a:extLst>
            </p:cNvPr>
            <p:cNvSpPr/>
            <p:nvPr/>
          </p:nvSpPr>
          <p:spPr>
            <a:xfrm>
              <a:off x="-914401" y="7072839"/>
              <a:ext cx="4166061" cy="3156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VA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7D90E42-B872-0628-CA3A-0B70D87C0389}"/>
                </a:ext>
              </a:extLst>
            </p:cNvPr>
            <p:cNvSpPr/>
            <p:nvPr/>
          </p:nvSpPr>
          <p:spPr>
            <a:xfrm>
              <a:off x="-914401" y="7471721"/>
              <a:ext cx="4166061" cy="3156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>
                  <a:solidFill>
                    <a:schemeClr val="tx1"/>
                  </a:solidFill>
                  <a:latin typeface="Arial"/>
                </a:rPr>
                <a:t>Other</a:t>
              </a:r>
              <a:endParaRPr lang="en-US" b="1">
                <a:solidFill>
                  <a:schemeClr val="tx1"/>
                </a:solidFill>
                <a:latin typeface="Arial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3B3E6A1-D856-8996-0ABF-043CB23391EF}"/>
              </a:ext>
            </a:extLst>
          </p:cNvPr>
          <p:cNvGrpSpPr/>
          <p:nvPr/>
        </p:nvGrpSpPr>
        <p:grpSpPr>
          <a:xfrm>
            <a:off x="1057250" y="3048000"/>
            <a:ext cx="2849773" cy="1426032"/>
            <a:chOff x="1057250" y="2673064"/>
            <a:chExt cx="2849773" cy="1426032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84AF659-91F8-A2EE-8E03-6A7BD4A59E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3760" b="23760"/>
            <a:stretch/>
          </p:blipFill>
          <p:spPr>
            <a:xfrm>
              <a:off x="1057250" y="2802842"/>
              <a:ext cx="893050" cy="560792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690B52CC-4E3C-3A73-A8D3-1752AE52F5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7515" b="16687"/>
            <a:stretch/>
          </p:blipFill>
          <p:spPr>
            <a:xfrm>
              <a:off x="2915314" y="2673064"/>
              <a:ext cx="786029" cy="618196"/>
            </a:xfrm>
            <a:prstGeom prst="rect">
              <a:avLst/>
            </a:prstGeom>
          </p:spPr>
        </p:pic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84F780EE-A508-D9F1-C49E-95A856CF65E1}"/>
                </a:ext>
              </a:extLst>
            </p:cNvPr>
            <p:cNvGrpSpPr/>
            <p:nvPr/>
          </p:nvGrpSpPr>
          <p:grpSpPr>
            <a:xfrm>
              <a:off x="2455761" y="3268099"/>
              <a:ext cx="1451262" cy="830997"/>
              <a:chOff x="2728528" y="3268099"/>
              <a:chExt cx="1451262" cy="830997"/>
            </a:xfrm>
          </p:grpSpPr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704D10B1-D6C8-20FE-B135-EC1590E998F2}"/>
                  </a:ext>
                </a:extLst>
              </p:cNvPr>
              <p:cNvSpPr txBox="1"/>
              <p:nvPr/>
            </p:nvSpPr>
            <p:spPr>
              <a:xfrm>
                <a:off x="2728528" y="3268099"/>
                <a:ext cx="1371600" cy="83099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ifm CEE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flife Zambia </a:t>
                </a:r>
                <a:r>
                  <a:rPr kumimoji="0" lang="en-US" sz="1200" b="0" i="0" u="none" strike="noStrike" kern="1200" cap="none" spc="0" normalizeH="0" baseline="0" noProof="0" err="1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Khumo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PAM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5F2325E-A4CB-47BD-5AE9-F528C6524AC4}"/>
                  </a:ext>
                </a:extLst>
              </p:cNvPr>
              <p:cNvSpPr txBox="1"/>
              <p:nvPr/>
            </p:nvSpPr>
            <p:spPr>
              <a:xfrm>
                <a:off x="3505200" y="3268099"/>
                <a:ext cx="674590" cy="83099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5.1%</a:t>
                </a:r>
              </a:p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49.0%</a:t>
                </a:r>
              </a:p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50.0</a:t>
                </a:r>
                <a:r>
                  <a: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0C2D3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%</a:t>
                </a:r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80650D7-09E2-84B9-E91F-CAB2459A6A8F}"/>
              </a:ext>
            </a:extLst>
          </p:cNvPr>
          <p:cNvGrpSpPr/>
          <p:nvPr/>
        </p:nvGrpSpPr>
        <p:grpSpPr>
          <a:xfrm>
            <a:off x="228600" y="1377387"/>
            <a:ext cx="11745912" cy="1677978"/>
            <a:chOff x="228600" y="1377387"/>
            <a:chExt cx="11745912" cy="1677978"/>
          </a:xfrm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57085482-0E71-65C2-027A-6BA54E9293FC}"/>
                </a:ext>
              </a:extLst>
            </p:cNvPr>
            <p:cNvSpPr/>
            <p:nvPr/>
          </p:nvSpPr>
          <p:spPr>
            <a:xfrm>
              <a:off x="2498903" y="2188690"/>
              <a:ext cx="7181493" cy="387271"/>
            </a:xfrm>
            <a:custGeom>
              <a:avLst/>
              <a:gdLst>
                <a:gd name="connsiteX0" fmla="*/ 490803 w 7154183"/>
                <a:gd name="connsiteY0" fmla="*/ 0 h 392542"/>
                <a:gd name="connsiteX1" fmla="*/ 6663424 w 7154183"/>
                <a:gd name="connsiteY1" fmla="*/ 0 h 392542"/>
                <a:gd name="connsiteX2" fmla="*/ 7128176 w 7154183"/>
                <a:gd name="connsiteY2" fmla="*/ 308744 h 392542"/>
                <a:gd name="connsiteX3" fmla="*/ 7154183 w 7154183"/>
                <a:gd name="connsiteY3" fmla="*/ 392542 h 392542"/>
                <a:gd name="connsiteX4" fmla="*/ 0 w 7154183"/>
                <a:gd name="connsiteY4" fmla="*/ 392542 h 392542"/>
                <a:gd name="connsiteX5" fmla="*/ 25933 w 7154183"/>
                <a:gd name="connsiteY5" fmla="*/ 308744 h 392542"/>
                <a:gd name="connsiteX6" fmla="*/ 490803 w 7154183"/>
                <a:gd name="connsiteY6" fmla="*/ 0 h 392542"/>
                <a:gd name="connsiteX0" fmla="*/ 0 w 7154183"/>
                <a:gd name="connsiteY0" fmla="*/ 392542 h 485227"/>
                <a:gd name="connsiteX1" fmla="*/ 25933 w 7154183"/>
                <a:gd name="connsiteY1" fmla="*/ 308744 h 485227"/>
                <a:gd name="connsiteX2" fmla="*/ 490803 w 7154183"/>
                <a:gd name="connsiteY2" fmla="*/ 0 h 485227"/>
                <a:gd name="connsiteX3" fmla="*/ 6663424 w 7154183"/>
                <a:gd name="connsiteY3" fmla="*/ 0 h 485227"/>
                <a:gd name="connsiteX4" fmla="*/ 7128176 w 7154183"/>
                <a:gd name="connsiteY4" fmla="*/ 308744 h 485227"/>
                <a:gd name="connsiteX5" fmla="*/ 7154183 w 7154183"/>
                <a:gd name="connsiteY5" fmla="*/ 392542 h 485227"/>
                <a:gd name="connsiteX6" fmla="*/ 91092 w 7154183"/>
                <a:gd name="connsiteY6" fmla="*/ 485227 h 485227"/>
                <a:gd name="connsiteX0" fmla="*/ 0 w 7154183"/>
                <a:gd name="connsiteY0" fmla="*/ 392542 h 392542"/>
                <a:gd name="connsiteX1" fmla="*/ 25933 w 7154183"/>
                <a:gd name="connsiteY1" fmla="*/ 308744 h 392542"/>
                <a:gd name="connsiteX2" fmla="*/ 490803 w 7154183"/>
                <a:gd name="connsiteY2" fmla="*/ 0 h 392542"/>
                <a:gd name="connsiteX3" fmla="*/ 6663424 w 7154183"/>
                <a:gd name="connsiteY3" fmla="*/ 0 h 392542"/>
                <a:gd name="connsiteX4" fmla="*/ 7128176 w 7154183"/>
                <a:gd name="connsiteY4" fmla="*/ 308744 h 392542"/>
                <a:gd name="connsiteX5" fmla="*/ 7154183 w 7154183"/>
                <a:gd name="connsiteY5" fmla="*/ 392542 h 39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4183" h="392542">
                  <a:moveTo>
                    <a:pt x="0" y="392542"/>
                  </a:moveTo>
                  <a:lnTo>
                    <a:pt x="25933" y="308744"/>
                  </a:lnTo>
                  <a:cubicBezTo>
                    <a:pt x="102387" y="127429"/>
                    <a:pt x="281462" y="0"/>
                    <a:pt x="490803" y="0"/>
                  </a:cubicBezTo>
                  <a:lnTo>
                    <a:pt x="6663424" y="0"/>
                  </a:lnTo>
                  <a:cubicBezTo>
                    <a:pt x="6872135" y="0"/>
                    <a:pt x="7051525" y="127429"/>
                    <a:pt x="7128176" y="308744"/>
                  </a:cubicBezTo>
                  <a:lnTo>
                    <a:pt x="7154183" y="392542"/>
                  </a:lnTo>
                </a:path>
              </a:pathLst>
            </a:cu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9C669295-03C9-1FD6-7436-60E5500F11C2}"/>
                </a:ext>
              </a:extLst>
            </p:cNvPr>
            <p:cNvSpPr/>
            <p:nvPr/>
          </p:nvSpPr>
          <p:spPr>
            <a:xfrm>
              <a:off x="228600" y="2590800"/>
              <a:ext cx="4543368" cy="3343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0% SUBSIDIARIES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4F8D65F6-2529-6CDC-AE6B-D0EC30BB1F72}"/>
                </a:ext>
              </a:extLst>
            </p:cNvPr>
            <p:cNvSpPr/>
            <p:nvPr/>
          </p:nvSpPr>
          <p:spPr>
            <a:xfrm>
              <a:off x="7380286" y="2590800"/>
              <a:ext cx="4594226" cy="3343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SOCIATES</a:t>
              </a: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C8CD8C1-B59A-3FBD-8E69-4AEB2354DB74}"/>
                </a:ext>
              </a:extLst>
            </p:cNvPr>
            <p:cNvGrpSpPr/>
            <p:nvPr/>
          </p:nvGrpSpPr>
          <p:grpSpPr>
            <a:xfrm>
              <a:off x="5257800" y="1377387"/>
              <a:ext cx="1676400" cy="1677978"/>
              <a:chOff x="5257800" y="1674536"/>
              <a:chExt cx="1676400" cy="1677978"/>
            </a:xfrm>
          </p:grpSpPr>
          <p:sp>
            <p:nvSpPr>
              <p:cNvPr id="46" name="Oval 6">
                <a:extLst>
                  <a:ext uri="{FF2B5EF4-FFF2-40B4-BE49-F238E27FC236}">
                    <a16:creationId xmlns:a16="http://schemas.microsoft.com/office/drawing/2014/main" id="{B9D9FC01-30F4-0553-1D27-E36691A658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7800" y="1674536"/>
                <a:ext cx="1676400" cy="1677978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ffectLst>
                <a:outerShdw blurRad="107950" dist="12700" dir="5400000" algn="ctr">
                  <a:srgbClr val="000000"/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Oval 7">
                <a:extLst>
                  <a:ext uri="{FF2B5EF4-FFF2-40B4-BE49-F238E27FC236}">
                    <a16:creationId xmlns:a16="http://schemas.microsoft.com/office/drawing/2014/main" id="{ACA6EEF0-5FE1-2175-9199-DEC26BD232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7800" y="1674536"/>
                <a:ext cx="1676400" cy="1677978"/>
              </a:xfrm>
              <a:prstGeom prst="ellipse">
                <a:avLst/>
              </a:prstGeom>
              <a:noFill/>
              <a:ln w="12700" cap="flat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Freeform 8">
                <a:extLst>
                  <a:ext uri="{FF2B5EF4-FFF2-40B4-BE49-F238E27FC236}">
                    <a16:creationId xmlns:a16="http://schemas.microsoft.com/office/drawing/2014/main" id="{73C65E07-F53B-EACB-45DF-253CF97C36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28044" y="2616918"/>
                <a:ext cx="154696" cy="151539"/>
              </a:xfrm>
              <a:custGeom>
                <a:avLst/>
                <a:gdLst>
                  <a:gd name="T0" fmla="*/ 426 w 429"/>
                  <a:gd name="T1" fmla="*/ 200 h 422"/>
                  <a:gd name="T2" fmla="*/ 215 w 429"/>
                  <a:gd name="T3" fmla="*/ 0 h 422"/>
                  <a:gd name="T4" fmla="*/ 0 w 429"/>
                  <a:gd name="T5" fmla="*/ 212 h 422"/>
                  <a:gd name="T6" fmla="*/ 213 w 429"/>
                  <a:gd name="T7" fmla="*/ 422 h 422"/>
                  <a:gd name="T8" fmla="*/ 363 w 429"/>
                  <a:gd name="T9" fmla="*/ 367 h 422"/>
                  <a:gd name="T10" fmla="*/ 426 w 429"/>
                  <a:gd name="T11" fmla="*/ 200 h 422"/>
                  <a:gd name="T12" fmla="*/ 328 w 429"/>
                  <a:gd name="T13" fmla="*/ 337 h 422"/>
                  <a:gd name="T14" fmla="*/ 214 w 429"/>
                  <a:gd name="T15" fmla="*/ 398 h 422"/>
                  <a:gd name="T16" fmla="*/ 73 w 429"/>
                  <a:gd name="T17" fmla="*/ 273 h 422"/>
                  <a:gd name="T18" fmla="*/ 67 w 429"/>
                  <a:gd name="T19" fmla="*/ 208 h 422"/>
                  <a:gd name="T20" fmla="*/ 150 w 429"/>
                  <a:gd name="T21" fmla="*/ 38 h 422"/>
                  <a:gd name="T22" fmla="*/ 212 w 429"/>
                  <a:gd name="T23" fmla="*/ 24 h 422"/>
                  <a:gd name="T24" fmla="*/ 323 w 429"/>
                  <a:gd name="T25" fmla="*/ 79 h 422"/>
                  <a:gd name="T26" fmla="*/ 359 w 429"/>
                  <a:gd name="T27" fmla="*/ 203 h 422"/>
                  <a:gd name="T28" fmla="*/ 328 w 429"/>
                  <a:gd name="T29" fmla="*/ 337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9" h="422">
                    <a:moveTo>
                      <a:pt x="426" y="200"/>
                    </a:moveTo>
                    <a:cubicBezTo>
                      <a:pt x="421" y="101"/>
                      <a:pt x="354" y="0"/>
                      <a:pt x="215" y="0"/>
                    </a:cubicBezTo>
                    <a:cubicBezTo>
                      <a:pt x="86" y="0"/>
                      <a:pt x="0" y="85"/>
                      <a:pt x="0" y="212"/>
                    </a:cubicBezTo>
                    <a:cubicBezTo>
                      <a:pt x="0" y="357"/>
                      <a:pt x="107" y="422"/>
                      <a:pt x="213" y="422"/>
                    </a:cubicBezTo>
                    <a:cubicBezTo>
                      <a:pt x="272" y="422"/>
                      <a:pt x="324" y="403"/>
                      <a:pt x="363" y="367"/>
                    </a:cubicBezTo>
                    <a:cubicBezTo>
                      <a:pt x="407" y="326"/>
                      <a:pt x="429" y="267"/>
                      <a:pt x="426" y="200"/>
                    </a:cubicBezTo>
                    <a:close/>
                    <a:moveTo>
                      <a:pt x="328" y="337"/>
                    </a:moveTo>
                    <a:cubicBezTo>
                      <a:pt x="291" y="393"/>
                      <a:pt x="236" y="398"/>
                      <a:pt x="214" y="398"/>
                    </a:cubicBezTo>
                    <a:cubicBezTo>
                      <a:pt x="195" y="398"/>
                      <a:pt x="98" y="392"/>
                      <a:pt x="73" y="273"/>
                    </a:cubicBezTo>
                    <a:cubicBezTo>
                      <a:pt x="69" y="254"/>
                      <a:pt x="67" y="232"/>
                      <a:pt x="67" y="208"/>
                    </a:cubicBezTo>
                    <a:cubicBezTo>
                      <a:pt x="67" y="123"/>
                      <a:pt x="95" y="66"/>
                      <a:pt x="150" y="38"/>
                    </a:cubicBezTo>
                    <a:cubicBezTo>
                      <a:pt x="168" y="29"/>
                      <a:pt x="190" y="24"/>
                      <a:pt x="212" y="24"/>
                    </a:cubicBezTo>
                    <a:cubicBezTo>
                      <a:pt x="269" y="24"/>
                      <a:pt x="304" y="54"/>
                      <a:pt x="323" y="79"/>
                    </a:cubicBezTo>
                    <a:cubicBezTo>
                      <a:pt x="353" y="120"/>
                      <a:pt x="358" y="170"/>
                      <a:pt x="359" y="203"/>
                    </a:cubicBezTo>
                    <a:cubicBezTo>
                      <a:pt x="360" y="259"/>
                      <a:pt x="349" y="304"/>
                      <a:pt x="328" y="337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9">
                <a:extLst>
                  <a:ext uri="{FF2B5EF4-FFF2-40B4-BE49-F238E27FC236}">
                    <a16:creationId xmlns:a16="http://schemas.microsoft.com/office/drawing/2014/main" id="{1ED27A3B-F713-F65E-F577-C980D8647B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7428" y="2618497"/>
                <a:ext cx="108919" cy="149961"/>
              </a:xfrm>
              <a:custGeom>
                <a:avLst/>
                <a:gdLst>
                  <a:gd name="T0" fmla="*/ 0 w 305"/>
                  <a:gd name="T1" fmla="*/ 414 h 414"/>
                  <a:gd name="T2" fmla="*/ 0 w 305"/>
                  <a:gd name="T3" fmla="*/ 0 h 414"/>
                  <a:gd name="T4" fmla="*/ 118 w 305"/>
                  <a:gd name="T5" fmla="*/ 0 h 414"/>
                  <a:gd name="T6" fmla="*/ 305 w 305"/>
                  <a:gd name="T7" fmla="*/ 113 h 414"/>
                  <a:gd name="T8" fmla="*/ 120 w 305"/>
                  <a:gd name="T9" fmla="*/ 227 h 414"/>
                  <a:gd name="T10" fmla="*/ 60 w 305"/>
                  <a:gd name="T11" fmla="*/ 227 h 414"/>
                  <a:gd name="T12" fmla="*/ 60 w 305"/>
                  <a:gd name="T13" fmla="*/ 414 h 414"/>
                  <a:gd name="T14" fmla="*/ 0 w 305"/>
                  <a:gd name="T15" fmla="*/ 414 h 414"/>
                  <a:gd name="T16" fmla="*/ 112 w 305"/>
                  <a:gd name="T17" fmla="*/ 20 h 414"/>
                  <a:gd name="T18" fmla="*/ 60 w 305"/>
                  <a:gd name="T19" fmla="*/ 24 h 414"/>
                  <a:gd name="T20" fmla="*/ 60 w 305"/>
                  <a:gd name="T21" fmla="*/ 203 h 414"/>
                  <a:gd name="T22" fmla="*/ 107 w 305"/>
                  <a:gd name="T23" fmla="*/ 203 h 414"/>
                  <a:gd name="T24" fmla="*/ 240 w 305"/>
                  <a:gd name="T25" fmla="*/ 114 h 414"/>
                  <a:gd name="T26" fmla="*/ 112 w 305"/>
                  <a:gd name="T27" fmla="*/ 20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5" h="414">
                    <a:moveTo>
                      <a:pt x="0" y="414"/>
                    </a:moveTo>
                    <a:lnTo>
                      <a:pt x="0" y="0"/>
                    </a:lnTo>
                    <a:lnTo>
                      <a:pt x="118" y="0"/>
                    </a:lnTo>
                    <a:cubicBezTo>
                      <a:pt x="244" y="0"/>
                      <a:pt x="305" y="38"/>
                      <a:pt x="305" y="113"/>
                    </a:cubicBezTo>
                    <a:cubicBezTo>
                      <a:pt x="305" y="220"/>
                      <a:pt x="175" y="227"/>
                      <a:pt x="120" y="227"/>
                    </a:cubicBezTo>
                    <a:lnTo>
                      <a:pt x="60" y="227"/>
                    </a:lnTo>
                    <a:lnTo>
                      <a:pt x="60" y="414"/>
                    </a:lnTo>
                    <a:lnTo>
                      <a:pt x="0" y="414"/>
                    </a:lnTo>
                    <a:close/>
                    <a:moveTo>
                      <a:pt x="112" y="20"/>
                    </a:moveTo>
                    <a:cubicBezTo>
                      <a:pt x="81" y="20"/>
                      <a:pt x="60" y="24"/>
                      <a:pt x="60" y="24"/>
                    </a:cubicBezTo>
                    <a:lnTo>
                      <a:pt x="60" y="203"/>
                    </a:lnTo>
                    <a:lnTo>
                      <a:pt x="107" y="203"/>
                    </a:lnTo>
                    <a:cubicBezTo>
                      <a:pt x="195" y="203"/>
                      <a:pt x="240" y="181"/>
                      <a:pt x="240" y="114"/>
                    </a:cubicBezTo>
                    <a:cubicBezTo>
                      <a:pt x="240" y="69"/>
                      <a:pt x="218" y="20"/>
                      <a:pt x="112" y="20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Freeform 10">
                <a:extLst>
                  <a:ext uri="{FF2B5EF4-FFF2-40B4-BE49-F238E27FC236}">
                    <a16:creationId xmlns:a16="http://schemas.microsoft.com/office/drawing/2014/main" id="{68632D69-04C7-6483-86AF-AE77B23877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7468" y="2618497"/>
                <a:ext cx="110497" cy="149961"/>
              </a:xfrm>
              <a:custGeom>
                <a:avLst/>
                <a:gdLst>
                  <a:gd name="T0" fmla="*/ 166 w 311"/>
                  <a:gd name="T1" fmla="*/ 418 h 418"/>
                  <a:gd name="T2" fmla="*/ 15 w 311"/>
                  <a:gd name="T3" fmla="*/ 360 h 418"/>
                  <a:gd name="T4" fmla="*/ 0 w 311"/>
                  <a:gd name="T5" fmla="*/ 292 h 418"/>
                  <a:gd name="T6" fmla="*/ 0 w 311"/>
                  <a:gd name="T7" fmla="*/ 0 h 418"/>
                  <a:gd name="T8" fmla="*/ 60 w 311"/>
                  <a:gd name="T9" fmla="*/ 0 h 418"/>
                  <a:gd name="T10" fmla="*/ 60 w 311"/>
                  <a:gd name="T11" fmla="*/ 290 h 418"/>
                  <a:gd name="T12" fmla="*/ 166 w 311"/>
                  <a:gd name="T13" fmla="*/ 394 h 418"/>
                  <a:gd name="T14" fmla="*/ 269 w 311"/>
                  <a:gd name="T15" fmla="*/ 296 h 418"/>
                  <a:gd name="T16" fmla="*/ 269 w 311"/>
                  <a:gd name="T17" fmla="*/ 0 h 418"/>
                  <a:gd name="T18" fmla="*/ 311 w 311"/>
                  <a:gd name="T19" fmla="*/ 0 h 418"/>
                  <a:gd name="T20" fmla="*/ 311 w 311"/>
                  <a:gd name="T21" fmla="*/ 300 h 418"/>
                  <a:gd name="T22" fmla="*/ 298 w 311"/>
                  <a:gd name="T23" fmla="*/ 358 h 418"/>
                  <a:gd name="T24" fmla="*/ 166 w 311"/>
                  <a:gd name="T25" fmla="*/ 418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11" h="418">
                    <a:moveTo>
                      <a:pt x="166" y="418"/>
                    </a:moveTo>
                    <a:cubicBezTo>
                      <a:pt x="117" y="418"/>
                      <a:pt x="43" y="412"/>
                      <a:pt x="15" y="360"/>
                    </a:cubicBezTo>
                    <a:cubicBezTo>
                      <a:pt x="5" y="344"/>
                      <a:pt x="0" y="321"/>
                      <a:pt x="0" y="292"/>
                    </a:cubicBezTo>
                    <a:lnTo>
                      <a:pt x="0" y="0"/>
                    </a:lnTo>
                    <a:lnTo>
                      <a:pt x="60" y="0"/>
                    </a:lnTo>
                    <a:lnTo>
                      <a:pt x="60" y="290"/>
                    </a:lnTo>
                    <a:cubicBezTo>
                      <a:pt x="61" y="316"/>
                      <a:pt x="63" y="394"/>
                      <a:pt x="166" y="394"/>
                    </a:cubicBezTo>
                    <a:cubicBezTo>
                      <a:pt x="197" y="394"/>
                      <a:pt x="269" y="385"/>
                      <a:pt x="269" y="296"/>
                    </a:cubicBezTo>
                    <a:lnTo>
                      <a:pt x="269" y="0"/>
                    </a:lnTo>
                    <a:lnTo>
                      <a:pt x="311" y="0"/>
                    </a:lnTo>
                    <a:lnTo>
                      <a:pt x="311" y="300"/>
                    </a:lnTo>
                    <a:cubicBezTo>
                      <a:pt x="310" y="318"/>
                      <a:pt x="310" y="338"/>
                      <a:pt x="298" y="358"/>
                    </a:cubicBezTo>
                    <a:cubicBezTo>
                      <a:pt x="285" y="380"/>
                      <a:pt x="261" y="418"/>
                      <a:pt x="166" y="418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11">
                <a:extLst>
                  <a:ext uri="{FF2B5EF4-FFF2-40B4-BE49-F238E27FC236}">
                    <a16:creationId xmlns:a16="http://schemas.microsoft.com/office/drawing/2014/main" id="{E21DB9FA-0F15-95EA-6A25-389D2CB970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3916" y="2616918"/>
                <a:ext cx="135754" cy="151539"/>
              </a:xfrm>
              <a:custGeom>
                <a:avLst/>
                <a:gdLst>
                  <a:gd name="T0" fmla="*/ 225 w 378"/>
                  <a:gd name="T1" fmla="*/ 422 h 422"/>
                  <a:gd name="T2" fmla="*/ 0 w 378"/>
                  <a:gd name="T3" fmla="*/ 211 h 422"/>
                  <a:gd name="T4" fmla="*/ 218 w 378"/>
                  <a:gd name="T5" fmla="*/ 0 h 422"/>
                  <a:gd name="T6" fmla="*/ 378 w 378"/>
                  <a:gd name="T7" fmla="*/ 77 h 422"/>
                  <a:gd name="T8" fmla="*/ 353 w 378"/>
                  <a:gd name="T9" fmla="*/ 103 h 422"/>
                  <a:gd name="T10" fmla="*/ 321 w 378"/>
                  <a:gd name="T11" fmla="*/ 80 h 422"/>
                  <a:gd name="T12" fmla="*/ 217 w 378"/>
                  <a:gd name="T13" fmla="*/ 24 h 422"/>
                  <a:gd name="T14" fmla="*/ 70 w 378"/>
                  <a:gd name="T15" fmla="*/ 201 h 422"/>
                  <a:gd name="T16" fmla="*/ 232 w 378"/>
                  <a:gd name="T17" fmla="*/ 399 h 422"/>
                  <a:gd name="T18" fmla="*/ 295 w 378"/>
                  <a:gd name="T19" fmla="*/ 384 h 422"/>
                  <a:gd name="T20" fmla="*/ 320 w 378"/>
                  <a:gd name="T21" fmla="*/ 330 h 422"/>
                  <a:gd name="T22" fmla="*/ 320 w 378"/>
                  <a:gd name="T23" fmla="*/ 231 h 422"/>
                  <a:gd name="T24" fmla="*/ 267 w 378"/>
                  <a:gd name="T25" fmla="*/ 231 h 422"/>
                  <a:gd name="T26" fmla="*/ 288 w 378"/>
                  <a:gd name="T27" fmla="*/ 207 h 422"/>
                  <a:gd name="T28" fmla="*/ 377 w 378"/>
                  <a:gd name="T29" fmla="*/ 207 h 422"/>
                  <a:gd name="T30" fmla="*/ 377 w 378"/>
                  <a:gd name="T31" fmla="*/ 368 h 422"/>
                  <a:gd name="T32" fmla="*/ 355 w 378"/>
                  <a:gd name="T33" fmla="*/ 389 h 422"/>
                  <a:gd name="T34" fmla="*/ 225 w 378"/>
                  <a:gd name="T35" fmla="*/ 422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8" h="422">
                    <a:moveTo>
                      <a:pt x="225" y="422"/>
                    </a:moveTo>
                    <a:cubicBezTo>
                      <a:pt x="16" y="422"/>
                      <a:pt x="0" y="261"/>
                      <a:pt x="0" y="211"/>
                    </a:cubicBezTo>
                    <a:cubicBezTo>
                      <a:pt x="0" y="85"/>
                      <a:pt x="88" y="0"/>
                      <a:pt x="218" y="0"/>
                    </a:cubicBezTo>
                    <a:cubicBezTo>
                      <a:pt x="330" y="0"/>
                      <a:pt x="378" y="55"/>
                      <a:pt x="378" y="77"/>
                    </a:cubicBezTo>
                    <a:cubicBezTo>
                      <a:pt x="378" y="90"/>
                      <a:pt x="365" y="103"/>
                      <a:pt x="353" y="103"/>
                    </a:cubicBezTo>
                    <a:cubicBezTo>
                      <a:pt x="338" y="103"/>
                      <a:pt x="332" y="95"/>
                      <a:pt x="321" y="80"/>
                    </a:cubicBezTo>
                    <a:cubicBezTo>
                      <a:pt x="305" y="59"/>
                      <a:pt x="278" y="24"/>
                      <a:pt x="217" y="24"/>
                    </a:cubicBezTo>
                    <a:cubicBezTo>
                      <a:pt x="127" y="24"/>
                      <a:pt x="70" y="90"/>
                      <a:pt x="70" y="201"/>
                    </a:cubicBezTo>
                    <a:cubicBezTo>
                      <a:pt x="70" y="323"/>
                      <a:pt x="132" y="399"/>
                      <a:pt x="232" y="399"/>
                    </a:cubicBezTo>
                    <a:cubicBezTo>
                      <a:pt x="257" y="399"/>
                      <a:pt x="280" y="393"/>
                      <a:pt x="295" y="384"/>
                    </a:cubicBezTo>
                    <a:cubicBezTo>
                      <a:pt x="320" y="369"/>
                      <a:pt x="320" y="348"/>
                      <a:pt x="320" y="330"/>
                    </a:cubicBezTo>
                    <a:lnTo>
                      <a:pt x="320" y="231"/>
                    </a:lnTo>
                    <a:lnTo>
                      <a:pt x="267" y="231"/>
                    </a:lnTo>
                    <a:lnTo>
                      <a:pt x="288" y="207"/>
                    </a:lnTo>
                    <a:lnTo>
                      <a:pt x="377" y="207"/>
                    </a:lnTo>
                    <a:lnTo>
                      <a:pt x="377" y="368"/>
                    </a:lnTo>
                    <a:cubicBezTo>
                      <a:pt x="372" y="374"/>
                      <a:pt x="365" y="382"/>
                      <a:pt x="355" y="389"/>
                    </a:cubicBezTo>
                    <a:cubicBezTo>
                      <a:pt x="336" y="403"/>
                      <a:pt x="302" y="422"/>
                      <a:pt x="225" y="422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Freeform 12">
                <a:extLst>
                  <a:ext uri="{FF2B5EF4-FFF2-40B4-BE49-F238E27FC236}">
                    <a16:creationId xmlns:a16="http://schemas.microsoft.com/office/drawing/2014/main" id="{726CCC3B-194F-807E-EB4D-216DF2D8E2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93868" y="2618497"/>
                <a:ext cx="113654" cy="149961"/>
              </a:xfrm>
              <a:custGeom>
                <a:avLst/>
                <a:gdLst>
                  <a:gd name="T0" fmla="*/ 318 w 318"/>
                  <a:gd name="T1" fmla="*/ 414 h 414"/>
                  <a:gd name="T2" fmla="*/ 176 w 318"/>
                  <a:gd name="T3" fmla="*/ 222 h 414"/>
                  <a:gd name="T4" fmla="*/ 202 w 318"/>
                  <a:gd name="T5" fmla="*/ 217 h 414"/>
                  <a:gd name="T6" fmla="*/ 296 w 318"/>
                  <a:gd name="T7" fmla="*/ 113 h 414"/>
                  <a:gd name="T8" fmla="*/ 253 w 318"/>
                  <a:gd name="T9" fmla="*/ 29 h 414"/>
                  <a:gd name="T10" fmla="*/ 114 w 318"/>
                  <a:gd name="T11" fmla="*/ 0 h 414"/>
                  <a:gd name="T12" fmla="*/ 0 w 318"/>
                  <a:gd name="T13" fmla="*/ 0 h 414"/>
                  <a:gd name="T14" fmla="*/ 0 w 318"/>
                  <a:gd name="T15" fmla="*/ 414 h 414"/>
                  <a:gd name="T16" fmla="*/ 59 w 318"/>
                  <a:gd name="T17" fmla="*/ 414 h 414"/>
                  <a:gd name="T18" fmla="*/ 59 w 318"/>
                  <a:gd name="T19" fmla="*/ 260 h 414"/>
                  <a:gd name="T20" fmla="*/ 96 w 318"/>
                  <a:gd name="T21" fmla="*/ 227 h 414"/>
                  <a:gd name="T22" fmla="*/ 137 w 318"/>
                  <a:gd name="T23" fmla="*/ 251 h 414"/>
                  <a:gd name="T24" fmla="*/ 252 w 318"/>
                  <a:gd name="T25" fmla="*/ 414 h 414"/>
                  <a:gd name="T26" fmla="*/ 318 w 318"/>
                  <a:gd name="T27" fmla="*/ 414 h 414"/>
                  <a:gd name="T28" fmla="*/ 127 w 318"/>
                  <a:gd name="T29" fmla="*/ 202 h 414"/>
                  <a:gd name="T30" fmla="*/ 103 w 318"/>
                  <a:gd name="T31" fmla="*/ 203 h 414"/>
                  <a:gd name="T32" fmla="*/ 59 w 318"/>
                  <a:gd name="T33" fmla="*/ 203 h 414"/>
                  <a:gd name="T34" fmla="*/ 59 w 318"/>
                  <a:gd name="T35" fmla="*/ 24 h 414"/>
                  <a:gd name="T36" fmla="*/ 110 w 318"/>
                  <a:gd name="T37" fmla="*/ 20 h 414"/>
                  <a:gd name="T38" fmla="*/ 231 w 318"/>
                  <a:gd name="T39" fmla="*/ 115 h 414"/>
                  <a:gd name="T40" fmla="*/ 127 w 318"/>
                  <a:gd name="T41" fmla="*/ 202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8" h="414">
                    <a:moveTo>
                      <a:pt x="318" y="414"/>
                    </a:moveTo>
                    <a:lnTo>
                      <a:pt x="176" y="222"/>
                    </a:lnTo>
                    <a:cubicBezTo>
                      <a:pt x="176" y="222"/>
                      <a:pt x="196" y="219"/>
                      <a:pt x="202" y="217"/>
                    </a:cubicBezTo>
                    <a:cubicBezTo>
                      <a:pt x="226" y="211"/>
                      <a:pt x="296" y="192"/>
                      <a:pt x="296" y="113"/>
                    </a:cubicBezTo>
                    <a:cubicBezTo>
                      <a:pt x="296" y="75"/>
                      <a:pt x="279" y="46"/>
                      <a:pt x="253" y="29"/>
                    </a:cubicBezTo>
                    <a:cubicBezTo>
                      <a:pt x="217" y="4"/>
                      <a:pt x="162" y="0"/>
                      <a:pt x="114" y="0"/>
                    </a:cubicBezTo>
                    <a:lnTo>
                      <a:pt x="0" y="0"/>
                    </a:lnTo>
                    <a:lnTo>
                      <a:pt x="0" y="414"/>
                    </a:lnTo>
                    <a:lnTo>
                      <a:pt x="59" y="414"/>
                    </a:lnTo>
                    <a:lnTo>
                      <a:pt x="59" y="260"/>
                    </a:lnTo>
                    <a:cubicBezTo>
                      <a:pt x="59" y="234"/>
                      <a:pt x="75" y="227"/>
                      <a:pt x="96" y="227"/>
                    </a:cubicBezTo>
                    <a:cubicBezTo>
                      <a:pt x="108" y="227"/>
                      <a:pt x="125" y="231"/>
                      <a:pt x="137" y="251"/>
                    </a:cubicBezTo>
                    <a:lnTo>
                      <a:pt x="252" y="414"/>
                    </a:lnTo>
                    <a:lnTo>
                      <a:pt x="318" y="414"/>
                    </a:lnTo>
                    <a:close/>
                    <a:moveTo>
                      <a:pt x="127" y="202"/>
                    </a:moveTo>
                    <a:cubicBezTo>
                      <a:pt x="119" y="203"/>
                      <a:pt x="112" y="203"/>
                      <a:pt x="103" y="203"/>
                    </a:cubicBezTo>
                    <a:lnTo>
                      <a:pt x="59" y="203"/>
                    </a:lnTo>
                    <a:lnTo>
                      <a:pt x="59" y="24"/>
                    </a:lnTo>
                    <a:cubicBezTo>
                      <a:pt x="59" y="24"/>
                      <a:pt x="80" y="20"/>
                      <a:pt x="110" y="20"/>
                    </a:cubicBezTo>
                    <a:cubicBezTo>
                      <a:pt x="190" y="20"/>
                      <a:pt x="231" y="54"/>
                      <a:pt x="231" y="115"/>
                    </a:cubicBezTo>
                    <a:cubicBezTo>
                      <a:pt x="231" y="177"/>
                      <a:pt x="192" y="196"/>
                      <a:pt x="127" y="202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 13">
                <a:extLst>
                  <a:ext uri="{FF2B5EF4-FFF2-40B4-BE49-F238E27FC236}">
                    <a16:creationId xmlns:a16="http://schemas.microsoft.com/office/drawing/2014/main" id="{11E7BC12-E5C1-C9CE-21C4-A1A623D952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166" y="2249121"/>
                <a:ext cx="612470" cy="262036"/>
              </a:xfrm>
              <a:custGeom>
                <a:avLst/>
                <a:gdLst>
                  <a:gd name="T0" fmla="*/ 1661 w 1702"/>
                  <a:gd name="T1" fmla="*/ 563 h 731"/>
                  <a:gd name="T2" fmla="*/ 1632 w 1702"/>
                  <a:gd name="T3" fmla="*/ 559 h 731"/>
                  <a:gd name="T4" fmla="*/ 1591 w 1702"/>
                  <a:gd name="T5" fmla="*/ 564 h 731"/>
                  <a:gd name="T6" fmla="*/ 1602 w 1702"/>
                  <a:gd name="T7" fmla="*/ 646 h 731"/>
                  <a:gd name="T8" fmla="*/ 1341 w 1702"/>
                  <a:gd name="T9" fmla="*/ 639 h 731"/>
                  <a:gd name="T10" fmla="*/ 944 w 1702"/>
                  <a:gd name="T11" fmla="*/ 167 h 731"/>
                  <a:gd name="T12" fmla="*/ 454 w 1702"/>
                  <a:gd name="T13" fmla="*/ 65 h 731"/>
                  <a:gd name="T14" fmla="*/ 310 w 1702"/>
                  <a:gd name="T15" fmla="*/ 562 h 731"/>
                  <a:gd name="T16" fmla="*/ 235 w 1702"/>
                  <a:gd name="T17" fmla="*/ 297 h 731"/>
                  <a:gd name="T18" fmla="*/ 213 w 1702"/>
                  <a:gd name="T19" fmla="*/ 303 h 731"/>
                  <a:gd name="T20" fmla="*/ 0 w 1702"/>
                  <a:gd name="T21" fmla="*/ 248 h 731"/>
                  <a:gd name="T22" fmla="*/ 0 w 1702"/>
                  <a:gd name="T23" fmla="*/ 251 h 731"/>
                  <a:gd name="T24" fmla="*/ 156 w 1702"/>
                  <a:gd name="T25" fmla="*/ 350 h 731"/>
                  <a:gd name="T26" fmla="*/ 386 w 1702"/>
                  <a:gd name="T27" fmla="*/ 604 h 731"/>
                  <a:gd name="T28" fmla="*/ 355 w 1702"/>
                  <a:gd name="T29" fmla="*/ 354 h 731"/>
                  <a:gd name="T30" fmla="*/ 642 w 1702"/>
                  <a:gd name="T31" fmla="*/ 77 h 731"/>
                  <a:gd name="T32" fmla="*/ 1016 w 1702"/>
                  <a:gd name="T33" fmla="*/ 365 h 731"/>
                  <a:gd name="T34" fmla="*/ 1396 w 1702"/>
                  <a:gd name="T35" fmla="*/ 699 h 731"/>
                  <a:gd name="T36" fmla="*/ 1643 w 1702"/>
                  <a:gd name="T37" fmla="*/ 692 h 731"/>
                  <a:gd name="T38" fmla="*/ 1661 w 1702"/>
                  <a:gd name="T39" fmla="*/ 563 h 7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02" h="731">
                    <a:moveTo>
                      <a:pt x="1661" y="563"/>
                    </a:moveTo>
                    <a:cubicBezTo>
                      <a:pt x="1654" y="561"/>
                      <a:pt x="1639" y="560"/>
                      <a:pt x="1632" y="559"/>
                    </a:cubicBezTo>
                    <a:cubicBezTo>
                      <a:pt x="1617" y="559"/>
                      <a:pt x="1604" y="560"/>
                      <a:pt x="1591" y="564"/>
                    </a:cubicBezTo>
                    <a:cubicBezTo>
                      <a:pt x="1617" y="586"/>
                      <a:pt x="1616" y="620"/>
                      <a:pt x="1602" y="646"/>
                    </a:cubicBezTo>
                    <a:cubicBezTo>
                      <a:pt x="1561" y="728"/>
                      <a:pt x="1401" y="679"/>
                      <a:pt x="1341" y="639"/>
                    </a:cubicBezTo>
                    <a:cubicBezTo>
                      <a:pt x="1157" y="517"/>
                      <a:pt x="1048" y="285"/>
                      <a:pt x="944" y="167"/>
                    </a:cubicBezTo>
                    <a:cubicBezTo>
                      <a:pt x="798" y="4"/>
                      <a:pt x="584" y="0"/>
                      <a:pt x="454" y="65"/>
                    </a:cubicBezTo>
                    <a:cubicBezTo>
                      <a:pt x="291" y="146"/>
                      <a:pt x="251" y="372"/>
                      <a:pt x="310" y="562"/>
                    </a:cubicBezTo>
                    <a:cubicBezTo>
                      <a:pt x="231" y="539"/>
                      <a:pt x="197" y="386"/>
                      <a:pt x="235" y="297"/>
                    </a:cubicBezTo>
                    <a:cubicBezTo>
                      <a:pt x="228" y="299"/>
                      <a:pt x="220" y="301"/>
                      <a:pt x="213" y="303"/>
                    </a:cubicBezTo>
                    <a:cubicBezTo>
                      <a:pt x="129" y="322"/>
                      <a:pt x="47" y="299"/>
                      <a:pt x="0" y="248"/>
                    </a:cubicBezTo>
                    <a:cubicBezTo>
                      <a:pt x="0" y="249"/>
                      <a:pt x="0" y="250"/>
                      <a:pt x="0" y="251"/>
                    </a:cubicBezTo>
                    <a:cubicBezTo>
                      <a:pt x="26" y="310"/>
                      <a:pt x="80" y="348"/>
                      <a:pt x="156" y="350"/>
                    </a:cubicBezTo>
                    <a:cubicBezTo>
                      <a:pt x="152" y="552"/>
                      <a:pt x="265" y="614"/>
                      <a:pt x="386" y="604"/>
                    </a:cubicBezTo>
                    <a:cubicBezTo>
                      <a:pt x="353" y="543"/>
                      <a:pt x="344" y="434"/>
                      <a:pt x="355" y="354"/>
                    </a:cubicBezTo>
                    <a:cubicBezTo>
                      <a:pt x="366" y="278"/>
                      <a:pt x="433" y="83"/>
                      <a:pt x="642" y="77"/>
                    </a:cubicBezTo>
                    <a:cubicBezTo>
                      <a:pt x="843" y="71"/>
                      <a:pt x="918" y="243"/>
                      <a:pt x="1016" y="365"/>
                    </a:cubicBezTo>
                    <a:cubicBezTo>
                      <a:pt x="1100" y="470"/>
                      <a:pt x="1233" y="645"/>
                      <a:pt x="1396" y="699"/>
                    </a:cubicBezTo>
                    <a:cubicBezTo>
                      <a:pt x="1471" y="724"/>
                      <a:pt x="1576" y="731"/>
                      <a:pt x="1643" y="692"/>
                    </a:cubicBezTo>
                    <a:cubicBezTo>
                      <a:pt x="1685" y="668"/>
                      <a:pt x="1702" y="600"/>
                      <a:pt x="1661" y="563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 14">
                <a:extLst>
                  <a:ext uri="{FF2B5EF4-FFF2-40B4-BE49-F238E27FC236}">
                    <a16:creationId xmlns:a16="http://schemas.microsoft.com/office/drawing/2014/main" id="{C7C43379-296B-FA54-FC4A-4E79960A7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6616" y="2454330"/>
                <a:ext cx="243094" cy="134176"/>
              </a:xfrm>
              <a:custGeom>
                <a:avLst/>
                <a:gdLst>
                  <a:gd name="T0" fmla="*/ 621 w 676"/>
                  <a:gd name="T1" fmla="*/ 348 h 372"/>
                  <a:gd name="T2" fmla="*/ 494 w 676"/>
                  <a:gd name="T3" fmla="*/ 263 h 372"/>
                  <a:gd name="T4" fmla="*/ 450 w 676"/>
                  <a:gd name="T5" fmla="*/ 143 h 372"/>
                  <a:gd name="T6" fmla="*/ 452 w 676"/>
                  <a:gd name="T7" fmla="*/ 125 h 372"/>
                  <a:gd name="T8" fmla="*/ 419 w 676"/>
                  <a:gd name="T9" fmla="*/ 122 h 372"/>
                  <a:gd name="T10" fmla="*/ 377 w 676"/>
                  <a:gd name="T11" fmla="*/ 126 h 372"/>
                  <a:gd name="T12" fmla="*/ 208 w 676"/>
                  <a:gd name="T13" fmla="*/ 174 h 372"/>
                  <a:gd name="T14" fmla="*/ 67 w 676"/>
                  <a:gd name="T15" fmla="*/ 10 h 372"/>
                  <a:gd name="T16" fmla="*/ 57 w 676"/>
                  <a:gd name="T17" fmla="*/ 0 h 372"/>
                  <a:gd name="T18" fmla="*/ 0 w 676"/>
                  <a:gd name="T19" fmla="*/ 18 h 372"/>
                  <a:gd name="T20" fmla="*/ 42 w 676"/>
                  <a:gd name="T21" fmla="*/ 83 h 372"/>
                  <a:gd name="T22" fmla="*/ 188 w 676"/>
                  <a:gd name="T23" fmla="*/ 192 h 372"/>
                  <a:gd name="T24" fmla="*/ 379 w 676"/>
                  <a:gd name="T25" fmla="*/ 176 h 372"/>
                  <a:gd name="T26" fmla="*/ 433 w 676"/>
                  <a:gd name="T27" fmla="*/ 279 h 372"/>
                  <a:gd name="T28" fmla="*/ 572 w 676"/>
                  <a:gd name="T29" fmla="*/ 360 h 372"/>
                  <a:gd name="T30" fmla="*/ 676 w 676"/>
                  <a:gd name="T31" fmla="*/ 362 h 372"/>
                  <a:gd name="T32" fmla="*/ 621 w 676"/>
                  <a:gd name="T33" fmla="*/ 348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76" h="372">
                    <a:moveTo>
                      <a:pt x="621" y="348"/>
                    </a:moveTo>
                    <a:cubicBezTo>
                      <a:pt x="567" y="330"/>
                      <a:pt x="524" y="300"/>
                      <a:pt x="494" y="263"/>
                    </a:cubicBezTo>
                    <a:cubicBezTo>
                      <a:pt x="466" y="229"/>
                      <a:pt x="450" y="184"/>
                      <a:pt x="450" y="143"/>
                    </a:cubicBezTo>
                    <a:cubicBezTo>
                      <a:pt x="450" y="137"/>
                      <a:pt x="452" y="125"/>
                      <a:pt x="452" y="125"/>
                    </a:cubicBezTo>
                    <a:cubicBezTo>
                      <a:pt x="452" y="125"/>
                      <a:pt x="436" y="122"/>
                      <a:pt x="419" y="122"/>
                    </a:cubicBezTo>
                    <a:cubicBezTo>
                      <a:pt x="391" y="122"/>
                      <a:pt x="377" y="126"/>
                      <a:pt x="377" y="126"/>
                    </a:cubicBezTo>
                    <a:cubicBezTo>
                      <a:pt x="377" y="126"/>
                      <a:pt x="312" y="200"/>
                      <a:pt x="208" y="174"/>
                    </a:cubicBezTo>
                    <a:cubicBezTo>
                      <a:pt x="109" y="149"/>
                      <a:pt x="111" y="62"/>
                      <a:pt x="67" y="10"/>
                    </a:cubicBezTo>
                    <a:cubicBezTo>
                      <a:pt x="64" y="6"/>
                      <a:pt x="61" y="3"/>
                      <a:pt x="57" y="0"/>
                    </a:cubicBezTo>
                    <a:lnTo>
                      <a:pt x="0" y="18"/>
                    </a:lnTo>
                    <a:cubicBezTo>
                      <a:pt x="14" y="33"/>
                      <a:pt x="29" y="54"/>
                      <a:pt x="42" y="83"/>
                    </a:cubicBezTo>
                    <a:cubicBezTo>
                      <a:pt x="61" y="125"/>
                      <a:pt x="106" y="174"/>
                      <a:pt x="188" y="192"/>
                    </a:cubicBezTo>
                    <a:cubicBezTo>
                      <a:pt x="249" y="206"/>
                      <a:pt x="315" y="202"/>
                      <a:pt x="379" y="176"/>
                    </a:cubicBezTo>
                    <a:cubicBezTo>
                      <a:pt x="386" y="213"/>
                      <a:pt x="405" y="249"/>
                      <a:pt x="433" y="279"/>
                    </a:cubicBezTo>
                    <a:cubicBezTo>
                      <a:pt x="465" y="314"/>
                      <a:pt x="517" y="344"/>
                      <a:pt x="572" y="360"/>
                    </a:cubicBezTo>
                    <a:cubicBezTo>
                      <a:pt x="611" y="372"/>
                      <a:pt x="656" y="371"/>
                      <a:pt x="676" y="362"/>
                    </a:cubicBezTo>
                    <a:cubicBezTo>
                      <a:pt x="657" y="359"/>
                      <a:pt x="638" y="354"/>
                      <a:pt x="621" y="348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 15">
                <a:extLst>
                  <a:ext uri="{FF2B5EF4-FFF2-40B4-BE49-F238E27FC236}">
                    <a16:creationId xmlns:a16="http://schemas.microsoft.com/office/drawing/2014/main" id="{18ED92A1-E6DB-AE6B-D60A-9231A0255C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9283" y="2362775"/>
                <a:ext cx="172060" cy="162589"/>
              </a:xfrm>
              <a:custGeom>
                <a:avLst/>
                <a:gdLst>
                  <a:gd name="T0" fmla="*/ 351 w 479"/>
                  <a:gd name="T1" fmla="*/ 21 h 453"/>
                  <a:gd name="T2" fmla="*/ 120 w 479"/>
                  <a:gd name="T3" fmla="*/ 74 h 453"/>
                  <a:gd name="T4" fmla="*/ 102 w 479"/>
                  <a:gd name="T5" fmla="*/ 433 h 453"/>
                  <a:gd name="T6" fmla="*/ 118 w 479"/>
                  <a:gd name="T7" fmla="*/ 450 h 453"/>
                  <a:gd name="T8" fmla="*/ 154 w 479"/>
                  <a:gd name="T9" fmla="*/ 450 h 453"/>
                  <a:gd name="T10" fmla="*/ 195 w 479"/>
                  <a:gd name="T11" fmla="*/ 433 h 453"/>
                  <a:gd name="T12" fmla="*/ 103 w 479"/>
                  <a:gd name="T13" fmla="*/ 283 h 453"/>
                  <a:gd name="T14" fmla="*/ 339 w 479"/>
                  <a:gd name="T15" fmla="*/ 48 h 453"/>
                  <a:gd name="T16" fmla="*/ 380 w 479"/>
                  <a:gd name="T17" fmla="*/ 158 h 453"/>
                  <a:gd name="T18" fmla="*/ 285 w 479"/>
                  <a:gd name="T19" fmla="*/ 183 h 453"/>
                  <a:gd name="T20" fmla="*/ 336 w 479"/>
                  <a:gd name="T21" fmla="*/ 233 h 453"/>
                  <a:gd name="T22" fmla="*/ 442 w 479"/>
                  <a:gd name="T23" fmla="*/ 172 h 453"/>
                  <a:gd name="T24" fmla="*/ 351 w 479"/>
                  <a:gd name="T25" fmla="*/ 21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79" h="453">
                    <a:moveTo>
                      <a:pt x="351" y="21"/>
                    </a:moveTo>
                    <a:cubicBezTo>
                      <a:pt x="253" y="0"/>
                      <a:pt x="170" y="35"/>
                      <a:pt x="120" y="74"/>
                    </a:cubicBezTo>
                    <a:cubicBezTo>
                      <a:pt x="0" y="172"/>
                      <a:pt x="12" y="325"/>
                      <a:pt x="102" y="433"/>
                    </a:cubicBezTo>
                    <a:cubicBezTo>
                      <a:pt x="107" y="438"/>
                      <a:pt x="118" y="450"/>
                      <a:pt x="118" y="450"/>
                    </a:cubicBezTo>
                    <a:cubicBezTo>
                      <a:pt x="118" y="450"/>
                      <a:pt x="130" y="453"/>
                      <a:pt x="154" y="450"/>
                    </a:cubicBezTo>
                    <a:cubicBezTo>
                      <a:pt x="171" y="447"/>
                      <a:pt x="195" y="433"/>
                      <a:pt x="195" y="433"/>
                    </a:cubicBezTo>
                    <a:cubicBezTo>
                      <a:pt x="195" y="433"/>
                      <a:pt x="120" y="375"/>
                      <a:pt x="103" y="283"/>
                    </a:cubicBezTo>
                    <a:cubicBezTo>
                      <a:pt x="71" y="120"/>
                      <a:pt x="215" y="26"/>
                      <a:pt x="339" y="48"/>
                    </a:cubicBezTo>
                    <a:cubicBezTo>
                      <a:pt x="409" y="61"/>
                      <a:pt x="415" y="127"/>
                      <a:pt x="380" y="158"/>
                    </a:cubicBezTo>
                    <a:cubicBezTo>
                      <a:pt x="348" y="186"/>
                      <a:pt x="306" y="185"/>
                      <a:pt x="285" y="183"/>
                    </a:cubicBezTo>
                    <a:cubicBezTo>
                      <a:pt x="303" y="193"/>
                      <a:pt x="321" y="211"/>
                      <a:pt x="336" y="233"/>
                    </a:cubicBezTo>
                    <a:cubicBezTo>
                      <a:pt x="336" y="233"/>
                      <a:pt x="403" y="226"/>
                      <a:pt x="442" y="172"/>
                    </a:cubicBezTo>
                    <a:cubicBezTo>
                      <a:pt x="479" y="121"/>
                      <a:pt x="450" y="43"/>
                      <a:pt x="351" y="21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16">
                <a:extLst>
                  <a:ext uri="{FF2B5EF4-FFF2-40B4-BE49-F238E27FC236}">
                    <a16:creationId xmlns:a16="http://schemas.microsoft.com/office/drawing/2014/main" id="{BE389F90-96CB-D978-99D7-1EDAD07973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341" y="2618497"/>
                <a:ext cx="29993" cy="149961"/>
              </a:xfrm>
              <a:prstGeom prst="rect">
                <a:avLst/>
              </a:pr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Freeform 17">
                <a:extLst>
                  <a:ext uri="{FF2B5EF4-FFF2-40B4-BE49-F238E27FC236}">
                    <a16:creationId xmlns:a16="http://schemas.microsoft.com/office/drawing/2014/main" id="{C1710C9D-7779-E11D-C0A4-CE4DD8C362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2906" y="2618497"/>
                <a:ext cx="99448" cy="149961"/>
              </a:xfrm>
              <a:custGeom>
                <a:avLst/>
                <a:gdLst>
                  <a:gd name="T0" fmla="*/ 0 w 277"/>
                  <a:gd name="T1" fmla="*/ 414 h 414"/>
                  <a:gd name="T2" fmla="*/ 0 w 277"/>
                  <a:gd name="T3" fmla="*/ 0 h 414"/>
                  <a:gd name="T4" fmla="*/ 81 w 277"/>
                  <a:gd name="T5" fmla="*/ 0 h 414"/>
                  <a:gd name="T6" fmla="*/ 81 w 277"/>
                  <a:gd name="T7" fmla="*/ 373 h 414"/>
                  <a:gd name="T8" fmla="*/ 239 w 277"/>
                  <a:gd name="T9" fmla="*/ 373 h 414"/>
                  <a:gd name="T10" fmla="*/ 277 w 277"/>
                  <a:gd name="T11" fmla="*/ 414 h 414"/>
                  <a:gd name="T12" fmla="*/ 0 w 277"/>
                  <a:gd name="T13" fmla="*/ 41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7" h="414">
                    <a:moveTo>
                      <a:pt x="0" y="414"/>
                    </a:moveTo>
                    <a:lnTo>
                      <a:pt x="0" y="0"/>
                    </a:lnTo>
                    <a:lnTo>
                      <a:pt x="81" y="0"/>
                    </a:lnTo>
                    <a:lnTo>
                      <a:pt x="81" y="373"/>
                    </a:lnTo>
                    <a:lnTo>
                      <a:pt x="239" y="373"/>
                    </a:lnTo>
                    <a:lnTo>
                      <a:pt x="277" y="414"/>
                    </a:lnTo>
                    <a:lnTo>
                      <a:pt x="0" y="414"/>
                    </a:ln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Freeform 18">
                <a:extLst>
                  <a:ext uri="{FF2B5EF4-FFF2-40B4-BE49-F238E27FC236}">
                    <a16:creationId xmlns:a16="http://schemas.microsoft.com/office/drawing/2014/main" id="{5426579E-3EC8-3234-7B89-8B1AD92F48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34595" y="2616918"/>
                <a:ext cx="124704" cy="151539"/>
              </a:xfrm>
              <a:custGeom>
                <a:avLst/>
                <a:gdLst>
                  <a:gd name="T0" fmla="*/ 0 w 344"/>
                  <a:gd name="T1" fmla="*/ 422 h 422"/>
                  <a:gd name="T2" fmla="*/ 0 w 344"/>
                  <a:gd name="T3" fmla="*/ 0 h 422"/>
                  <a:gd name="T4" fmla="*/ 123 w 344"/>
                  <a:gd name="T5" fmla="*/ 0 h 422"/>
                  <a:gd name="T6" fmla="*/ 264 w 344"/>
                  <a:gd name="T7" fmla="*/ 22 h 422"/>
                  <a:gd name="T8" fmla="*/ 316 w 344"/>
                  <a:gd name="T9" fmla="*/ 97 h 422"/>
                  <a:gd name="T10" fmla="*/ 240 w 344"/>
                  <a:gd name="T11" fmla="*/ 187 h 422"/>
                  <a:gd name="T12" fmla="*/ 218 w 344"/>
                  <a:gd name="T13" fmla="*/ 195 h 422"/>
                  <a:gd name="T14" fmla="*/ 247 w 344"/>
                  <a:gd name="T15" fmla="*/ 204 h 422"/>
                  <a:gd name="T16" fmla="*/ 344 w 344"/>
                  <a:gd name="T17" fmla="*/ 311 h 422"/>
                  <a:gd name="T18" fmla="*/ 266 w 344"/>
                  <a:gd name="T19" fmla="*/ 405 h 422"/>
                  <a:gd name="T20" fmla="*/ 123 w 344"/>
                  <a:gd name="T21" fmla="*/ 422 h 422"/>
                  <a:gd name="T22" fmla="*/ 0 w 344"/>
                  <a:gd name="T23" fmla="*/ 422 h 422"/>
                  <a:gd name="T24" fmla="*/ 79 w 344"/>
                  <a:gd name="T25" fmla="*/ 351 h 422"/>
                  <a:gd name="T26" fmla="*/ 87 w 344"/>
                  <a:gd name="T27" fmla="*/ 376 h 422"/>
                  <a:gd name="T28" fmla="*/ 136 w 344"/>
                  <a:gd name="T29" fmla="*/ 387 h 422"/>
                  <a:gd name="T30" fmla="*/ 260 w 344"/>
                  <a:gd name="T31" fmla="*/ 305 h 422"/>
                  <a:gd name="T32" fmla="*/ 131 w 344"/>
                  <a:gd name="T33" fmla="*/ 215 h 422"/>
                  <a:gd name="T34" fmla="*/ 123 w 344"/>
                  <a:gd name="T35" fmla="*/ 215 h 422"/>
                  <a:gd name="T36" fmla="*/ 79 w 344"/>
                  <a:gd name="T37" fmla="*/ 215 h 422"/>
                  <a:gd name="T38" fmla="*/ 79 w 344"/>
                  <a:gd name="T39" fmla="*/ 351 h 422"/>
                  <a:gd name="T40" fmla="*/ 145 w 344"/>
                  <a:gd name="T41" fmla="*/ 184 h 422"/>
                  <a:gd name="T42" fmla="*/ 236 w 344"/>
                  <a:gd name="T43" fmla="*/ 109 h 422"/>
                  <a:gd name="T44" fmla="*/ 128 w 344"/>
                  <a:gd name="T45" fmla="*/ 32 h 422"/>
                  <a:gd name="T46" fmla="*/ 87 w 344"/>
                  <a:gd name="T47" fmla="*/ 35 h 422"/>
                  <a:gd name="T48" fmla="*/ 79 w 344"/>
                  <a:gd name="T49" fmla="*/ 36 h 422"/>
                  <a:gd name="T50" fmla="*/ 79 w 344"/>
                  <a:gd name="T51" fmla="*/ 184 h 422"/>
                  <a:gd name="T52" fmla="*/ 145 w 344"/>
                  <a:gd name="T53" fmla="*/ 184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44" h="422">
                    <a:moveTo>
                      <a:pt x="0" y="422"/>
                    </a:moveTo>
                    <a:lnTo>
                      <a:pt x="0" y="0"/>
                    </a:lnTo>
                    <a:lnTo>
                      <a:pt x="123" y="0"/>
                    </a:lnTo>
                    <a:cubicBezTo>
                      <a:pt x="168" y="0"/>
                      <a:pt x="225" y="3"/>
                      <a:pt x="264" y="22"/>
                    </a:cubicBezTo>
                    <a:cubicBezTo>
                      <a:pt x="298" y="39"/>
                      <a:pt x="316" y="65"/>
                      <a:pt x="316" y="97"/>
                    </a:cubicBezTo>
                    <a:cubicBezTo>
                      <a:pt x="316" y="143"/>
                      <a:pt x="277" y="173"/>
                      <a:pt x="240" y="187"/>
                    </a:cubicBezTo>
                    <a:cubicBezTo>
                      <a:pt x="230" y="191"/>
                      <a:pt x="223" y="193"/>
                      <a:pt x="218" y="195"/>
                    </a:cubicBezTo>
                    <a:cubicBezTo>
                      <a:pt x="226" y="197"/>
                      <a:pt x="236" y="200"/>
                      <a:pt x="247" y="204"/>
                    </a:cubicBezTo>
                    <a:cubicBezTo>
                      <a:pt x="331" y="237"/>
                      <a:pt x="344" y="285"/>
                      <a:pt x="344" y="311"/>
                    </a:cubicBezTo>
                    <a:cubicBezTo>
                      <a:pt x="344" y="365"/>
                      <a:pt x="301" y="392"/>
                      <a:pt x="266" y="405"/>
                    </a:cubicBezTo>
                    <a:cubicBezTo>
                      <a:pt x="232" y="417"/>
                      <a:pt x="188" y="422"/>
                      <a:pt x="123" y="422"/>
                    </a:cubicBezTo>
                    <a:lnTo>
                      <a:pt x="0" y="422"/>
                    </a:lnTo>
                    <a:close/>
                    <a:moveTo>
                      <a:pt x="79" y="351"/>
                    </a:moveTo>
                    <a:cubicBezTo>
                      <a:pt x="79" y="359"/>
                      <a:pt x="78" y="369"/>
                      <a:pt x="87" y="376"/>
                    </a:cubicBezTo>
                    <a:cubicBezTo>
                      <a:pt x="95" y="384"/>
                      <a:pt x="111" y="387"/>
                      <a:pt x="136" y="387"/>
                    </a:cubicBezTo>
                    <a:cubicBezTo>
                      <a:pt x="216" y="387"/>
                      <a:pt x="260" y="358"/>
                      <a:pt x="260" y="305"/>
                    </a:cubicBezTo>
                    <a:cubicBezTo>
                      <a:pt x="260" y="249"/>
                      <a:pt x="217" y="218"/>
                      <a:pt x="131" y="215"/>
                    </a:cubicBezTo>
                    <a:cubicBezTo>
                      <a:pt x="130" y="215"/>
                      <a:pt x="124" y="215"/>
                      <a:pt x="123" y="215"/>
                    </a:cubicBezTo>
                    <a:lnTo>
                      <a:pt x="79" y="215"/>
                    </a:lnTo>
                    <a:lnTo>
                      <a:pt x="79" y="351"/>
                    </a:lnTo>
                    <a:close/>
                    <a:moveTo>
                      <a:pt x="145" y="184"/>
                    </a:moveTo>
                    <a:cubicBezTo>
                      <a:pt x="209" y="184"/>
                      <a:pt x="236" y="131"/>
                      <a:pt x="236" y="109"/>
                    </a:cubicBezTo>
                    <a:cubicBezTo>
                      <a:pt x="236" y="60"/>
                      <a:pt x="196" y="32"/>
                      <a:pt x="128" y="32"/>
                    </a:cubicBezTo>
                    <a:cubicBezTo>
                      <a:pt x="112" y="32"/>
                      <a:pt x="102" y="33"/>
                      <a:pt x="87" y="35"/>
                    </a:cubicBezTo>
                    <a:lnTo>
                      <a:pt x="79" y="36"/>
                    </a:lnTo>
                    <a:lnTo>
                      <a:pt x="79" y="184"/>
                    </a:lnTo>
                    <a:lnTo>
                      <a:pt x="145" y="184"/>
                    </a:ln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Freeform 19">
                <a:extLst>
                  <a:ext uri="{FF2B5EF4-FFF2-40B4-BE49-F238E27FC236}">
                    <a16:creationId xmlns:a16="http://schemas.microsoft.com/office/drawing/2014/main" id="{5CD7AA0A-C1FB-76A7-57D5-5AF9ECB5B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7689" y="2618497"/>
                <a:ext cx="127862" cy="149961"/>
              </a:xfrm>
              <a:custGeom>
                <a:avLst/>
                <a:gdLst>
                  <a:gd name="T0" fmla="*/ 275 w 356"/>
                  <a:gd name="T1" fmla="*/ 0 h 414"/>
                  <a:gd name="T2" fmla="*/ 275 w 356"/>
                  <a:gd name="T3" fmla="*/ 180 h 414"/>
                  <a:gd name="T4" fmla="*/ 81 w 356"/>
                  <a:gd name="T5" fmla="*/ 180 h 414"/>
                  <a:gd name="T6" fmla="*/ 81 w 356"/>
                  <a:gd name="T7" fmla="*/ 0 h 414"/>
                  <a:gd name="T8" fmla="*/ 0 w 356"/>
                  <a:gd name="T9" fmla="*/ 0 h 414"/>
                  <a:gd name="T10" fmla="*/ 0 w 356"/>
                  <a:gd name="T11" fmla="*/ 414 h 414"/>
                  <a:gd name="T12" fmla="*/ 81 w 356"/>
                  <a:gd name="T13" fmla="*/ 414 h 414"/>
                  <a:gd name="T14" fmla="*/ 81 w 356"/>
                  <a:gd name="T15" fmla="*/ 237 h 414"/>
                  <a:gd name="T16" fmla="*/ 104 w 356"/>
                  <a:gd name="T17" fmla="*/ 218 h 414"/>
                  <a:gd name="T18" fmla="*/ 252 w 356"/>
                  <a:gd name="T19" fmla="*/ 218 h 414"/>
                  <a:gd name="T20" fmla="*/ 275 w 356"/>
                  <a:gd name="T21" fmla="*/ 237 h 414"/>
                  <a:gd name="T22" fmla="*/ 275 w 356"/>
                  <a:gd name="T23" fmla="*/ 414 h 414"/>
                  <a:gd name="T24" fmla="*/ 356 w 356"/>
                  <a:gd name="T25" fmla="*/ 414 h 414"/>
                  <a:gd name="T26" fmla="*/ 356 w 356"/>
                  <a:gd name="T27" fmla="*/ 0 h 414"/>
                  <a:gd name="T28" fmla="*/ 275 w 356"/>
                  <a:gd name="T29" fmla="*/ 0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6" h="414">
                    <a:moveTo>
                      <a:pt x="275" y="0"/>
                    </a:moveTo>
                    <a:lnTo>
                      <a:pt x="275" y="180"/>
                    </a:lnTo>
                    <a:lnTo>
                      <a:pt x="81" y="180"/>
                    </a:lnTo>
                    <a:lnTo>
                      <a:pt x="81" y="0"/>
                    </a:lnTo>
                    <a:lnTo>
                      <a:pt x="0" y="0"/>
                    </a:lnTo>
                    <a:lnTo>
                      <a:pt x="0" y="414"/>
                    </a:lnTo>
                    <a:lnTo>
                      <a:pt x="81" y="414"/>
                    </a:lnTo>
                    <a:lnTo>
                      <a:pt x="81" y="237"/>
                    </a:lnTo>
                    <a:cubicBezTo>
                      <a:pt x="81" y="224"/>
                      <a:pt x="93" y="218"/>
                      <a:pt x="104" y="218"/>
                    </a:cubicBezTo>
                    <a:lnTo>
                      <a:pt x="252" y="218"/>
                    </a:lnTo>
                    <a:cubicBezTo>
                      <a:pt x="263" y="218"/>
                      <a:pt x="275" y="224"/>
                      <a:pt x="275" y="237"/>
                    </a:cubicBezTo>
                    <a:lnTo>
                      <a:pt x="275" y="414"/>
                    </a:lnTo>
                    <a:lnTo>
                      <a:pt x="356" y="414"/>
                    </a:lnTo>
                    <a:lnTo>
                      <a:pt x="356" y="0"/>
                    </a:lnTo>
                    <a:lnTo>
                      <a:pt x="275" y="0"/>
                    </a:ln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ABE6AA5-5E8E-DA99-EC63-3BE860099D10}"/>
              </a:ext>
            </a:extLst>
          </p:cNvPr>
          <p:cNvGrpSpPr/>
          <p:nvPr/>
        </p:nvGrpSpPr>
        <p:grpSpPr>
          <a:xfrm>
            <a:off x="7638378" y="4232991"/>
            <a:ext cx="1962822" cy="2223892"/>
            <a:chOff x="9086178" y="4232991"/>
            <a:chExt cx="1962822" cy="2223892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0481D45B-4F09-20C2-CCC5-FFC8CBC5C3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784996" y="4232991"/>
              <a:ext cx="1182602" cy="254245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41E9FB85-6693-E305-7E50-615B4D79AB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7710" b="8878"/>
            <a:stretch/>
          </p:blipFill>
          <p:spPr>
            <a:xfrm>
              <a:off x="10143144" y="4599655"/>
              <a:ext cx="619029" cy="516345"/>
            </a:xfrm>
            <a:prstGeom prst="rect">
              <a:avLst/>
            </a:prstGeom>
          </p:spPr>
        </p:pic>
        <p:sp>
          <p:nvSpPr>
            <p:cNvPr id="52" name="Left Brace 51">
              <a:extLst>
                <a:ext uri="{FF2B5EF4-FFF2-40B4-BE49-F238E27FC236}">
                  <a16:creationId xmlns:a16="http://schemas.microsoft.com/office/drawing/2014/main" id="{9D2E26F6-1DC5-51EA-B4F5-0734B7072F91}"/>
                </a:ext>
              </a:extLst>
            </p:cNvPr>
            <p:cNvSpPr/>
            <p:nvPr/>
          </p:nvSpPr>
          <p:spPr>
            <a:xfrm>
              <a:off x="9887966" y="4572000"/>
              <a:ext cx="95126" cy="1268400"/>
            </a:xfrm>
            <a:prstGeom prst="leftBrac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C9542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5BBC8982-5F45-4DC4-6202-3B99F0D05F4D}"/>
                </a:ext>
              </a:extLst>
            </p:cNvPr>
            <p:cNvSpPr txBox="1"/>
            <p:nvPr/>
          </p:nvSpPr>
          <p:spPr>
            <a:xfrm>
              <a:off x="9086178" y="4857827"/>
              <a:ext cx="683053" cy="830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Owned via </a:t>
              </a:r>
              <a:b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Teledimo</a:t>
              </a: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616626A3-0DD3-E9F1-A0E1-C5AF6FED558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262387" y="5936717"/>
              <a:ext cx="520167" cy="520166"/>
            </a:xfrm>
            <a:prstGeom prst="rect">
              <a:avLst/>
            </a:prstGeom>
          </p:spPr>
        </p:pic>
        <p:pic>
          <p:nvPicPr>
            <p:cNvPr id="10" name="Picture 2" descr="Grand Reinsurance-Tanzania">
              <a:extLst>
                <a:ext uri="{FF2B5EF4-FFF2-40B4-BE49-F238E27FC236}">
                  <a16:creationId xmlns:a16="http://schemas.microsoft.com/office/drawing/2014/main" id="{8F3ADB02-CB94-6442-770A-69BDF6D86D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58837" y="5613155"/>
              <a:ext cx="990163" cy="2542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AD9FC6F-1027-3B76-BAF4-6521B0113A3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143144" y="5151207"/>
              <a:ext cx="758655" cy="4141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494213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C161A76-6A8A-CD90-C813-AE91E8F175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Resilient Performance in the face of challenges</a:t>
            </a:r>
            <a:endParaRPr lang="en-GB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3E1EB57-F69C-428A-45FC-5DCC4F2FA7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6793504"/>
              </p:ext>
            </p:extLst>
          </p:nvPr>
        </p:nvGraphicFramePr>
        <p:xfrm>
          <a:off x="265026" y="3503519"/>
          <a:ext cx="2271946" cy="327053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71946">
                  <a:extLst>
                    <a:ext uri="{9D8B030D-6E8A-4147-A177-3AD203B41FA5}">
                      <a16:colId xmlns:a16="http://schemas.microsoft.com/office/drawing/2014/main" val="3410970019"/>
                    </a:ext>
                  </a:extLst>
                </a:gridCol>
              </a:tblGrid>
              <a:tr h="620029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85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GB" sz="1100"/>
                        <a:t>GDP contracted sharply in Q1 2024 with a </a:t>
                      </a:r>
                      <a:r>
                        <a:rPr lang="en-US" sz="1100"/>
                        <a:t>Year-on-year GDP growth of 0%. Down from 2.7% y-o-y in Q4 2023.</a:t>
                      </a:r>
                    </a:p>
                    <a:p>
                      <a:pPr marL="0" indent="0" algn="l">
                        <a:lnSpc>
                          <a:spcPct val="85000"/>
                        </a:lnSpc>
                        <a:buFont typeface="Arial" panose="020B0604020202020204" pitchFamily="34" charset="0"/>
                        <a:buNone/>
                      </a:pPr>
                      <a:endParaRPr lang="en-GB" sz="1100"/>
                    </a:p>
                  </a:txBody>
                  <a:tcPr marL="0" marR="0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8887510"/>
                  </a:ext>
                </a:extLst>
              </a:tr>
              <a:tr h="9116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Rising unemployment rates, increasing from  25.9% in Q3 2023 to 27.6% in Q1 2024 (youth unemployment increased from 34.4% to 38.2% in the same period)</a:t>
                      </a:r>
                    </a:p>
                  </a:txBody>
                  <a:tcPr marL="0" marR="0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04055079"/>
                  </a:ext>
                </a:extLst>
              </a:tr>
              <a:tr h="4243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/>
                        <a:t>Monetary Policy Rate (MoPR) maintained at 2.15% in H1</a:t>
                      </a:r>
                      <a:endParaRPr kumimoji="0" lang="en-GB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</a:txBody>
                  <a:tcPr marL="0" marR="0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9733855"/>
                  </a:ext>
                </a:extLst>
              </a:tr>
              <a:tr h="6200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>
                          <a:solidFill>
                            <a:schemeClr val="tx1"/>
                          </a:solidFill>
                        </a:rPr>
                        <a:t>Easing inflationary environment averaging 3.3% in H1 2024 from 7.8% in the prior year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</a:endParaRPr>
                    </a:p>
                  </a:txBody>
                  <a:tcPr marL="0" marR="0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6213953"/>
                  </a:ext>
                </a:extLst>
              </a:tr>
              <a:tr h="5660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clined cereal production and increased fuel prices</a:t>
                      </a:r>
                      <a:r>
                        <a:rPr kumimoji="0" lang="en-GB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GB" sz="11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</a:rPr>
                        <a:t>impacting disposable income</a:t>
                      </a:r>
                    </a:p>
                  </a:txBody>
                  <a:tcPr marL="0" marR="0" marT="3600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4693043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98F6633-8719-FF29-1537-01325D9599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986458"/>
              </p:ext>
            </p:extLst>
          </p:nvPr>
        </p:nvGraphicFramePr>
        <p:xfrm>
          <a:off x="2632129" y="3543949"/>
          <a:ext cx="2301825" cy="26343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01825">
                  <a:extLst>
                    <a:ext uri="{9D8B030D-6E8A-4147-A177-3AD203B41FA5}">
                      <a16:colId xmlns:a16="http://schemas.microsoft.com/office/drawing/2014/main" val="3410970019"/>
                    </a:ext>
                  </a:extLst>
                </a:gridCol>
              </a:tblGrid>
              <a:tr h="8781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GEV of </a:t>
                      </a:r>
                      <a:r>
                        <a:rPr lang="en-GB" sz="1100" b="1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.4% </a:t>
                      </a:r>
                      <a:r>
                        <a:rPr lang="en-GB" sz="11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low hurdle rate of 14.5% </a:t>
                      </a:r>
                    </a:p>
                    <a:p>
                      <a:pPr marL="0" indent="0" algn="l" defTabSz="914400" rtl="0" eaLnBrk="1" latinLnBrk="0" hangingPunct="1">
                        <a:lnSpc>
                          <a:spcPct val="85000"/>
                        </a:lnSpc>
                        <a:buFont typeface="Arial" panose="020B0604020202020204" pitchFamily="34" charset="0"/>
                        <a:buNone/>
                      </a:pPr>
                      <a:endParaRPr lang="en-GB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8887510"/>
                  </a:ext>
                </a:extLst>
              </a:tr>
              <a:tr h="8781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HL underperformance impacting associate profits and returns</a:t>
                      </a:r>
                    </a:p>
                  </a:txBody>
                  <a:tcPr marT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9733855"/>
                  </a:ext>
                </a:extLst>
              </a:tr>
              <a:tr h="878118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100" b="0" i="0">
                          <a:solidFill>
                            <a:srgbClr val="221F20"/>
                          </a:solidFill>
                          <a:effectLst/>
                          <a:latin typeface="Arial" panose="020B0604020202020204" pitchFamily="34" charset="0"/>
                        </a:rPr>
                        <a:t>Consistent Dividend Payout​</a:t>
                      </a:r>
                      <a:endParaRPr lang="en-US" sz="1100" b="0" i="0">
                        <a:solidFill>
                          <a:srgbClr val="221F2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>
                          <a:solidFill>
                            <a:srgbClr val="221F20"/>
                          </a:solidFill>
                          <a:effectLst/>
                          <a:latin typeface="Arial" panose="020B0604020202020204" pitchFamily="34" charset="0"/>
                        </a:rPr>
                        <a:t>P188 million interim ​</a:t>
                      </a:r>
                    </a:p>
                    <a:p>
                      <a:pPr algn="l" rtl="0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>
                          <a:solidFill>
                            <a:srgbClr val="221F20"/>
                          </a:solidFill>
                          <a:effectLst/>
                          <a:latin typeface="Arial" panose="020B0604020202020204" pitchFamily="34" charset="0"/>
                        </a:rPr>
                        <a:t>P17million special</a:t>
                      </a:r>
                    </a:p>
                  </a:txBody>
                  <a:tcPr marT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6213953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0206586-EE41-3D93-0FAA-61E2DA2CF8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5637387"/>
              </p:ext>
            </p:extLst>
          </p:nvPr>
        </p:nvGraphicFramePr>
        <p:xfrm>
          <a:off x="5011420" y="3543949"/>
          <a:ext cx="2301825" cy="26343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01825">
                  <a:extLst>
                    <a:ext uri="{9D8B030D-6E8A-4147-A177-3AD203B41FA5}">
                      <a16:colId xmlns:a16="http://schemas.microsoft.com/office/drawing/2014/main" val="3410970019"/>
                    </a:ext>
                  </a:extLst>
                </a:gridCol>
              </a:tblGrid>
              <a:tr h="878118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GB" sz="11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ong growth in Group business lines </a:t>
                      </a:r>
                    </a:p>
                  </a:txBody>
                  <a:tcPr marT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8887510"/>
                  </a:ext>
                </a:extLst>
              </a:tr>
              <a:tr h="878118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ealthy business mix supported by increased penetration of term insurance</a:t>
                      </a:r>
                    </a:p>
                  </a:txBody>
                  <a:tcPr marT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9733855"/>
                  </a:ext>
                </a:extLst>
              </a:tr>
              <a:tr h="878118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stainable and selective risk taking</a:t>
                      </a:r>
                    </a:p>
                  </a:txBody>
                  <a:tcPr marT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6213953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FDF0D13F-ECE7-0FA8-6F23-FDC770E2FD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8332030"/>
              </p:ext>
            </p:extLst>
          </p:nvPr>
        </p:nvGraphicFramePr>
        <p:xfrm>
          <a:off x="7400471" y="3543949"/>
          <a:ext cx="2170487" cy="26343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70487">
                  <a:extLst>
                    <a:ext uri="{9D8B030D-6E8A-4147-A177-3AD203B41FA5}">
                      <a16:colId xmlns:a16="http://schemas.microsoft.com/office/drawing/2014/main" val="3410970019"/>
                    </a:ext>
                  </a:extLst>
                </a:gridCol>
              </a:tblGrid>
              <a:tr h="8781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lemented IFRS17 accounting standard providing new perspectives and ensuring prudence</a:t>
                      </a:r>
                    </a:p>
                  </a:txBody>
                  <a:tcPr marT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8887510"/>
                  </a:ext>
                </a:extLst>
              </a:tr>
              <a:tr h="878118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covered annuity flows amid elevated encashments</a:t>
                      </a:r>
                    </a:p>
                  </a:txBody>
                  <a:tcPr marT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9733855"/>
                  </a:ext>
                </a:extLst>
              </a:tr>
              <a:tr h="878118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GB" sz="1100" kern="1200" noProof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6213953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245D0AD1-71F4-5832-F377-2EE5FAB52B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2342171"/>
              </p:ext>
            </p:extLst>
          </p:nvPr>
        </p:nvGraphicFramePr>
        <p:xfrm>
          <a:off x="9796284" y="3543949"/>
          <a:ext cx="2301825" cy="263435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01825">
                  <a:extLst>
                    <a:ext uri="{9D8B030D-6E8A-4147-A177-3AD203B41FA5}">
                      <a16:colId xmlns:a16="http://schemas.microsoft.com/office/drawing/2014/main" val="3410970019"/>
                    </a:ext>
                  </a:extLst>
                </a:gridCol>
              </a:tblGrid>
              <a:tr h="8781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100" kern="1200" noProof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57 participants at the 2024 Botswana Life Classic Run</a:t>
                      </a:r>
                    </a:p>
                  </a:txBody>
                  <a:tcPr marT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8887510"/>
                  </a:ext>
                </a:extLst>
              </a:tr>
              <a:tr h="8781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ient engagement and education through seminars, webinars, and stakeholder sessions</a:t>
                      </a:r>
                    </a:p>
                  </a:txBody>
                  <a:tcPr marT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89733855"/>
                  </a:ext>
                </a:extLst>
              </a:tr>
              <a:tr h="8781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kern="1200" noProof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96213953"/>
                  </a:ext>
                </a:extLst>
              </a:tr>
            </a:tbl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E07AE81D-5A97-8107-25F4-51431A94AC85}"/>
              </a:ext>
            </a:extLst>
          </p:cNvPr>
          <p:cNvGrpSpPr/>
          <p:nvPr/>
        </p:nvGrpSpPr>
        <p:grpSpPr>
          <a:xfrm>
            <a:off x="265026" y="1283687"/>
            <a:ext cx="11698374" cy="2145313"/>
            <a:chOff x="251913" y="1544551"/>
            <a:chExt cx="11698374" cy="2163109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63EE9D77-C8E9-C37D-5DB7-D06AFF7CBCBE}"/>
                </a:ext>
              </a:extLst>
            </p:cNvPr>
            <p:cNvSpPr/>
            <p:nvPr/>
          </p:nvSpPr>
          <p:spPr>
            <a:xfrm>
              <a:off x="9797529" y="1544551"/>
              <a:ext cx="2152758" cy="2152758"/>
            </a:xfrm>
            <a:prstGeom prst="ellipse">
              <a:avLst/>
            </a:prstGeom>
            <a:solidFill>
              <a:srgbClr val="7F7F7F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61200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munities</a:t>
              </a:r>
            </a:p>
          </p:txBody>
        </p:sp>
        <p:sp>
          <p:nvSpPr>
            <p:cNvPr id="19" name="object 25">
              <a:extLst>
                <a:ext uri="{FF2B5EF4-FFF2-40B4-BE49-F238E27FC236}">
                  <a16:creationId xmlns:a16="http://schemas.microsoft.com/office/drawing/2014/main" id="{02FE809F-9568-364A-1512-77C092026A8F}"/>
                </a:ext>
              </a:extLst>
            </p:cNvPr>
            <p:cNvSpPr/>
            <p:nvPr/>
          </p:nvSpPr>
          <p:spPr>
            <a:xfrm>
              <a:off x="10435006" y="1648032"/>
              <a:ext cx="877804" cy="877804"/>
            </a:xfrm>
            <a:custGeom>
              <a:avLst/>
              <a:gdLst/>
              <a:ahLst/>
              <a:cxnLst/>
              <a:rect l="l" t="t" r="r" b="b"/>
              <a:pathLst>
                <a:path w="933450" h="933450">
                  <a:moveTo>
                    <a:pt x="466559" y="0"/>
                  </a:moveTo>
                  <a:lnTo>
                    <a:pt x="418857" y="2408"/>
                  </a:lnTo>
                  <a:lnTo>
                    <a:pt x="372532" y="9478"/>
                  </a:lnTo>
                  <a:lnTo>
                    <a:pt x="327820" y="20975"/>
                  </a:lnTo>
                  <a:lnTo>
                    <a:pt x="284955" y="36665"/>
                  </a:lnTo>
                  <a:lnTo>
                    <a:pt x="244171" y="56311"/>
                  </a:lnTo>
                  <a:lnTo>
                    <a:pt x="205703" y="79682"/>
                  </a:lnTo>
                  <a:lnTo>
                    <a:pt x="169785" y="106540"/>
                  </a:lnTo>
                  <a:lnTo>
                    <a:pt x="136653" y="136653"/>
                  </a:lnTo>
                  <a:lnTo>
                    <a:pt x="106540" y="169785"/>
                  </a:lnTo>
                  <a:lnTo>
                    <a:pt x="79682" y="205703"/>
                  </a:lnTo>
                  <a:lnTo>
                    <a:pt x="56311" y="244171"/>
                  </a:lnTo>
                  <a:lnTo>
                    <a:pt x="36665" y="284955"/>
                  </a:lnTo>
                  <a:lnTo>
                    <a:pt x="20975" y="327820"/>
                  </a:lnTo>
                  <a:lnTo>
                    <a:pt x="9478" y="372532"/>
                  </a:lnTo>
                  <a:lnTo>
                    <a:pt x="2408" y="418857"/>
                  </a:lnTo>
                  <a:lnTo>
                    <a:pt x="0" y="466559"/>
                  </a:lnTo>
                  <a:lnTo>
                    <a:pt x="2408" y="514262"/>
                  </a:lnTo>
                  <a:lnTo>
                    <a:pt x="9478" y="560586"/>
                  </a:lnTo>
                  <a:lnTo>
                    <a:pt x="20975" y="605299"/>
                  </a:lnTo>
                  <a:lnTo>
                    <a:pt x="36665" y="648164"/>
                  </a:lnTo>
                  <a:lnTo>
                    <a:pt x="56311" y="688948"/>
                  </a:lnTo>
                  <a:lnTo>
                    <a:pt x="79682" y="727416"/>
                  </a:lnTo>
                  <a:lnTo>
                    <a:pt x="106540" y="763333"/>
                  </a:lnTo>
                  <a:lnTo>
                    <a:pt x="136653" y="796466"/>
                  </a:lnTo>
                  <a:lnTo>
                    <a:pt x="169785" y="826579"/>
                  </a:lnTo>
                  <a:lnTo>
                    <a:pt x="205703" y="853437"/>
                  </a:lnTo>
                  <a:lnTo>
                    <a:pt x="244171" y="876807"/>
                  </a:lnTo>
                  <a:lnTo>
                    <a:pt x="284955" y="896454"/>
                  </a:lnTo>
                  <a:lnTo>
                    <a:pt x="327820" y="912143"/>
                  </a:lnTo>
                  <a:lnTo>
                    <a:pt x="372532" y="923640"/>
                  </a:lnTo>
                  <a:lnTo>
                    <a:pt x="418857" y="930710"/>
                  </a:lnTo>
                  <a:lnTo>
                    <a:pt x="466559" y="933119"/>
                  </a:lnTo>
                  <a:lnTo>
                    <a:pt x="514262" y="930710"/>
                  </a:lnTo>
                  <a:lnTo>
                    <a:pt x="560586" y="923640"/>
                  </a:lnTo>
                  <a:lnTo>
                    <a:pt x="605299" y="912143"/>
                  </a:lnTo>
                  <a:lnTo>
                    <a:pt x="648164" y="896454"/>
                  </a:lnTo>
                  <a:lnTo>
                    <a:pt x="688948" y="876807"/>
                  </a:lnTo>
                  <a:lnTo>
                    <a:pt x="727416" y="853437"/>
                  </a:lnTo>
                  <a:lnTo>
                    <a:pt x="763333" y="826579"/>
                  </a:lnTo>
                  <a:lnTo>
                    <a:pt x="796466" y="796466"/>
                  </a:lnTo>
                  <a:lnTo>
                    <a:pt x="826579" y="763333"/>
                  </a:lnTo>
                  <a:lnTo>
                    <a:pt x="853437" y="727416"/>
                  </a:lnTo>
                  <a:lnTo>
                    <a:pt x="876807" y="688948"/>
                  </a:lnTo>
                  <a:lnTo>
                    <a:pt x="896454" y="648164"/>
                  </a:lnTo>
                  <a:lnTo>
                    <a:pt x="912143" y="605299"/>
                  </a:lnTo>
                  <a:lnTo>
                    <a:pt x="923640" y="560586"/>
                  </a:lnTo>
                  <a:lnTo>
                    <a:pt x="930710" y="514262"/>
                  </a:lnTo>
                  <a:lnTo>
                    <a:pt x="933119" y="466559"/>
                  </a:lnTo>
                  <a:lnTo>
                    <a:pt x="930710" y="418857"/>
                  </a:lnTo>
                  <a:lnTo>
                    <a:pt x="923640" y="372532"/>
                  </a:lnTo>
                  <a:lnTo>
                    <a:pt x="912143" y="327820"/>
                  </a:lnTo>
                  <a:lnTo>
                    <a:pt x="896454" y="284955"/>
                  </a:lnTo>
                  <a:lnTo>
                    <a:pt x="876807" y="244171"/>
                  </a:lnTo>
                  <a:lnTo>
                    <a:pt x="853437" y="205703"/>
                  </a:lnTo>
                  <a:lnTo>
                    <a:pt x="826579" y="169785"/>
                  </a:lnTo>
                  <a:lnTo>
                    <a:pt x="796466" y="136653"/>
                  </a:lnTo>
                  <a:lnTo>
                    <a:pt x="763333" y="106540"/>
                  </a:lnTo>
                  <a:lnTo>
                    <a:pt x="727416" y="79682"/>
                  </a:lnTo>
                  <a:lnTo>
                    <a:pt x="688948" y="56311"/>
                  </a:lnTo>
                  <a:lnTo>
                    <a:pt x="648164" y="36665"/>
                  </a:lnTo>
                  <a:lnTo>
                    <a:pt x="605299" y="20975"/>
                  </a:lnTo>
                  <a:lnTo>
                    <a:pt x="560586" y="9478"/>
                  </a:lnTo>
                  <a:lnTo>
                    <a:pt x="514262" y="2408"/>
                  </a:lnTo>
                  <a:lnTo>
                    <a:pt x="46655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innerShdw blurRad="114300">
                <a:prstClr val="black"/>
              </a:innerShdw>
            </a:effectLst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BEBF7D3B-F55B-164A-1264-43FC91554B40}"/>
                </a:ext>
              </a:extLst>
            </p:cNvPr>
            <p:cNvSpPr/>
            <p:nvPr/>
          </p:nvSpPr>
          <p:spPr>
            <a:xfrm>
              <a:off x="7411125" y="1554902"/>
              <a:ext cx="2152758" cy="2152758"/>
            </a:xfrm>
            <a:prstGeom prst="ellipse">
              <a:avLst/>
            </a:prstGeom>
            <a:solidFill>
              <a:srgbClr val="6A7F9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61200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gulatory and accounting standards impact</a:t>
              </a:r>
            </a:p>
          </p:txBody>
        </p:sp>
        <p:sp>
          <p:nvSpPr>
            <p:cNvPr id="27" name="object 25">
              <a:extLst>
                <a:ext uri="{FF2B5EF4-FFF2-40B4-BE49-F238E27FC236}">
                  <a16:creationId xmlns:a16="http://schemas.microsoft.com/office/drawing/2014/main" id="{C40D9A03-2526-0AC6-2B3B-83E760ABE3EB}"/>
                </a:ext>
              </a:extLst>
            </p:cNvPr>
            <p:cNvSpPr/>
            <p:nvPr/>
          </p:nvSpPr>
          <p:spPr>
            <a:xfrm>
              <a:off x="8048602" y="1648032"/>
              <a:ext cx="877804" cy="877804"/>
            </a:xfrm>
            <a:custGeom>
              <a:avLst/>
              <a:gdLst/>
              <a:ahLst/>
              <a:cxnLst/>
              <a:rect l="l" t="t" r="r" b="b"/>
              <a:pathLst>
                <a:path w="933450" h="933450">
                  <a:moveTo>
                    <a:pt x="466559" y="0"/>
                  </a:moveTo>
                  <a:lnTo>
                    <a:pt x="418857" y="2408"/>
                  </a:lnTo>
                  <a:lnTo>
                    <a:pt x="372532" y="9478"/>
                  </a:lnTo>
                  <a:lnTo>
                    <a:pt x="327820" y="20975"/>
                  </a:lnTo>
                  <a:lnTo>
                    <a:pt x="284955" y="36665"/>
                  </a:lnTo>
                  <a:lnTo>
                    <a:pt x="244171" y="56311"/>
                  </a:lnTo>
                  <a:lnTo>
                    <a:pt x="205703" y="79682"/>
                  </a:lnTo>
                  <a:lnTo>
                    <a:pt x="169785" y="106540"/>
                  </a:lnTo>
                  <a:lnTo>
                    <a:pt x="136653" y="136653"/>
                  </a:lnTo>
                  <a:lnTo>
                    <a:pt x="106540" y="169785"/>
                  </a:lnTo>
                  <a:lnTo>
                    <a:pt x="79682" y="205703"/>
                  </a:lnTo>
                  <a:lnTo>
                    <a:pt x="56311" y="244171"/>
                  </a:lnTo>
                  <a:lnTo>
                    <a:pt x="36665" y="284955"/>
                  </a:lnTo>
                  <a:lnTo>
                    <a:pt x="20975" y="327820"/>
                  </a:lnTo>
                  <a:lnTo>
                    <a:pt x="9478" y="372532"/>
                  </a:lnTo>
                  <a:lnTo>
                    <a:pt x="2408" y="418857"/>
                  </a:lnTo>
                  <a:lnTo>
                    <a:pt x="0" y="466559"/>
                  </a:lnTo>
                  <a:lnTo>
                    <a:pt x="2408" y="514262"/>
                  </a:lnTo>
                  <a:lnTo>
                    <a:pt x="9478" y="560586"/>
                  </a:lnTo>
                  <a:lnTo>
                    <a:pt x="20975" y="605299"/>
                  </a:lnTo>
                  <a:lnTo>
                    <a:pt x="36665" y="648164"/>
                  </a:lnTo>
                  <a:lnTo>
                    <a:pt x="56311" y="688948"/>
                  </a:lnTo>
                  <a:lnTo>
                    <a:pt x="79682" y="727416"/>
                  </a:lnTo>
                  <a:lnTo>
                    <a:pt x="106540" y="763333"/>
                  </a:lnTo>
                  <a:lnTo>
                    <a:pt x="136653" y="796466"/>
                  </a:lnTo>
                  <a:lnTo>
                    <a:pt x="169785" y="826579"/>
                  </a:lnTo>
                  <a:lnTo>
                    <a:pt x="205703" y="853437"/>
                  </a:lnTo>
                  <a:lnTo>
                    <a:pt x="244171" y="876807"/>
                  </a:lnTo>
                  <a:lnTo>
                    <a:pt x="284955" y="896454"/>
                  </a:lnTo>
                  <a:lnTo>
                    <a:pt x="327820" y="912143"/>
                  </a:lnTo>
                  <a:lnTo>
                    <a:pt x="372532" y="923640"/>
                  </a:lnTo>
                  <a:lnTo>
                    <a:pt x="418857" y="930710"/>
                  </a:lnTo>
                  <a:lnTo>
                    <a:pt x="466559" y="933119"/>
                  </a:lnTo>
                  <a:lnTo>
                    <a:pt x="514262" y="930710"/>
                  </a:lnTo>
                  <a:lnTo>
                    <a:pt x="560586" y="923640"/>
                  </a:lnTo>
                  <a:lnTo>
                    <a:pt x="605299" y="912143"/>
                  </a:lnTo>
                  <a:lnTo>
                    <a:pt x="648164" y="896454"/>
                  </a:lnTo>
                  <a:lnTo>
                    <a:pt x="688948" y="876807"/>
                  </a:lnTo>
                  <a:lnTo>
                    <a:pt x="727416" y="853437"/>
                  </a:lnTo>
                  <a:lnTo>
                    <a:pt x="763333" y="826579"/>
                  </a:lnTo>
                  <a:lnTo>
                    <a:pt x="796466" y="796466"/>
                  </a:lnTo>
                  <a:lnTo>
                    <a:pt x="826579" y="763333"/>
                  </a:lnTo>
                  <a:lnTo>
                    <a:pt x="853437" y="727416"/>
                  </a:lnTo>
                  <a:lnTo>
                    <a:pt x="876807" y="688948"/>
                  </a:lnTo>
                  <a:lnTo>
                    <a:pt x="896454" y="648164"/>
                  </a:lnTo>
                  <a:lnTo>
                    <a:pt x="912143" y="605299"/>
                  </a:lnTo>
                  <a:lnTo>
                    <a:pt x="923640" y="560586"/>
                  </a:lnTo>
                  <a:lnTo>
                    <a:pt x="930710" y="514262"/>
                  </a:lnTo>
                  <a:lnTo>
                    <a:pt x="933119" y="466559"/>
                  </a:lnTo>
                  <a:lnTo>
                    <a:pt x="930710" y="418857"/>
                  </a:lnTo>
                  <a:lnTo>
                    <a:pt x="923640" y="372532"/>
                  </a:lnTo>
                  <a:lnTo>
                    <a:pt x="912143" y="327820"/>
                  </a:lnTo>
                  <a:lnTo>
                    <a:pt x="896454" y="284955"/>
                  </a:lnTo>
                  <a:lnTo>
                    <a:pt x="876807" y="244171"/>
                  </a:lnTo>
                  <a:lnTo>
                    <a:pt x="853437" y="205703"/>
                  </a:lnTo>
                  <a:lnTo>
                    <a:pt x="826579" y="169785"/>
                  </a:lnTo>
                  <a:lnTo>
                    <a:pt x="796466" y="136653"/>
                  </a:lnTo>
                  <a:lnTo>
                    <a:pt x="763333" y="106540"/>
                  </a:lnTo>
                  <a:lnTo>
                    <a:pt x="727416" y="79682"/>
                  </a:lnTo>
                  <a:lnTo>
                    <a:pt x="688948" y="56311"/>
                  </a:lnTo>
                  <a:lnTo>
                    <a:pt x="648164" y="36665"/>
                  </a:lnTo>
                  <a:lnTo>
                    <a:pt x="605299" y="20975"/>
                  </a:lnTo>
                  <a:lnTo>
                    <a:pt x="560586" y="9478"/>
                  </a:lnTo>
                  <a:lnTo>
                    <a:pt x="514262" y="2408"/>
                  </a:lnTo>
                  <a:lnTo>
                    <a:pt x="46655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innerShdw blurRad="114300">
                <a:prstClr val="black"/>
              </a:innerShdw>
            </a:effectLst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DAFCFAB-3B77-5132-71FC-850F585AB5DB}"/>
                </a:ext>
              </a:extLst>
            </p:cNvPr>
            <p:cNvSpPr/>
            <p:nvPr/>
          </p:nvSpPr>
          <p:spPr>
            <a:xfrm>
              <a:off x="5024721" y="1554902"/>
              <a:ext cx="2152758" cy="2152758"/>
            </a:xfrm>
            <a:prstGeom prst="ellipse">
              <a:avLst/>
            </a:prstGeom>
            <a:solidFill>
              <a:srgbClr val="3D6C89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61200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stainable growth</a:t>
              </a:r>
            </a:p>
          </p:txBody>
        </p:sp>
        <p:sp>
          <p:nvSpPr>
            <p:cNvPr id="29" name="object 25">
              <a:extLst>
                <a:ext uri="{FF2B5EF4-FFF2-40B4-BE49-F238E27FC236}">
                  <a16:creationId xmlns:a16="http://schemas.microsoft.com/office/drawing/2014/main" id="{822B7E2A-6A9B-30B1-E3C5-DCF45842273B}"/>
                </a:ext>
              </a:extLst>
            </p:cNvPr>
            <p:cNvSpPr/>
            <p:nvPr/>
          </p:nvSpPr>
          <p:spPr>
            <a:xfrm>
              <a:off x="5662198" y="1648032"/>
              <a:ext cx="877804" cy="877804"/>
            </a:xfrm>
            <a:custGeom>
              <a:avLst/>
              <a:gdLst/>
              <a:ahLst/>
              <a:cxnLst/>
              <a:rect l="l" t="t" r="r" b="b"/>
              <a:pathLst>
                <a:path w="933450" h="933450">
                  <a:moveTo>
                    <a:pt x="466559" y="0"/>
                  </a:moveTo>
                  <a:lnTo>
                    <a:pt x="418857" y="2408"/>
                  </a:lnTo>
                  <a:lnTo>
                    <a:pt x="372532" y="9478"/>
                  </a:lnTo>
                  <a:lnTo>
                    <a:pt x="327820" y="20975"/>
                  </a:lnTo>
                  <a:lnTo>
                    <a:pt x="284955" y="36665"/>
                  </a:lnTo>
                  <a:lnTo>
                    <a:pt x="244171" y="56311"/>
                  </a:lnTo>
                  <a:lnTo>
                    <a:pt x="205703" y="79682"/>
                  </a:lnTo>
                  <a:lnTo>
                    <a:pt x="169785" y="106540"/>
                  </a:lnTo>
                  <a:lnTo>
                    <a:pt x="136653" y="136653"/>
                  </a:lnTo>
                  <a:lnTo>
                    <a:pt x="106540" y="169785"/>
                  </a:lnTo>
                  <a:lnTo>
                    <a:pt x="79682" y="205703"/>
                  </a:lnTo>
                  <a:lnTo>
                    <a:pt x="56311" y="244171"/>
                  </a:lnTo>
                  <a:lnTo>
                    <a:pt x="36665" y="284955"/>
                  </a:lnTo>
                  <a:lnTo>
                    <a:pt x="20975" y="327820"/>
                  </a:lnTo>
                  <a:lnTo>
                    <a:pt x="9478" y="372532"/>
                  </a:lnTo>
                  <a:lnTo>
                    <a:pt x="2408" y="418857"/>
                  </a:lnTo>
                  <a:lnTo>
                    <a:pt x="0" y="466559"/>
                  </a:lnTo>
                  <a:lnTo>
                    <a:pt x="2408" y="514262"/>
                  </a:lnTo>
                  <a:lnTo>
                    <a:pt x="9478" y="560586"/>
                  </a:lnTo>
                  <a:lnTo>
                    <a:pt x="20975" y="605299"/>
                  </a:lnTo>
                  <a:lnTo>
                    <a:pt x="36665" y="648164"/>
                  </a:lnTo>
                  <a:lnTo>
                    <a:pt x="56311" y="688948"/>
                  </a:lnTo>
                  <a:lnTo>
                    <a:pt x="79682" y="727416"/>
                  </a:lnTo>
                  <a:lnTo>
                    <a:pt x="106540" y="763333"/>
                  </a:lnTo>
                  <a:lnTo>
                    <a:pt x="136653" y="796466"/>
                  </a:lnTo>
                  <a:lnTo>
                    <a:pt x="169785" y="826579"/>
                  </a:lnTo>
                  <a:lnTo>
                    <a:pt x="205703" y="853437"/>
                  </a:lnTo>
                  <a:lnTo>
                    <a:pt x="244171" y="876807"/>
                  </a:lnTo>
                  <a:lnTo>
                    <a:pt x="284955" y="896454"/>
                  </a:lnTo>
                  <a:lnTo>
                    <a:pt x="327820" y="912143"/>
                  </a:lnTo>
                  <a:lnTo>
                    <a:pt x="372532" y="923640"/>
                  </a:lnTo>
                  <a:lnTo>
                    <a:pt x="418857" y="930710"/>
                  </a:lnTo>
                  <a:lnTo>
                    <a:pt x="466559" y="933119"/>
                  </a:lnTo>
                  <a:lnTo>
                    <a:pt x="514262" y="930710"/>
                  </a:lnTo>
                  <a:lnTo>
                    <a:pt x="560586" y="923640"/>
                  </a:lnTo>
                  <a:lnTo>
                    <a:pt x="605299" y="912143"/>
                  </a:lnTo>
                  <a:lnTo>
                    <a:pt x="648164" y="896454"/>
                  </a:lnTo>
                  <a:lnTo>
                    <a:pt x="688948" y="876807"/>
                  </a:lnTo>
                  <a:lnTo>
                    <a:pt x="727416" y="853437"/>
                  </a:lnTo>
                  <a:lnTo>
                    <a:pt x="763333" y="826579"/>
                  </a:lnTo>
                  <a:lnTo>
                    <a:pt x="796466" y="796466"/>
                  </a:lnTo>
                  <a:lnTo>
                    <a:pt x="826579" y="763333"/>
                  </a:lnTo>
                  <a:lnTo>
                    <a:pt x="853437" y="727416"/>
                  </a:lnTo>
                  <a:lnTo>
                    <a:pt x="876807" y="688948"/>
                  </a:lnTo>
                  <a:lnTo>
                    <a:pt x="896454" y="648164"/>
                  </a:lnTo>
                  <a:lnTo>
                    <a:pt x="912143" y="605299"/>
                  </a:lnTo>
                  <a:lnTo>
                    <a:pt x="923640" y="560586"/>
                  </a:lnTo>
                  <a:lnTo>
                    <a:pt x="930710" y="514262"/>
                  </a:lnTo>
                  <a:lnTo>
                    <a:pt x="933119" y="466559"/>
                  </a:lnTo>
                  <a:lnTo>
                    <a:pt x="930710" y="418857"/>
                  </a:lnTo>
                  <a:lnTo>
                    <a:pt x="923640" y="372532"/>
                  </a:lnTo>
                  <a:lnTo>
                    <a:pt x="912143" y="327820"/>
                  </a:lnTo>
                  <a:lnTo>
                    <a:pt x="896454" y="284955"/>
                  </a:lnTo>
                  <a:lnTo>
                    <a:pt x="876807" y="244171"/>
                  </a:lnTo>
                  <a:lnTo>
                    <a:pt x="853437" y="205703"/>
                  </a:lnTo>
                  <a:lnTo>
                    <a:pt x="826579" y="169785"/>
                  </a:lnTo>
                  <a:lnTo>
                    <a:pt x="796466" y="136653"/>
                  </a:lnTo>
                  <a:lnTo>
                    <a:pt x="763333" y="106540"/>
                  </a:lnTo>
                  <a:lnTo>
                    <a:pt x="727416" y="79682"/>
                  </a:lnTo>
                  <a:lnTo>
                    <a:pt x="688948" y="56311"/>
                  </a:lnTo>
                  <a:lnTo>
                    <a:pt x="648164" y="36665"/>
                  </a:lnTo>
                  <a:lnTo>
                    <a:pt x="605299" y="20975"/>
                  </a:lnTo>
                  <a:lnTo>
                    <a:pt x="560586" y="9478"/>
                  </a:lnTo>
                  <a:lnTo>
                    <a:pt x="514262" y="2408"/>
                  </a:lnTo>
                  <a:lnTo>
                    <a:pt x="46655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innerShdw blurRad="114300">
                <a:prstClr val="black"/>
              </a:innerShdw>
            </a:effectLst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8D0A5786-291B-825F-84A9-38BB0584495A}"/>
                </a:ext>
              </a:extLst>
            </p:cNvPr>
            <p:cNvSpPr/>
            <p:nvPr/>
          </p:nvSpPr>
          <p:spPr>
            <a:xfrm>
              <a:off x="2638317" y="1554902"/>
              <a:ext cx="2152758" cy="2152758"/>
            </a:xfrm>
            <a:prstGeom prst="ellipse">
              <a:avLst/>
            </a:prstGeom>
            <a:solidFill>
              <a:srgbClr val="0C2D3A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61200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vestor value creation</a:t>
              </a:r>
            </a:p>
          </p:txBody>
        </p:sp>
        <p:sp>
          <p:nvSpPr>
            <p:cNvPr id="33" name="object 25">
              <a:extLst>
                <a:ext uri="{FF2B5EF4-FFF2-40B4-BE49-F238E27FC236}">
                  <a16:creationId xmlns:a16="http://schemas.microsoft.com/office/drawing/2014/main" id="{1B599930-13FC-8C7D-B6BD-85C85B241ACE}"/>
                </a:ext>
              </a:extLst>
            </p:cNvPr>
            <p:cNvSpPr/>
            <p:nvPr/>
          </p:nvSpPr>
          <p:spPr>
            <a:xfrm>
              <a:off x="3275794" y="1648032"/>
              <a:ext cx="877804" cy="877804"/>
            </a:xfrm>
            <a:custGeom>
              <a:avLst/>
              <a:gdLst/>
              <a:ahLst/>
              <a:cxnLst/>
              <a:rect l="l" t="t" r="r" b="b"/>
              <a:pathLst>
                <a:path w="933450" h="933450">
                  <a:moveTo>
                    <a:pt x="466559" y="0"/>
                  </a:moveTo>
                  <a:lnTo>
                    <a:pt x="418857" y="2408"/>
                  </a:lnTo>
                  <a:lnTo>
                    <a:pt x="372532" y="9478"/>
                  </a:lnTo>
                  <a:lnTo>
                    <a:pt x="327820" y="20975"/>
                  </a:lnTo>
                  <a:lnTo>
                    <a:pt x="284955" y="36665"/>
                  </a:lnTo>
                  <a:lnTo>
                    <a:pt x="244171" y="56311"/>
                  </a:lnTo>
                  <a:lnTo>
                    <a:pt x="205703" y="79682"/>
                  </a:lnTo>
                  <a:lnTo>
                    <a:pt x="169785" y="106540"/>
                  </a:lnTo>
                  <a:lnTo>
                    <a:pt x="136653" y="136653"/>
                  </a:lnTo>
                  <a:lnTo>
                    <a:pt x="106540" y="169785"/>
                  </a:lnTo>
                  <a:lnTo>
                    <a:pt x="79682" y="205703"/>
                  </a:lnTo>
                  <a:lnTo>
                    <a:pt x="56311" y="244171"/>
                  </a:lnTo>
                  <a:lnTo>
                    <a:pt x="36665" y="284955"/>
                  </a:lnTo>
                  <a:lnTo>
                    <a:pt x="20975" y="327820"/>
                  </a:lnTo>
                  <a:lnTo>
                    <a:pt x="9478" y="372532"/>
                  </a:lnTo>
                  <a:lnTo>
                    <a:pt x="2408" y="418857"/>
                  </a:lnTo>
                  <a:lnTo>
                    <a:pt x="0" y="466559"/>
                  </a:lnTo>
                  <a:lnTo>
                    <a:pt x="2408" y="514262"/>
                  </a:lnTo>
                  <a:lnTo>
                    <a:pt x="9478" y="560586"/>
                  </a:lnTo>
                  <a:lnTo>
                    <a:pt x="20975" y="605299"/>
                  </a:lnTo>
                  <a:lnTo>
                    <a:pt x="36665" y="648164"/>
                  </a:lnTo>
                  <a:lnTo>
                    <a:pt x="56311" y="688948"/>
                  </a:lnTo>
                  <a:lnTo>
                    <a:pt x="79682" y="727416"/>
                  </a:lnTo>
                  <a:lnTo>
                    <a:pt x="106540" y="763333"/>
                  </a:lnTo>
                  <a:lnTo>
                    <a:pt x="136653" y="796466"/>
                  </a:lnTo>
                  <a:lnTo>
                    <a:pt x="169785" y="826579"/>
                  </a:lnTo>
                  <a:lnTo>
                    <a:pt x="205703" y="853437"/>
                  </a:lnTo>
                  <a:lnTo>
                    <a:pt x="244171" y="876807"/>
                  </a:lnTo>
                  <a:lnTo>
                    <a:pt x="284955" y="896454"/>
                  </a:lnTo>
                  <a:lnTo>
                    <a:pt x="327820" y="912143"/>
                  </a:lnTo>
                  <a:lnTo>
                    <a:pt x="372532" y="923640"/>
                  </a:lnTo>
                  <a:lnTo>
                    <a:pt x="418857" y="930710"/>
                  </a:lnTo>
                  <a:lnTo>
                    <a:pt x="466559" y="933119"/>
                  </a:lnTo>
                  <a:lnTo>
                    <a:pt x="514262" y="930710"/>
                  </a:lnTo>
                  <a:lnTo>
                    <a:pt x="560586" y="923640"/>
                  </a:lnTo>
                  <a:lnTo>
                    <a:pt x="605299" y="912143"/>
                  </a:lnTo>
                  <a:lnTo>
                    <a:pt x="648164" y="896454"/>
                  </a:lnTo>
                  <a:lnTo>
                    <a:pt x="688948" y="876807"/>
                  </a:lnTo>
                  <a:lnTo>
                    <a:pt x="727416" y="853437"/>
                  </a:lnTo>
                  <a:lnTo>
                    <a:pt x="763333" y="826579"/>
                  </a:lnTo>
                  <a:lnTo>
                    <a:pt x="796466" y="796466"/>
                  </a:lnTo>
                  <a:lnTo>
                    <a:pt x="826579" y="763333"/>
                  </a:lnTo>
                  <a:lnTo>
                    <a:pt x="853437" y="727416"/>
                  </a:lnTo>
                  <a:lnTo>
                    <a:pt x="876807" y="688948"/>
                  </a:lnTo>
                  <a:lnTo>
                    <a:pt x="896454" y="648164"/>
                  </a:lnTo>
                  <a:lnTo>
                    <a:pt x="912143" y="605299"/>
                  </a:lnTo>
                  <a:lnTo>
                    <a:pt x="923640" y="560586"/>
                  </a:lnTo>
                  <a:lnTo>
                    <a:pt x="930710" y="514262"/>
                  </a:lnTo>
                  <a:lnTo>
                    <a:pt x="933119" y="466559"/>
                  </a:lnTo>
                  <a:lnTo>
                    <a:pt x="930710" y="418857"/>
                  </a:lnTo>
                  <a:lnTo>
                    <a:pt x="923640" y="372532"/>
                  </a:lnTo>
                  <a:lnTo>
                    <a:pt x="912143" y="327820"/>
                  </a:lnTo>
                  <a:lnTo>
                    <a:pt x="896454" y="284955"/>
                  </a:lnTo>
                  <a:lnTo>
                    <a:pt x="876807" y="244171"/>
                  </a:lnTo>
                  <a:lnTo>
                    <a:pt x="853437" y="205703"/>
                  </a:lnTo>
                  <a:lnTo>
                    <a:pt x="826579" y="169785"/>
                  </a:lnTo>
                  <a:lnTo>
                    <a:pt x="796466" y="136653"/>
                  </a:lnTo>
                  <a:lnTo>
                    <a:pt x="763333" y="106540"/>
                  </a:lnTo>
                  <a:lnTo>
                    <a:pt x="727416" y="79682"/>
                  </a:lnTo>
                  <a:lnTo>
                    <a:pt x="688948" y="56311"/>
                  </a:lnTo>
                  <a:lnTo>
                    <a:pt x="648164" y="36665"/>
                  </a:lnTo>
                  <a:lnTo>
                    <a:pt x="605299" y="20975"/>
                  </a:lnTo>
                  <a:lnTo>
                    <a:pt x="560586" y="9478"/>
                  </a:lnTo>
                  <a:lnTo>
                    <a:pt x="514262" y="2408"/>
                  </a:lnTo>
                  <a:lnTo>
                    <a:pt x="46655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innerShdw blurRad="114300">
                <a:prstClr val="black"/>
              </a:innerShdw>
            </a:effectLst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13A675B8-F0D7-8F2C-D56C-0DB14B91D84A}"/>
                </a:ext>
              </a:extLst>
            </p:cNvPr>
            <p:cNvSpPr/>
            <p:nvPr/>
          </p:nvSpPr>
          <p:spPr>
            <a:xfrm>
              <a:off x="251913" y="1554902"/>
              <a:ext cx="2152758" cy="2152758"/>
            </a:xfrm>
            <a:prstGeom prst="ellipse">
              <a:avLst/>
            </a:prstGeom>
            <a:solidFill>
              <a:srgbClr val="52463E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61200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cros</a:t>
              </a:r>
            </a:p>
          </p:txBody>
        </p:sp>
        <p:sp>
          <p:nvSpPr>
            <p:cNvPr id="35" name="object 25">
              <a:extLst>
                <a:ext uri="{FF2B5EF4-FFF2-40B4-BE49-F238E27FC236}">
                  <a16:creationId xmlns:a16="http://schemas.microsoft.com/office/drawing/2014/main" id="{06C76FF1-5B4A-340E-41AE-19D87EA1D430}"/>
                </a:ext>
              </a:extLst>
            </p:cNvPr>
            <p:cNvSpPr/>
            <p:nvPr/>
          </p:nvSpPr>
          <p:spPr>
            <a:xfrm>
              <a:off x="889390" y="1648032"/>
              <a:ext cx="877804" cy="877804"/>
            </a:xfrm>
            <a:custGeom>
              <a:avLst/>
              <a:gdLst/>
              <a:ahLst/>
              <a:cxnLst/>
              <a:rect l="l" t="t" r="r" b="b"/>
              <a:pathLst>
                <a:path w="933450" h="933450">
                  <a:moveTo>
                    <a:pt x="466559" y="0"/>
                  </a:moveTo>
                  <a:lnTo>
                    <a:pt x="418857" y="2408"/>
                  </a:lnTo>
                  <a:lnTo>
                    <a:pt x="372532" y="9478"/>
                  </a:lnTo>
                  <a:lnTo>
                    <a:pt x="327820" y="20975"/>
                  </a:lnTo>
                  <a:lnTo>
                    <a:pt x="284955" y="36665"/>
                  </a:lnTo>
                  <a:lnTo>
                    <a:pt x="244171" y="56311"/>
                  </a:lnTo>
                  <a:lnTo>
                    <a:pt x="205703" y="79682"/>
                  </a:lnTo>
                  <a:lnTo>
                    <a:pt x="169785" y="106540"/>
                  </a:lnTo>
                  <a:lnTo>
                    <a:pt x="136653" y="136653"/>
                  </a:lnTo>
                  <a:lnTo>
                    <a:pt x="106540" y="169785"/>
                  </a:lnTo>
                  <a:lnTo>
                    <a:pt x="79682" y="205703"/>
                  </a:lnTo>
                  <a:lnTo>
                    <a:pt x="56311" y="244171"/>
                  </a:lnTo>
                  <a:lnTo>
                    <a:pt x="36665" y="284955"/>
                  </a:lnTo>
                  <a:lnTo>
                    <a:pt x="20975" y="327820"/>
                  </a:lnTo>
                  <a:lnTo>
                    <a:pt x="9478" y="372532"/>
                  </a:lnTo>
                  <a:lnTo>
                    <a:pt x="2408" y="418857"/>
                  </a:lnTo>
                  <a:lnTo>
                    <a:pt x="0" y="466559"/>
                  </a:lnTo>
                  <a:lnTo>
                    <a:pt x="2408" y="514262"/>
                  </a:lnTo>
                  <a:lnTo>
                    <a:pt x="9478" y="560586"/>
                  </a:lnTo>
                  <a:lnTo>
                    <a:pt x="20975" y="605299"/>
                  </a:lnTo>
                  <a:lnTo>
                    <a:pt x="36665" y="648164"/>
                  </a:lnTo>
                  <a:lnTo>
                    <a:pt x="56311" y="688948"/>
                  </a:lnTo>
                  <a:lnTo>
                    <a:pt x="79682" y="727416"/>
                  </a:lnTo>
                  <a:lnTo>
                    <a:pt x="106540" y="763333"/>
                  </a:lnTo>
                  <a:lnTo>
                    <a:pt x="136653" y="796466"/>
                  </a:lnTo>
                  <a:lnTo>
                    <a:pt x="169785" y="826579"/>
                  </a:lnTo>
                  <a:lnTo>
                    <a:pt x="205703" y="853437"/>
                  </a:lnTo>
                  <a:lnTo>
                    <a:pt x="244171" y="876807"/>
                  </a:lnTo>
                  <a:lnTo>
                    <a:pt x="284955" y="896454"/>
                  </a:lnTo>
                  <a:lnTo>
                    <a:pt x="327820" y="912143"/>
                  </a:lnTo>
                  <a:lnTo>
                    <a:pt x="372532" y="923640"/>
                  </a:lnTo>
                  <a:lnTo>
                    <a:pt x="418857" y="930710"/>
                  </a:lnTo>
                  <a:lnTo>
                    <a:pt x="466559" y="933119"/>
                  </a:lnTo>
                  <a:lnTo>
                    <a:pt x="514262" y="930710"/>
                  </a:lnTo>
                  <a:lnTo>
                    <a:pt x="560586" y="923640"/>
                  </a:lnTo>
                  <a:lnTo>
                    <a:pt x="605299" y="912143"/>
                  </a:lnTo>
                  <a:lnTo>
                    <a:pt x="648164" y="896454"/>
                  </a:lnTo>
                  <a:lnTo>
                    <a:pt x="688948" y="876807"/>
                  </a:lnTo>
                  <a:lnTo>
                    <a:pt x="727416" y="853437"/>
                  </a:lnTo>
                  <a:lnTo>
                    <a:pt x="763333" y="826579"/>
                  </a:lnTo>
                  <a:lnTo>
                    <a:pt x="796466" y="796466"/>
                  </a:lnTo>
                  <a:lnTo>
                    <a:pt x="826579" y="763333"/>
                  </a:lnTo>
                  <a:lnTo>
                    <a:pt x="853437" y="727416"/>
                  </a:lnTo>
                  <a:lnTo>
                    <a:pt x="876807" y="688948"/>
                  </a:lnTo>
                  <a:lnTo>
                    <a:pt x="896454" y="648164"/>
                  </a:lnTo>
                  <a:lnTo>
                    <a:pt x="912143" y="605299"/>
                  </a:lnTo>
                  <a:lnTo>
                    <a:pt x="923640" y="560586"/>
                  </a:lnTo>
                  <a:lnTo>
                    <a:pt x="930710" y="514262"/>
                  </a:lnTo>
                  <a:lnTo>
                    <a:pt x="933119" y="466559"/>
                  </a:lnTo>
                  <a:lnTo>
                    <a:pt x="930710" y="418857"/>
                  </a:lnTo>
                  <a:lnTo>
                    <a:pt x="923640" y="372532"/>
                  </a:lnTo>
                  <a:lnTo>
                    <a:pt x="912143" y="327820"/>
                  </a:lnTo>
                  <a:lnTo>
                    <a:pt x="896454" y="284955"/>
                  </a:lnTo>
                  <a:lnTo>
                    <a:pt x="876807" y="244171"/>
                  </a:lnTo>
                  <a:lnTo>
                    <a:pt x="853437" y="205703"/>
                  </a:lnTo>
                  <a:lnTo>
                    <a:pt x="826579" y="169785"/>
                  </a:lnTo>
                  <a:lnTo>
                    <a:pt x="796466" y="136653"/>
                  </a:lnTo>
                  <a:lnTo>
                    <a:pt x="763333" y="106540"/>
                  </a:lnTo>
                  <a:lnTo>
                    <a:pt x="727416" y="79682"/>
                  </a:lnTo>
                  <a:lnTo>
                    <a:pt x="688948" y="56311"/>
                  </a:lnTo>
                  <a:lnTo>
                    <a:pt x="648164" y="36665"/>
                  </a:lnTo>
                  <a:lnTo>
                    <a:pt x="605299" y="20975"/>
                  </a:lnTo>
                  <a:lnTo>
                    <a:pt x="560586" y="9478"/>
                  </a:lnTo>
                  <a:lnTo>
                    <a:pt x="514262" y="2408"/>
                  </a:lnTo>
                  <a:lnTo>
                    <a:pt x="46655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innerShdw blurRad="114300">
                <a:prstClr val="black"/>
              </a:innerShdw>
            </a:effectLst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Graphic 27" descr="World outline">
              <a:extLst>
                <a:ext uri="{FF2B5EF4-FFF2-40B4-BE49-F238E27FC236}">
                  <a16:creationId xmlns:a16="http://schemas.microsoft.com/office/drawing/2014/main" id="{B2C177D7-A242-D7FA-AB60-CFA5FE6C500E}"/>
                </a:ext>
              </a:extLst>
            </p:cNvPr>
            <p:cNvSpPr/>
            <p:nvPr/>
          </p:nvSpPr>
          <p:spPr>
            <a:xfrm>
              <a:off x="995956" y="1770408"/>
              <a:ext cx="664673" cy="664673"/>
            </a:xfrm>
            <a:custGeom>
              <a:avLst/>
              <a:gdLst>
                <a:gd name="connsiteX0" fmla="*/ 352425 w 704850"/>
                <a:gd name="connsiteY0" fmla="*/ 0 h 704850"/>
                <a:gd name="connsiteX1" fmla="*/ 352425 w 704850"/>
                <a:gd name="connsiteY1" fmla="*/ 0 h 704850"/>
                <a:gd name="connsiteX2" fmla="*/ 0 w 704850"/>
                <a:gd name="connsiteY2" fmla="*/ 352425 h 704850"/>
                <a:gd name="connsiteX3" fmla="*/ 352425 w 704850"/>
                <a:gd name="connsiteY3" fmla="*/ 704850 h 704850"/>
                <a:gd name="connsiteX4" fmla="*/ 704850 w 704850"/>
                <a:gd name="connsiteY4" fmla="*/ 352425 h 704850"/>
                <a:gd name="connsiteX5" fmla="*/ 352425 w 704850"/>
                <a:gd name="connsiteY5" fmla="*/ 0 h 704850"/>
                <a:gd name="connsiteX6" fmla="*/ 685800 w 704850"/>
                <a:gd name="connsiteY6" fmla="*/ 342900 h 704850"/>
                <a:gd name="connsiteX7" fmla="*/ 533400 w 704850"/>
                <a:gd name="connsiteY7" fmla="*/ 342900 h 704850"/>
                <a:gd name="connsiteX8" fmla="*/ 382905 w 704850"/>
                <a:gd name="connsiteY8" fmla="*/ 20955 h 704850"/>
                <a:gd name="connsiteX9" fmla="*/ 685800 w 704850"/>
                <a:gd name="connsiteY9" fmla="*/ 342900 h 704850"/>
                <a:gd name="connsiteX10" fmla="*/ 342900 w 704850"/>
                <a:gd name="connsiteY10" fmla="*/ 342900 h 704850"/>
                <a:gd name="connsiteX11" fmla="*/ 190500 w 704850"/>
                <a:gd name="connsiteY11" fmla="*/ 342900 h 704850"/>
                <a:gd name="connsiteX12" fmla="*/ 342900 w 704850"/>
                <a:gd name="connsiteY12" fmla="*/ 28575 h 704850"/>
                <a:gd name="connsiteX13" fmla="*/ 342900 w 704850"/>
                <a:gd name="connsiteY13" fmla="*/ 342900 h 704850"/>
                <a:gd name="connsiteX14" fmla="*/ 342900 w 704850"/>
                <a:gd name="connsiteY14" fmla="*/ 361950 h 704850"/>
                <a:gd name="connsiteX15" fmla="*/ 342900 w 704850"/>
                <a:gd name="connsiteY15" fmla="*/ 676275 h 704850"/>
                <a:gd name="connsiteX16" fmla="*/ 190500 w 704850"/>
                <a:gd name="connsiteY16" fmla="*/ 361950 h 704850"/>
                <a:gd name="connsiteX17" fmla="*/ 342900 w 704850"/>
                <a:gd name="connsiteY17" fmla="*/ 361950 h 704850"/>
                <a:gd name="connsiteX18" fmla="*/ 361950 w 704850"/>
                <a:gd name="connsiteY18" fmla="*/ 361950 h 704850"/>
                <a:gd name="connsiteX19" fmla="*/ 514350 w 704850"/>
                <a:gd name="connsiteY19" fmla="*/ 361950 h 704850"/>
                <a:gd name="connsiteX20" fmla="*/ 361950 w 704850"/>
                <a:gd name="connsiteY20" fmla="*/ 676275 h 704850"/>
                <a:gd name="connsiteX21" fmla="*/ 361950 w 704850"/>
                <a:gd name="connsiteY21" fmla="*/ 361950 h 704850"/>
                <a:gd name="connsiteX22" fmla="*/ 361950 w 704850"/>
                <a:gd name="connsiteY22" fmla="*/ 342900 h 704850"/>
                <a:gd name="connsiteX23" fmla="*/ 361950 w 704850"/>
                <a:gd name="connsiteY23" fmla="*/ 28575 h 704850"/>
                <a:gd name="connsiteX24" fmla="*/ 514350 w 704850"/>
                <a:gd name="connsiteY24" fmla="*/ 342900 h 704850"/>
                <a:gd name="connsiteX25" fmla="*/ 361950 w 704850"/>
                <a:gd name="connsiteY25" fmla="*/ 342900 h 704850"/>
                <a:gd name="connsiteX26" fmla="*/ 321945 w 704850"/>
                <a:gd name="connsiteY26" fmla="*/ 20955 h 704850"/>
                <a:gd name="connsiteX27" fmla="*/ 171450 w 704850"/>
                <a:gd name="connsiteY27" fmla="*/ 342900 h 704850"/>
                <a:gd name="connsiteX28" fmla="*/ 19050 w 704850"/>
                <a:gd name="connsiteY28" fmla="*/ 342900 h 704850"/>
                <a:gd name="connsiteX29" fmla="*/ 321945 w 704850"/>
                <a:gd name="connsiteY29" fmla="*/ 20955 h 704850"/>
                <a:gd name="connsiteX30" fmla="*/ 19050 w 704850"/>
                <a:gd name="connsiteY30" fmla="*/ 361950 h 704850"/>
                <a:gd name="connsiteX31" fmla="*/ 171450 w 704850"/>
                <a:gd name="connsiteY31" fmla="*/ 361950 h 704850"/>
                <a:gd name="connsiteX32" fmla="*/ 321945 w 704850"/>
                <a:gd name="connsiteY32" fmla="*/ 683895 h 704850"/>
                <a:gd name="connsiteX33" fmla="*/ 19050 w 704850"/>
                <a:gd name="connsiteY33" fmla="*/ 361950 h 704850"/>
                <a:gd name="connsiteX34" fmla="*/ 382905 w 704850"/>
                <a:gd name="connsiteY34" fmla="*/ 683895 h 704850"/>
                <a:gd name="connsiteX35" fmla="*/ 533400 w 704850"/>
                <a:gd name="connsiteY35" fmla="*/ 361950 h 704850"/>
                <a:gd name="connsiteX36" fmla="*/ 685800 w 704850"/>
                <a:gd name="connsiteY36" fmla="*/ 361950 h 704850"/>
                <a:gd name="connsiteX37" fmla="*/ 389573 w 704850"/>
                <a:gd name="connsiteY37" fmla="*/ 683895 h 704850"/>
                <a:gd name="connsiteX38" fmla="*/ 382905 w 704850"/>
                <a:gd name="connsiteY38" fmla="*/ 683895 h 704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704850" h="704850">
                  <a:moveTo>
                    <a:pt x="352425" y="0"/>
                  </a:moveTo>
                  <a:lnTo>
                    <a:pt x="352425" y="0"/>
                  </a:lnTo>
                  <a:cubicBezTo>
                    <a:pt x="158115" y="0"/>
                    <a:pt x="0" y="158115"/>
                    <a:pt x="0" y="352425"/>
                  </a:cubicBezTo>
                  <a:cubicBezTo>
                    <a:pt x="0" y="546735"/>
                    <a:pt x="158115" y="704850"/>
                    <a:pt x="352425" y="704850"/>
                  </a:cubicBezTo>
                  <a:cubicBezTo>
                    <a:pt x="546735" y="704850"/>
                    <a:pt x="704850" y="546735"/>
                    <a:pt x="704850" y="352425"/>
                  </a:cubicBezTo>
                  <a:cubicBezTo>
                    <a:pt x="704850" y="158115"/>
                    <a:pt x="546735" y="0"/>
                    <a:pt x="352425" y="0"/>
                  </a:cubicBezTo>
                  <a:close/>
                  <a:moveTo>
                    <a:pt x="685800" y="342900"/>
                  </a:moveTo>
                  <a:lnTo>
                    <a:pt x="533400" y="342900"/>
                  </a:lnTo>
                  <a:cubicBezTo>
                    <a:pt x="530543" y="214313"/>
                    <a:pt x="474345" y="94298"/>
                    <a:pt x="382905" y="20955"/>
                  </a:cubicBezTo>
                  <a:cubicBezTo>
                    <a:pt x="550545" y="36195"/>
                    <a:pt x="680085" y="174308"/>
                    <a:pt x="685800" y="342900"/>
                  </a:cubicBezTo>
                  <a:close/>
                  <a:moveTo>
                    <a:pt x="342900" y="342900"/>
                  </a:moveTo>
                  <a:lnTo>
                    <a:pt x="190500" y="342900"/>
                  </a:lnTo>
                  <a:cubicBezTo>
                    <a:pt x="193358" y="215265"/>
                    <a:pt x="250508" y="97155"/>
                    <a:pt x="342900" y="28575"/>
                  </a:cubicBezTo>
                  <a:lnTo>
                    <a:pt x="342900" y="342900"/>
                  </a:lnTo>
                  <a:close/>
                  <a:moveTo>
                    <a:pt x="342900" y="361950"/>
                  </a:moveTo>
                  <a:lnTo>
                    <a:pt x="342900" y="676275"/>
                  </a:lnTo>
                  <a:cubicBezTo>
                    <a:pt x="250508" y="606743"/>
                    <a:pt x="193358" y="488633"/>
                    <a:pt x="190500" y="361950"/>
                  </a:cubicBezTo>
                  <a:lnTo>
                    <a:pt x="342900" y="361950"/>
                  </a:lnTo>
                  <a:close/>
                  <a:moveTo>
                    <a:pt x="361950" y="361950"/>
                  </a:moveTo>
                  <a:lnTo>
                    <a:pt x="514350" y="361950"/>
                  </a:lnTo>
                  <a:cubicBezTo>
                    <a:pt x="511492" y="489585"/>
                    <a:pt x="454343" y="607695"/>
                    <a:pt x="361950" y="676275"/>
                  </a:cubicBezTo>
                  <a:lnTo>
                    <a:pt x="361950" y="361950"/>
                  </a:lnTo>
                  <a:close/>
                  <a:moveTo>
                    <a:pt x="361950" y="342900"/>
                  </a:moveTo>
                  <a:lnTo>
                    <a:pt x="361950" y="28575"/>
                  </a:lnTo>
                  <a:cubicBezTo>
                    <a:pt x="454343" y="98107"/>
                    <a:pt x="511492" y="216218"/>
                    <a:pt x="514350" y="342900"/>
                  </a:cubicBezTo>
                  <a:lnTo>
                    <a:pt x="361950" y="342900"/>
                  </a:lnTo>
                  <a:close/>
                  <a:moveTo>
                    <a:pt x="321945" y="20955"/>
                  </a:moveTo>
                  <a:cubicBezTo>
                    <a:pt x="230505" y="94298"/>
                    <a:pt x="174308" y="214313"/>
                    <a:pt x="171450" y="342900"/>
                  </a:cubicBezTo>
                  <a:lnTo>
                    <a:pt x="19050" y="342900"/>
                  </a:lnTo>
                  <a:cubicBezTo>
                    <a:pt x="24765" y="174308"/>
                    <a:pt x="154305" y="36195"/>
                    <a:pt x="321945" y="20955"/>
                  </a:cubicBezTo>
                  <a:close/>
                  <a:moveTo>
                    <a:pt x="19050" y="361950"/>
                  </a:moveTo>
                  <a:lnTo>
                    <a:pt x="171450" y="361950"/>
                  </a:lnTo>
                  <a:cubicBezTo>
                    <a:pt x="174308" y="490538"/>
                    <a:pt x="230505" y="610553"/>
                    <a:pt x="321945" y="683895"/>
                  </a:cubicBezTo>
                  <a:cubicBezTo>
                    <a:pt x="154305" y="668655"/>
                    <a:pt x="24765" y="530543"/>
                    <a:pt x="19050" y="361950"/>
                  </a:cubicBezTo>
                  <a:close/>
                  <a:moveTo>
                    <a:pt x="382905" y="683895"/>
                  </a:moveTo>
                  <a:cubicBezTo>
                    <a:pt x="474345" y="610553"/>
                    <a:pt x="530543" y="490538"/>
                    <a:pt x="533400" y="361950"/>
                  </a:cubicBezTo>
                  <a:lnTo>
                    <a:pt x="685800" y="361950"/>
                  </a:lnTo>
                  <a:cubicBezTo>
                    <a:pt x="681038" y="528638"/>
                    <a:pt x="554355" y="665798"/>
                    <a:pt x="389573" y="683895"/>
                  </a:cubicBezTo>
                  <a:cubicBezTo>
                    <a:pt x="386715" y="683895"/>
                    <a:pt x="382905" y="683895"/>
                    <a:pt x="382905" y="683895"/>
                  </a:cubicBezTo>
                  <a:close/>
                </a:path>
              </a:pathLst>
            </a:custGeom>
            <a:solidFill>
              <a:schemeClr val="accent1"/>
            </a:solidFill>
            <a:ln/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Graphic 30" descr="Signature outline">
              <a:extLst>
                <a:ext uri="{FF2B5EF4-FFF2-40B4-BE49-F238E27FC236}">
                  <a16:creationId xmlns:a16="http://schemas.microsoft.com/office/drawing/2014/main" id="{C9142BAA-3CC8-5C44-FE0A-4B182FEE658A}"/>
                </a:ext>
              </a:extLst>
            </p:cNvPr>
            <p:cNvSpPr/>
            <p:nvPr/>
          </p:nvSpPr>
          <p:spPr>
            <a:xfrm>
              <a:off x="8207526" y="1879195"/>
              <a:ext cx="559956" cy="447100"/>
            </a:xfrm>
            <a:custGeom>
              <a:avLst/>
              <a:gdLst>
                <a:gd name="connsiteX0" fmla="*/ 683890 w 876361"/>
                <a:gd name="connsiteY0" fmla="*/ 232601 h 699735"/>
                <a:gd name="connsiteX1" fmla="*/ 876295 w 876361"/>
                <a:gd name="connsiteY1" fmla="*/ 27899 h 699735"/>
                <a:gd name="connsiteX2" fmla="*/ 876295 w 876361"/>
                <a:gd name="connsiteY2" fmla="*/ 0 h 699735"/>
                <a:gd name="connsiteX3" fmla="*/ 670221 w 876361"/>
                <a:gd name="connsiteY3" fmla="*/ 219323 h 699735"/>
                <a:gd name="connsiteX4" fmla="*/ 634360 w 876361"/>
                <a:gd name="connsiteY4" fmla="*/ 255165 h 699735"/>
                <a:gd name="connsiteX5" fmla="*/ 658572 w 876361"/>
                <a:gd name="connsiteY5" fmla="*/ 279397 h 699735"/>
                <a:gd name="connsiteX6" fmla="*/ 499105 w 876361"/>
                <a:gd name="connsiteY6" fmla="*/ 385620 h 699735"/>
                <a:gd name="connsiteX7" fmla="*/ 408703 w 876361"/>
                <a:gd name="connsiteY7" fmla="*/ 602647 h 699735"/>
                <a:gd name="connsiteX8" fmla="*/ 425057 w 876361"/>
                <a:gd name="connsiteY8" fmla="*/ 619011 h 699735"/>
                <a:gd name="connsiteX9" fmla="*/ 326950 w 876361"/>
                <a:gd name="connsiteY9" fmla="*/ 634089 h 699735"/>
                <a:gd name="connsiteX10" fmla="*/ 326842 w 876361"/>
                <a:gd name="connsiteY10" fmla="*/ 634033 h 699735"/>
                <a:gd name="connsiteX11" fmla="*/ 326845 w 876361"/>
                <a:gd name="connsiteY11" fmla="*/ 633975 h 699735"/>
                <a:gd name="connsiteX12" fmla="*/ 331931 w 876361"/>
                <a:gd name="connsiteY12" fmla="*/ 581959 h 699735"/>
                <a:gd name="connsiteX13" fmla="*/ 314691 w 876361"/>
                <a:gd name="connsiteY13" fmla="*/ 564452 h 699735"/>
                <a:gd name="connsiteX14" fmla="*/ 233567 w 876361"/>
                <a:gd name="connsiteY14" fmla="*/ 604818 h 699735"/>
                <a:gd name="connsiteX15" fmla="*/ 233446 w 876361"/>
                <a:gd name="connsiteY15" fmla="*/ 604819 h 699735"/>
                <a:gd name="connsiteX16" fmla="*/ 233424 w 876361"/>
                <a:gd name="connsiteY16" fmla="*/ 604733 h 699735"/>
                <a:gd name="connsiteX17" fmla="*/ 232033 w 876361"/>
                <a:gd name="connsiteY17" fmla="*/ 572157 h 699735"/>
                <a:gd name="connsiteX18" fmla="*/ 209545 w 876361"/>
                <a:gd name="connsiteY18" fmla="*/ 553669 h 699735"/>
                <a:gd name="connsiteX19" fmla="*/ 127477 w 876361"/>
                <a:gd name="connsiteY19" fmla="*/ 606447 h 699735"/>
                <a:gd name="connsiteX20" fmla="*/ 127358 w 876361"/>
                <a:gd name="connsiteY20" fmla="*/ 606481 h 699735"/>
                <a:gd name="connsiteX21" fmla="*/ 127325 w 876361"/>
                <a:gd name="connsiteY21" fmla="*/ 606362 h 699735"/>
                <a:gd name="connsiteX22" fmla="*/ 141127 w 876361"/>
                <a:gd name="connsiteY22" fmla="*/ 452133 h 699735"/>
                <a:gd name="connsiteX23" fmla="*/ 6529 w 876361"/>
                <a:gd name="connsiteY23" fmla="*/ 449828 h 699735"/>
                <a:gd name="connsiteX24" fmla="*/ 490 w 876361"/>
                <a:gd name="connsiteY24" fmla="*/ 461886 h 699735"/>
                <a:gd name="connsiteX25" fmla="*/ 12549 w 876361"/>
                <a:gd name="connsiteY25" fmla="*/ 467925 h 699735"/>
                <a:gd name="connsiteX26" fmla="*/ 127658 w 876361"/>
                <a:gd name="connsiteY26" fmla="*/ 465630 h 699735"/>
                <a:gd name="connsiteX27" fmla="*/ 71994 w 876361"/>
                <a:gd name="connsiteY27" fmla="*/ 668579 h 699735"/>
                <a:gd name="connsiteX28" fmla="*/ 63422 w 876361"/>
                <a:gd name="connsiteY28" fmla="*/ 683543 h 699735"/>
                <a:gd name="connsiteX29" fmla="*/ 65750 w 876361"/>
                <a:gd name="connsiteY29" fmla="*/ 697480 h 699735"/>
                <a:gd name="connsiteX30" fmla="*/ 66184 w 876361"/>
                <a:gd name="connsiteY30" fmla="*/ 697773 h 699735"/>
                <a:gd name="connsiteX31" fmla="*/ 71547 w 876361"/>
                <a:gd name="connsiteY31" fmla="*/ 699735 h 699735"/>
                <a:gd name="connsiteX32" fmla="*/ 90701 w 876361"/>
                <a:gd name="connsiteY32" fmla="*/ 680999 h 699735"/>
                <a:gd name="connsiteX33" fmla="*/ 204906 w 876361"/>
                <a:gd name="connsiteY33" fmla="*/ 572186 h 699735"/>
                <a:gd name="connsiteX34" fmla="*/ 214564 w 876361"/>
                <a:gd name="connsiteY34" fmla="*/ 579653 h 699735"/>
                <a:gd name="connsiteX35" fmla="*/ 198943 w 876361"/>
                <a:gd name="connsiteY35" fmla="*/ 641461 h 699735"/>
                <a:gd name="connsiteX36" fmla="*/ 202531 w 876361"/>
                <a:gd name="connsiteY36" fmla="*/ 654445 h 699735"/>
                <a:gd name="connsiteX37" fmla="*/ 214412 w 876361"/>
                <a:gd name="connsiteY37" fmla="*/ 652415 h 699735"/>
                <a:gd name="connsiteX38" fmla="*/ 307757 w 876361"/>
                <a:gd name="connsiteY38" fmla="*/ 582206 h 699735"/>
                <a:gd name="connsiteX39" fmla="*/ 314158 w 876361"/>
                <a:gd name="connsiteY39" fmla="*/ 588712 h 699735"/>
                <a:gd name="connsiteX40" fmla="*/ 302728 w 876361"/>
                <a:gd name="connsiteY40" fmla="*/ 641842 h 699735"/>
                <a:gd name="connsiteX41" fmla="*/ 306865 w 876361"/>
                <a:gd name="connsiteY41" fmla="*/ 654662 h 699735"/>
                <a:gd name="connsiteX42" fmla="*/ 312662 w 876361"/>
                <a:gd name="connsiteY42" fmla="*/ 655596 h 699735"/>
                <a:gd name="connsiteX43" fmla="*/ 439535 w 876361"/>
                <a:gd name="connsiteY43" fmla="*/ 636080 h 699735"/>
                <a:gd name="connsiteX44" fmla="*/ 441440 w 876361"/>
                <a:gd name="connsiteY44" fmla="*/ 635394 h 699735"/>
                <a:gd name="connsiteX45" fmla="*/ 462910 w 876361"/>
                <a:gd name="connsiteY45" fmla="*/ 656854 h 699735"/>
                <a:gd name="connsiteX46" fmla="*/ 679899 w 876361"/>
                <a:gd name="connsiteY46" fmla="*/ 566423 h 699735"/>
                <a:gd name="connsiteX47" fmla="*/ 785626 w 876361"/>
                <a:gd name="connsiteY47" fmla="*/ 406460 h 699735"/>
                <a:gd name="connsiteX48" fmla="*/ 810572 w 876361"/>
                <a:gd name="connsiteY48" fmla="*/ 431359 h 699735"/>
                <a:gd name="connsiteX49" fmla="*/ 817306 w 876361"/>
                <a:gd name="connsiteY49" fmla="*/ 424691 h 699735"/>
                <a:gd name="connsiteX50" fmla="*/ 876361 w 876361"/>
                <a:gd name="connsiteY50" fmla="*/ 366779 h 699735"/>
                <a:gd name="connsiteX51" fmla="*/ 876361 w 876361"/>
                <a:gd name="connsiteY51" fmla="*/ 340195 h 699735"/>
                <a:gd name="connsiteX52" fmla="*/ 810696 w 876361"/>
                <a:gd name="connsiteY52" fmla="*/ 404517 h 699735"/>
                <a:gd name="connsiteX53" fmla="*/ 798857 w 876361"/>
                <a:gd name="connsiteY53" fmla="*/ 392735 h 699735"/>
                <a:gd name="connsiteX54" fmla="*/ 798857 w 876361"/>
                <a:gd name="connsiteY54" fmla="*/ 392735 h 699735"/>
                <a:gd name="connsiteX55" fmla="*/ 672364 w 876361"/>
                <a:gd name="connsiteY55" fmla="*/ 266119 h 699735"/>
                <a:gd name="connsiteX56" fmla="*/ 672317 w 876361"/>
                <a:gd name="connsiteY56" fmla="*/ 266167 h 699735"/>
                <a:gd name="connsiteX57" fmla="*/ 661325 w 876361"/>
                <a:gd name="connsiteY57" fmla="*/ 255165 h 699735"/>
                <a:gd name="connsiteX58" fmla="*/ 665792 w 876361"/>
                <a:gd name="connsiteY58" fmla="*/ 549526 h 699735"/>
                <a:gd name="connsiteX59" fmla="*/ 465034 w 876361"/>
                <a:gd name="connsiteY59" fmla="*/ 632041 h 699735"/>
                <a:gd name="connsiteX60" fmla="*/ 455937 w 876361"/>
                <a:gd name="connsiteY60" fmla="*/ 622945 h 699735"/>
                <a:gd name="connsiteX61" fmla="*/ 579410 w 876361"/>
                <a:gd name="connsiteY61" fmla="*/ 499472 h 699735"/>
                <a:gd name="connsiteX62" fmla="*/ 607509 w 876361"/>
                <a:gd name="connsiteY62" fmla="*/ 494062 h 699735"/>
                <a:gd name="connsiteX63" fmla="*/ 607509 w 876361"/>
                <a:gd name="connsiteY63" fmla="*/ 494062 h 699735"/>
                <a:gd name="connsiteX64" fmla="*/ 607531 w 876361"/>
                <a:gd name="connsiteY64" fmla="*/ 457921 h 699735"/>
                <a:gd name="connsiteX65" fmla="*/ 571390 w 876361"/>
                <a:gd name="connsiteY65" fmla="*/ 457898 h 699735"/>
                <a:gd name="connsiteX66" fmla="*/ 565942 w 876361"/>
                <a:gd name="connsiteY66" fmla="*/ 486004 h 699735"/>
                <a:gd name="connsiteX67" fmla="*/ 442488 w 876361"/>
                <a:gd name="connsiteY67" fmla="*/ 609467 h 699735"/>
                <a:gd name="connsiteX68" fmla="*/ 433535 w 876361"/>
                <a:gd name="connsiteY68" fmla="*/ 600513 h 699735"/>
                <a:gd name="connsiteX69" fmla="*/ 516050 w 876361"/>
                <a:gd name="connsiteY69" fmla="*/ 399631 h 699735"/>
                <a:gd name="connsiteX70" fmla="*/ 672126 w 876361"/>
                <a:gd name="connsiteY70" fmla="*/ 292951 h 699735"/>
                <a:gd name="connsiteX71" fmla="*/ 772139 w 876361"/>
                <a:gd name="connsiteY71" fmla="*/ 392963 h 699735"/>
                <a:gd name="connsiteX72" fmla="*/ 665792 w 876361"/>
                <a:gd name="connsiteY72" fmla="*/ 549526 h 699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876361" h="699735">
                  <a:moveTo>
                    <a:pt x="683890" y="232601"/>
                  </a:moveTo>
                  <a:cubicBezTo>
                    <a:pt x="685052" y="231362"/>
                    <a:pt x="780397" y="130483"/>
                    <a:pt x="876295" y="27899"/>
                  </a:cubicBezTo>
                  <a:lnTo>
                    <a:pt x="876295" y="0"/>
                  </a:lnTo>
                  <a:cubicBezTo>
                    <a:pt x="775968" y="107432"/>
                    <a:pt x="671288" y="218199"/>
                    <a:pt x="670221" y="219323"/>
                  </a:cubicBezTo>
                  <a:lnTo>
                    <a:pt x="634360" y="255165"/>
                  </a:lnTo>
                  <a:lnTo>
                    <a:pt x="658572" y="279397"/>
                  </a:lnTo>
                  <a:cubicBezTo>
                    <a:pt x="569590" y="363512"/>
                    <a:pt x="499105" y="385620"/>
                    <a:pt x="499105" y="385620"/>
                  </a:cubicBezTo>
                  <a:cubicBezTo>
                    <a:pt x="486481" y="464071"/>
                    <a:pt x="455507" y="538433"/>
                    <a:pt x="408703" y="602647"/>
                  </a:cubicBezTo>
                  <a:lnTo>
                    <a:pt x="425057" y="619011"/>
                  </a:lnTo>
                  <a:lnTo>
                    <a:pt x="326950" y="634089"/>
                  </a:lnTo>
                  <a:cubicBezTo>
                    <a:pt x="326905" y="634103"/>
                    <a:pt x="326857" y="634077"/>
                    <a:pt x="326842" y="634033"/>
                  </a:cubicBezTo>
                  <a:cubicBezTo>
                    <a:pt x="326837" y="634014"/>
                    <a:pt x="326838" y="633993"/>
                    <a:pt x="326845" y="633975"/>
                  </a:cubicBezTo>
                  <a:cubicBezTo>
                    <a:pt x="332312" y="619211"/>
                    <a:pt x="337894" y="597779"/>
                    <a:pt x="331931" y="581959"/>
                  </a:cubicBezTo>
                  <a:cubicBezTo>
                    <a:pt x="328996" y="573898"/>
                    <a:pt x="322705" y="567511"/>
                    <a:pt x="314691" y="564452"/>
                  </a:cubicBezTo>
                  <a:cubicBezTo>
                    <a:pt x="292850" y="555879"/>
                    <a:pt x="259551" y="580425"/>
                    <a:pt x="233567" y="604818"/>
                  </a:cubicBezTo>
                  <a:cubicBezTo>
                    <a:pt x="233533" y="604852"/>
                    <a:pt x="233479" y="604853"/>
                    <a:pt x="233446" y="604819"/>
                  </a:cubicBezTo>
                  <a:cubicBezTo>
                    <a:pt x="233423" y="604797"/>
                    <a:pt x="233414" y="604763"/>
                    <a:pt x="233424" y="604733"/>
                  </a:cubicBezTo>
                  <a:cubicBezTo>
                    <a:pt x="236190" y="593975"/>
                    <a:pt x="235706" y="582639"/>
                    <a:pt x="232033" y="572157"/>
                  </a:cubicBezTo>
                  <a:cubicBezTo>
                    <a:pt x="227978" y="562712"/>
                    <a:pt x="219596" y="555820"/>
                    <a:pt x="209545" y="553669"/>
                  </a:cubicBezTo>
                  <a:cubicBezTo>
                    <a:pt x="188333" y="548326"/>
                    <a:pt x="159119" y="571605"/>
                    <a:pt x="127477" y="606447"/>
                  </a:cubicBezTo>
                  <a:cubicBezTo>
                    <a:pt x="127454" y="606489"/>
                    <a:pt x="127400" y="606504"/>
                    <a:pt x="127358" y="606481"/>
                  </a:cubicBezTo>
                  <a:cubicBezTo>
                    <a:pt x="127316" y="606457"/>
                    <a:pt x="127301" y="606403"/>
                    <a:pt x="127325" y="606362"/>
                  </a:cubicBezTo>
                  <a:cubicBezTo>
                    <a:pt x="153481" y="551202"/>
                    <a:pt x="174169" y="485165"/>
                    <a:pt x="141127" y="452133"/>
                  </a:cubicBezTo>
                  <a:cubicBezTo>
                    <a:pt x="117314" y="428320"/>
                    <a:pt x="73290" y="427568"/>
                    <a:pt x="6529" y="449828"/>
                  </a:cubicBezTo>
                  <a:cubicBezTo>
                    <a:pt x="1531" y="451490"/>
                    <a:pt x="-1172" y="456889"/>
                    <a:pt x="490" y="461886"/>
                  </a:cubicBezTo>
                  <a:cubicBezTo>
                    <a:pt x="2152" y="466884"/>
                    <a:pt x="7551" y="469587"/>
                    <a:pt x="12549" y="467925"/>
                  </a:cubicBezTo>
                  <a:cubicBezTo>
                    <a:pt x="70975" y="448456"/>
                    <a:pt x="109704" y="447675"/>
                    <a:pt x="127658" y="465630"/>
                  </a:cubicBezTo>
                  <a:cubicBezTo>
                    <a:pt x="167720" y="505692"/>
                    <a:pt x="95664" y="628288"/>
                    <a:pt x="71994" y="668579"/>
                  </a:cubicBezTo>
                  <a:cubicBezTo>
                    <a:pt x="67879" y="675570"/>
                    <a:pt x="64860" y="680742"/>
                    <a:pt x="63422" y="683543"/>
                  </a:cubicBezTo>
                  <a:cubicBezTo>
                    <a:pt x="60216" y="688035"/>
                    <a:pt x="61258" y="694274"/>
                    <a:pt x="65750" y="697480"/>
                  </a:cubicBezTo>
                  <a:cubicBezTo>
                    <a:pt x="65892" y="697582"/>
                    <a:pt x="66037" y="697679"/>
                    <a:pt x="66184" y="697773"/>
                  </a:cubicBezTo>
                  <a:cubicBezTo>
                    <a:pt x="67753" y="698915"/>
                    <a:pt x="69611" y="699595"/>
                    <a:pt x="71547" y="699735"/>
                  </a:cubicBezTo>
                  <a:cubicBezTo>
                    <a:pt x="76195" y="699735"/>
                    <a:pt x="80452" y="694239"/>
                    <a:pt x="90701" y="680999"/>
                  </a:cubicBezTo>
                  <a:cubicBezTo>
                    <a:pt x="164396" y="585873"/>
                    <a:pt x="193495" y="569328"/>
                    <a:pt x="204906" y="572186"/>
                  </a:cubicBezTo>
                  <a:cubicBezTo>
                    <a:pt x="209206" y="572824"/>
                    <a:pt x="212864" y="575653"/>
                    <a:pt x="214564" y="579653"/>
                  </a:cubicBezTo>
                  <a:cubicBezTo>
                    <a:pt x="220689" y="593941"/>
                    <a:pt x="208221" y="625164"/>
                    <a:pt x="198943" y="641461"/>
                  </a:cubicBezTo>
                  <a:cubicBezTo>
                    <a:pt x="196349" y="646037"/>
                    <a:pt x="197955" y="651850"/>
                    <a:pt x="202531" y="654445"/>
                  </a:cubicBezTo>
                  <a:cubicBezTo>
                    <a:pt x="206470" y="656679"/>
                    <a:pt x="211437" y="655830"/>
                    <a:pt x="214412" y="652415"/>
                  </a:cubicBezTo>
                  <a:cubicBezTo>
                    <a:pt x="247626" y="614048"/>
                    <a:pt x="292679" y="576329"/>
                    <a:pt x="307757" y="582206"/>
                  </a:cubicBezTo>
                  <a:cubicBezTo>
                    <a:pt x="310773" y="583282"/>
                    <a:pt x="313130" y="585679"/>
                    <a:pt x="314158" y="588712"/>
                  </a:cubicBezTo>
                  <a:cubicBezTo>
                    <a:pt x="319044" y="601609"/>
                    <a:pt x="309757" y="628145"/>
                    <a:pt x="302728" y="641842"/>
                  </a:cubicBezTo>
                  <a:cubicBezTo>
                    <a:pt x="300330" y="646525"/>
                    <a:pt x="302183" y="652264"/>
                    <a:pt x="306865" y="654662"/>
                  </a:cubicBezTo>
                  <a:cubicBezTo>
                    <a:pt x="308650" y="655576"/>
                    <a:pt x="310679" y="655903"/>
                    <a:pt x="312662" y="655596"/>
                  </a:cubicBezTo>
                  <a:lnTo>
                    <a:pt x="439535" y="636080"/>
                  </a:lnTo>
                  <a:cubicBezTo>
                    <a:pt x="440195" y="635924"/>
                    <a:pt x="440834" y="635695"/>
                    <a:pt x="441440" y="635394"/>
                  </a:cubicBezTo>
                  <a:lnTo>
                    <a:pt x="462910" y="656854"/>
                  </a:lnTo>
                  <a:cubicBezTo>
                    <a:pt x="527107" y="610039"/>
                    <a:pt x="601456" y="579054"/>
                    <a:pt x="679899" y="566423"/>
                  </a:cubicBezTo>
                  <a:cubicBezTo>
                    <a:pt x="679899" y="566423"/>
                    <a:pt x="701568" y="495491"/>
                    <a:pt x="785626" y="406460"/>
                  </a:cubicBezTo>
                  <a:lnTo>
                    <a:pt x="810572" y="431359"/>
                  </a:lnTo>
                  <a:lnTo>
                    <a:pt x="817306" y="424691"/>
                  </a:lnTo>
                  <a:cubicBezTo>
                    <a:pt x="817830" y="424177"/>
                    <a:pt x="846281" y="396116"/>
                    <a:pt x="876361" y="366779"/>
                  </a:cubicBezTo>
                  <a:lnTo>
                    <a:pt x="876361" y="340195"/>
                  </a:lnTo>
                  <a:cubicBezTo>
                    <a:pt x="850549" y="365322"/>
                    <a:pt x="823145" y="392259"/>
                    <a:pt x="810696" y="404517"/>
                  </a:cubicBezTo>
                  <a:lnTo>
                    <a:pt x="798857" y="392735"/>
                  </a:lnTo>
                  <a:lnTo>
                    <a:pt x="798857" y="392735"/>
                  </a:lnTo>
                  <a:lnTo>
                    <a:pt x="672364" y="266119"/>
                  </a:lnTo>
                  <a:lnTo>
                    <a:pt x="672317" y="266167"/>
                  </a:lnTo>
                  <a:lnTo>
                    <a:pt x="661325" y="255165"/>
                  </a:lnTo>
                  <a:close/>
                  <a:moveTo>
                    <a:pt x="665792" y="549526"/>
                  </a:moveTo>
                  <a:cubicBezTo>
                    <a:pt x="593866" y="562783"/>
                    <a:pt x="525493" y="590885"/>
                    <a:pt x="465034" y="632041"/>
                  </a:cubicBezTo>
                  <a:lnTo>
                    <a:pt x="455937" y="622945"/>
                  </a:lnTo>
                  <a:lnTo>
                    <a:pt x="579410" y="499472"/>
                  </a:lnTo>
                  <a:cubicBezTo>
                    <a:pt x="589003" y="503575"/>
                    <a:pt x="600126" y="501434"/>
                    <a:pt x="607509" y="494062"/>
                  </a:cubicBezTo>
                  <a:lnTo>
                    <a:pt x="607509" y="494062"/>
                  </a:lnTo>
                  <a:cubicBezTo>
                    <a:pt x="617495" y="484088"/>
                    <a:pt x="617505" y="467907"/>
                    <a:pt x="607531" y="457921"/>
                  </a:cubicBezTo>
                  <a:cubicBezTo>
                    <a:pt x="597557" y="447934"/>
                    <a:pt x="581376" y="447925"/>
                    <a:pt x="571390" y="457898"/>
                  </a:cubicBezTo>
                  <a:cubicBezTo>
                    <a:pt x="564004" y="465275"/>
                    <a:pt x="561848" y="476401"/>
                    <a:pt x="565942" y="486004"/>
                  </a:cubicBezTo>
                  <a:lnTo>
                    <a:pt x="442488" y="609467"/>
                  </a:lnTo>
                  <a:lnTo>
                    <a:pt x="433535" y="600513"/>
                  </a:lnTo>
                  <a:cubicBezTo>
                    <a:pt x="474700" y="540014"/>
                    <a:pt x="502802" y="471598"/>
                    <a:pt x="516050" y="399631"/>
                  </a:cubicBezTo>
                  <a:cubicBezTo>
                    <a:pt x="540234" y="389801"/>
                    <a:pt x="600517" y="360759"/>
                    <a:pt x="672126" y="292951"/>
                  </a:cubicBezTo>
                  <a:lnTo>
                    <a:pt x="772139" y="392963"/>
                  </a:lnTo>
                  <a:cubicBezTo>
                    <a:pt x="704311" y="464582"/>
                    <a:pt x="675546" y="525161"/>
                    <a:pt x="665792" y="549526"/>
                  </a:cubicBezTo>
                  <a:close/>
                </a:path>
              </a:pathLst>
            </a:custGeom>
            <a:solidFill>
              <a:srgbClr val="6A7F90"/>
            </a:solidFill>
            <a:ln>
              <a:solidFill>
                <a:srgbClr val="6A7F90"/>
              </a:solidFill>
            </a:ln>
            <a:effectLst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C4E10387-8C67-C8D4-AB3E-DB7C1F2FA8A7}"/>
                </a:ext>
              </a:extLst>
            </p:cNvPr>
            <p:cNvGrpSpPr/>
            <p:nvPr/>
          </p:nvGrpSpPr>
          <p:grpSpPr>
            <a:xfrm>
              <a:off x="3437614" y="1824140"/>
              <a:ext cx="554164" cy="557210"/>
              <a:chOff x="3379896" y="1463021"/>
              <a:chExt cx="657648" cy="661261"/>
            </a:xfrm>
            <a:solidFill>
              <a:srgbClr val="0C2D3A"/>
            </a:solidFill>
          </p:grpSpPr>
          <p:sp>
            <p:nvSpPr>
              <p:cNvPr id="71" name="Freeform 5">
                <a:extLst>
                  <a:ext uri="{FF2B5EF4-FFF2-40B4-BE49-F238E27FC236}">
                    <a16:creationId xmlns:a16="http://schemas.microsoft.com/office/drawing/2014/main" id="{704D88E5-297B-808F-4701-E907A576B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862" y="1549744"/>
                <a:ext cx="133699" cy="21681"/>
              </a:xfrm>
              <a:custGeom>
                <a:avLst/>
                <a:gdLst>
                  <a:gd name="T0" fmla="*/ 163 w 163"/>
                  <a:gd name="T1" fmla="*/ 12 h 24"/>
                  <a:gd name="T2" fmla="*/ 152 w 163"/>
                  <a:gd name="T3" fmla="*/ 0 h 24"/>
                  <a:gd name="T4" fmla="*/ 15 w 163"/>
                  <a:gd name="T5" fmla="*/ 0 h 24"/>
                  <a:gd name="T6" fmla="*/ 15 w 163"/>
                  <a:gd name="T7" fmla="*/ 24 h 24"/>
                  <a:gd name="T8" fmla="*/ 152 w 163"/>
                  <a:gd name="T9" fmla="*/ 24 h 24"/>
                  <a:gd name="T10" fmla="*/ 163 w 163"/>
                  <a:gd name="T11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3" h="24">
                    <a:moveTo>
                      <a:pt x="163" y="12"/>
                    </a:moveTo>
                    <a:cubicBezTo>
                      <a:pt x="163" y="5"/>
                      <a:pt x="158" y="0"/>
                      <a:pt x="152" y="0"/>
                    </a:cubicBezTo>
                    <a:lnTo>
                      <a:pt x="15" y="0"/>
                    </a:lnTo>
                    <a:cubicBezTo>
                      <a:pt x="1" y="0"/>
                      <a:pt x="0" y="24"/>
                      <a:pt x="15" y="24"/>
                    </a:cubicBezTo>
                    <a:lnTo>
                      <a:pt x="152" y="24"/>
                    </a:lnTo>
                    <a:cubicBezTo>
                      <a:pt x="158" y="24"/>
                      <a:pt x="163" y="18"/>
                      <a:pt x="163" y="12"/>
                    </a:cubicBezTo>
                    <a:close/>
                  </a:path>
                </a:pathLst>
              </a:custGeom>
              <a:grpFill/>
              <a:ln>
                <a:headEnd/>
                <a:tailEnd/>
              </a:ln>
              <a:effectLst/>
            </p:spPr>
            <p:style>
              <a:lnRef idx="0">
                <a:schemeClr val="accent6"/>
              </a:lnRef>
              <a:fillRef idx="1002">
                <a:schemeClr val="dk2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" name="Freeform 6">
                <a:extLst>
                  <a:ext uri="{FF2B5EF4-FFF2-40B4-BE49-F238E27FC236}">
                    <a16:creationId xmlns:a16="http://schemas.microsoft.com/office/drawing/2014/main" id="{C8294529-75E5-8E5A-1212-461FD1FD2A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862" y="1618401"/>
                <a:ext cx="90337" cy="21681"/>
              </a:xfrm>
              <a:custGeom>
                <a:avLst/>
                <a:gdLst>
                  <a:gd name="T0" fmla="*/ 15 w 111"/>
                  <a:gd name="T1" fmla="*/ 0 h 24"/>
                  <a:gd name="T2" fmla="*/ 15 w 111"/>
                  <a:gd name="T3" fmla="*/ 24 h 24"/>
                  <a:gd name="T4" fmla="*/ 96 w 111"/>
                  <a:gd name="T5" fmla="*/ 24 h 24"/>
                  <a:gd name="T6" fmla="*/ 96 w 111"/>
                  <a:gd name="T7" fmla="*/ 0 h 24"/>
                  <a:gd name="T8" fmla="*/ 15 w 111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">
                    <a:moveTo>
                      <a:pt x="15" y="0"/>
                    </a:moveTo>
                    <a:cubicBezTo>
                      <a:pt x="1" y="0"/>
                      <a:pt x="0" y="24"/>
                      <a:pt x="15" y="24"/>
                    </a:cubicBezTo>
                    <a:lnTo>
                      <a:pt x="96" y="24"/>
                    </a:lnTo>
                    <a:cubicBezTo>
                      <a:pt x="110" y="24"/>
                      <a:pt x="111" y="0"/>
                      <a:pt x="96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headEnd/>
                <a:tailEnd/>
              </a:ln>
              <a:effectLst/>
            </p:spPr>
            <p:style>
              <a:lnRef idx="0">
                <a:schemeClr val="accent6"/>
              </a:lnRef>
              <a:fillRef idx="1002">
                <a:schemeClr val="dk2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Freeform 7">
                <a:extLst>
                  <a:ext uri="{FF2B5EF4-FFF2-40B4-BE49-F238E27FC236}">
                    <a16:creationId xmlns:a16="http://schemas.microsoft.com/office/drawing/2014/main" id="{AF4B634D-BE08-4013-AB6F-092AA6C68C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8550" y="1936385"/>
                <a:ext cx="151765" cy="21681"/>
              </a:xfrm>
              <a:custGeom>
                <a:avLst/>
                <a:gdLst>
                  <a:gd name="T0" fmla="*/ 170 w 185"/>
                  <a:gd name="T1" fmla="*/ 24 h 24"/>
                  <a:gd name="T2" fmla="*/ 170 w 185"/>
                  <a:gd name="T3" fmla="*/ 0 h 24"/>
                  <a:gd name="T4" fmla="*/ 16 w 185"/>
                  <a:gd name="T5" fmla="*/ 0 h 24"/>
                  <a:gd name="T6" fmla="*/ 16 w 185"/>
                  <a:gd name="T7" fmla="*/ 24 h 24"/>
                  <a:gd name="T8" fmla="*/ 170 w 185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24">
                    <a:moveTo>
                      <a:pt x="170" y="24"/>
                    </a:moveTo>
                    <a:cubicBezTo>
                      <a:pt x="184" y="24"/>
                      <a:pt x="185" y="0"/>
                      <a:pt x="170" y="0"/>
                    </a:cubicBezTo>
                    <a:lnTo>
                      <a:pt x="16" y="0"/>
                    </a:lnTo>
                    <a:cubicBezTo>
                      <a:pt x="1" y="0"/>
                      <a:pt x="0" y="24"/>
                      <a:pt x="16" y="24"/>
                    </a:cubicBezTo>
                    <a:lnTo>
                      <a:pt x="170" y="24"/>
                    </a:lnTo>
                    <a:close/>
                  </a:path>
                </a:pathLst>
              </a:custGeom>
              <a:grpFill/>
              <a:ln>
                <a:headEnd/>
                <a:tailEnd/>
              </a:ln>
              <a:effectLst/>
            </p:spPr>
            <p:style>
              <a:lnRef idx="0">
                <a:schemeClr val="accent6"/>
              </a:lnRef>
              <a:fillRef idx="1002">
                <a:schemeClr val="dk2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Freeform 8">
                <a:extLst>
                  <a:ext uri="{FF2B5EF4-FFF2-40B4-BE49-F238E27FC236}">
                    <a16:creationId xmlns:a16="http://schemas.microsoft.com/office/drawing/2014/main" id="{324CA6DF-9E32-5D1E-DDE2-9DA606E151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44938" y="1524451"/>
                <a:ext cx="104791" cy="198739"/>
              </a:xfrm>
              <a:custGeom>
                <a:avLst/>
                <a:gdLst>
                  <a:gd name="T0" fmla="*/ 63 w 124"/>
                  <a:gd name="T1" fmla="*/ 241 h 241"/>
                  <a:gd name="T2" fmla="*/ 75 w 124"/>
                  <a:gd name="T3" fmla="*/ 229 h 241"/>
                  <a:gd name="T4" fmla="*/ 75 w 124"/>
                  <a:gd name="T5" fmla="*/ 216 h 241"/>
                  <a:gd name="T6" fmla="*/ 120 w 124"/>
                  <a:gd name="T7" fmla="*/ 168 h 241"/>
                  <a:gd name="T8" fmla="*/ 85 w 124"/>
                  <a:gd name="T9" fmla="*/ 110 h 241"/>
                  <a:gd name="T10" fmla="*/ 75 w 124"/>
                  <a:gd name="T11" fmla="*/ 107 h 241"/>
                  <a:gd name="T12" fmla="*/ 75 w 124"/>
                  <a:gd name="T13" fmla="*/ 51 h 241"/>
                  <a:gd name="T14" fmla="*/ 89 w 124"/>
                  <a:gd name="T15" fmla="*/ 58 h 241"/>
                  <a:gd name="T16" fmla="*/ 105 w 124"/>
                  <a:gd name="T17" fmla="*/ 41 h 241"/>
                  <a:gd name="T18" fmla="*/ 75 w 124"/>
                  <a:gd name="T19" fmla="*/ 27 h 241"/>
                  <a:gd name="T20" fmla="*/ 75 w 124"/>
                  <a:gd name="T21" fmla="*/ 16 h 241"/>
                  <a:gd name="T22" fmla="*/ 51 w 124"/>
                  <a:gd name="T23" fmla="*/ 16 h 241"/>
                  <a:gd name="T24" fmla="*/ 51 w 124"/>
                  <a:gd name="T25" fmla="*/ 28 h 241"/>
                  <a:gd name="T26" fmla="*/ 13 w 124"/>
                  <a:gd name="T27" fmla="*/ 67 h 241"/>
                  <a:gd name="T28" fmla="*/ 27 w 124"/>
                  <a:gd name="T29" fmla="*/ 108 h 241"/>
                  <a:gd name="T30" fmla="*/ 51 w 124"/>
                  <a:gd name="T31" fmla="*/ 122 h 241"/>
                  <a:gd name="T32" fmla="*/ 51 w 124"/>
                  <a:gd name="T33" fmla="*/ 193 h 241"/>
                  <a:gd name="T34" fmla="*/ 25 w 124"/>
                  <a:gd name="T35" fmla="*/ 183 h 241"/>
                  <a:gd name="T36" fmla="*/ 13 w 124"/>
                  <a:gd name="T37" fmla="*/ 203 h 241"/>
                  <a:gd name="T38" fmla="*/ 51 w 124"/>
                  <a:gd name="T39" fmla="*/ 217 h 241"/>
                  <a:gd name="T40" fmla="*/ 51 w 124"/>
                  <a:gd name="T41" fmla="*/ 229 h 241"/>
                  <a:gd name="T42" fmla="*/ 63 w 124"/>
                  <a:gd name="T43" fmla="*/ 241 h 241"/>
                  <a:gd name="T44" fmla="*/ 75 w 124"/>
                  <a:gd name="T45" fmla="*/ 132 h 241"/>
                  <a:gd name="T46" fmla="*/ 77 w 124"/>
                  <a:gd name="T47" fmla="*/ 133 h 241"/>
                  <a:gd name="T48" fmla="*/ 97 w 124"/>
                  <a:gd name="T49" fmla="*/ 164 h 241"/>
                  <a:gd name="T50" fmla="*/ 75 w 124"/>
                  <a:gd name="T51" fmla="*/ 191 h 241"/>
                  <a:gd name="T52" fmla="*/ 75 w 124"/>
                  <a:gd name="T53" fmla="*/ 132 h 241"/>
                  <a:gd name="T54" fmla="*/ 41 w 124"/>
                  <a:gd name="T55" fmla="*/ 90 h 241"/>
                  <a:gd name="T56" fmla="*/ 36 w 124"/>
                  <a:gd name="T57" fmla="*/ 71 h 241"/>
                  <a:gd name="T58" fmla="*/ 51 w 124"/>
                  <a:gd name="T59" fmla="*/ 52 h 241"/>
                  <a:gd name="T60" fmla="*/ 51 w 124"/>
                  <a:gd name="T61" fmla="*/ 96 h 241"/>
                  <a:gd name="T62" fmla="*/ 41 w 124"/>
                  <a:gd name="T63" fmla="*/ 9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24" h="241">
                    <a:moveTo>
                      <a:pt x="63" y="241"/>
                    </a:moveTo>
                    <a:cubicBezTo>
                      <a:pt x="69" y="241"/>
                      <a:pt x="75" y="236"/>
                      <a:pt x="75" y="229"/>
                    </a:cubicBezTo>
                    <a:lnTo>
                      <a:pt x="75" y="216"/>
                    </a:lnTo>
                    <a:cubicBezTo>
                      <a:pt x="101" y="210"/>
                      <a:pt x="116" y="189"/>
                      <a:pt x="120" y="168"/>
                    </a:cubicBezTo>
                    <a:cubicBezTo>
                      <a:pt x="124" y="142"/>
                      <a:pt x="111" y="119"/>
                      <a:pt x="85" y="110"/>
                    </a:cubicBezTo>
                    <a:cubicBezTo>
                      <a:pt x="82" y="109"/>
                      <a:pt x="78" y="108"/>
                      <a:pt x="75" y="107"/>
                    </a:cubicBezTo>
                    <a:lnTo>
                      <a:pt x="75" y="51"/>
                    </a:lnTo>
                    <a:cubicBezTo>
                      <a:pt x="84" y="53"/>
                      <a:pt x="89" y="58"/>
                      <a:pt x="89" y="58"/>
                    </a:cubicBezTo>
                    <a:cubicBezTo>
                      <a:pt x="100" y="68"/>
                      <a:pt x="116" y="51"/>
                      <a:pt x="105" y="41"/>
                    </a:cubicBezTo>
                    <a:cubicBezTo>
                      <a:pt x="104" y="40"/>
                      <a:pt x="93" y="30"/>
                      <a:pt x="75" y="27"/>
                    </a:cubicBezTo>
                    <a:lnTo>
                      <a:pt x="75" y="16"/>
                    </a:lnTo>
                    <a:cubicBezTo>
                      <a:pt x="75" y="1"/>
                      <a:pt x="51" y="0"/>
                      <a:pt x="51" y="16"/>
                    </a:cubicBezTo>
                    <a:lnTo>
                      <a:pt x="51" y="28"/>
                    </a:lnTo>
                    <a:cubicBezTo>
                      <a:pt x="32" y="32"/>
                      <a:pt x="17" y="47"/>
                      <a:pt x="13" y="67"/>
                    </a:cubicBezTo>
                    <a:cubicBezTo>
                      <a:pt x="10" y="83"/>
                      <a:pt x="15" y="99"/>
                      <a:pt x="27" y="108"/>
                    </a:cubicBezTo>
                    <a:cubicBezTo>
                      <a:pt x="33" y="113"/>
                      <a:pt x="41" y="118"/>
                      <a:pt x="51" y="122"/>
                    </a:cubicBezTo>
                    <a:lnTo>
                      <a:pt x="51" y="193"/>
                    </a:lnTo>
                    <a:cubicBezTo>
                      <a:pt x="42" y="192"/>
                      <a:pt x="36" y="190"/>
                      <a:pt x="25" y="183"/>
                    </a:cubicBezTo>
                    <a:cubicBezTo>
                      <a:pt x="13" y="175"/>
                      <a:pt x="0" y="195"/>
                      <a:pt x="13" y="203"/>
                    </a:cubicBezTo>
                    <a:cubicBezTo>
                      <a:pt x="28" y="213"/>
                      <a:pt x="38" y="216"/>
                      <a:pt x="51" y="217"/>
                    </a:cubicBezTo>
                    <a:lnTo>
                      <a:pt x="51" y="229"/>
                    </a:lnTo>
                    <a:cubicBezTo>
                      <a:pt x="51" y="236"/>
                      <a:pt x="57" y="241"/>
                      <a:pt x="63" y="241"/>
                    </a:cubicBezTo>
                    <a:close/>
                    <a:moveTo>
                      <a:pt x="75" y="132"/>
                    </a:moveTo>
                    <a:cubicBezTo>
                      <a:pt x="76" y="132"/>
                      <a:pt x="76" y="132"/>
                      <a:pt x="77" y="133"/>
                    </a:cubicBezTo>
                    <a:cubicBezTo>
                      <a:pt x="99" y="140"/>
                      <a:pt x="98" y="159"/>
                      <a:pt x="97" y="164"/>
                    </a:cubicBezTo>
                    <a:cubicBezTo>
                      <a:pt x="95" y="175"/>
                      <a:pt x="87" y="187"/>
                      <a:pt x="75" y="191"/>
                    </a:cubicBezTo>
                    <a:lnTo>
                      <a:pt x="75" y="132"/>
                    </a:lnTo>
                    <a:close/>
                    <a:moveTo>
                      <a:pt x="41" y="90"/>
                    </a:moveTo>
                    <a:cubicBezTo>
                      <a:pt x="37" y="86"/>
                      <a:pt x="35" y="79"/>
                      <a:pt x="36" y="71"/>
                    </a:cubicBezTo>
                    <a:cubicBezTo>
                      <a:pt x="37" y="64"/>
                      <a:pt x="42" y="56"/>
                      <a:pt x="51" y="52"/>
                    </a:cubicBezTo>
                    <a:lnTo>
                      <a:pt x="51" y="96"/>
                    </a:lnTo>
                    <a:cubicBezTo>
                      <a:pt x="48" y="94"/>
                      <a:pt x="44" y="92"/>
                      <a:pt x="41" y="90"/>
                    </a:cubicBezTo>
                    <a:close/>
                  </a:path>
                </a:pathLst>
              </a:custGeom>
              <a:grpFill/>
              <a:ln>
                <a:headEnd/>
                <a:tailEnd/>
              </a:ln>
              <a:effectLst/>
            </p:spPr>
            <p:style>
              <a:lnRef idx="0">
                <a:schemeClr val="accent6"/>
              </a:lnRef>
              <a:fillRef idx="1002">
                <a:schemeClr val="dk2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Freeform 9">
                <a:extLst>
                  <a:ext uri="{FF2B5EF4-FFF2-40B4-BE49-F238E27FC236}">
                    <a16:creationId xmlns:a16="http://schemas.microsoft.com/office/drawing/2014/main" id="{14DC674F-298B-0AF1-38CB-C5F4A857A8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79896" y="1463021"/>
                <a:ext cx="657648" cy="661261"/>
              </a:xfrm>
              <a:custGeom>
                <a:avLst/>
                <a:gdLst>
                  <a:gd name="T0" fmla="*/ 663 w 800"/>
                  <a:gd name="T1" fmla="*/ 496 h 800"/>
                  <a:gd name="T2" fmla="*/ 594 w 800"/>
                  <a:gd name="T3" fmla="*/ 419 h 800"/>
                  <a:gd name="T4" fmla="*/ 513 w 800"/>
                  <a:gd name="T5" fmla="*/ 339 h 800"/>
                  <a:gd name="T6" fmla="*/ 490 w 800"/>
                  <a:gd name="T7" fmla="*/ 339 h 800"/>
                  <a:gd name="T8" fmla="*/ 340 w 800"/>
                  <a:gd name="T9" fmla="*/ 406 h 800"/>
                  <a:gd name="T10" fmla="*/ 340 w 800"/>
                  <a:gd name="T11" fmla="*/ 430 h 800"/>
                  <a:gd name="T12" fmla="*/ 102 w 800"/>
                  <a:gd name="T13" fmla="*/ 514 h 800"/>
                  <a:gd name="T14" fmla="*/ 27 w 800"/>
                  <a:gd name="T15" fmla="*/ 691 h 800"/>
                  <a:gd name="T16" fmla="*/ 27 w 800"/>
                  <a:gd name="T17" fmla="*/ 24 h 800"/>
                  <a:gd name="T18" fmla="*/ 490 w 800"/>
                  <a:gd name="T19" fmla="*/ 125 h 800"/>
                  <a:gd name="T20" fmla="*/ 486 w 800"/>
                  <a:gd name="T21" fmla="*/ 0 h 800"/>
                  <a:gd name="T22" fmla="*/ 0 w 800"/>
                  <a:gd name="T23" fmla="*/ 687 h 800"/>
                  <a:gd name="T24" fmla="*/ 340 w 800"/>
                  <a:gd name="T25" fmla="*/ 721 h 800"/>
                  <a:gd name="T26" fmla="*/ 689 w 800"/>
                  <a:gd name="T27" fmla="*/ 800 h 800"/>
                  <a:gd name="T28" fmla="*/ 663 w 800"/>
                  <a:gd name="T29" fmla="*/ 749 h 800"/>
                  <a:gd name="T30" fmla="*/ 773 w 800"/>
                  <a:gd name="T31" fmla="*/ 777 h 800"/>
                  <a:gd name="T32" fmla="*/ 773 w 800"/>
                  <a:gd name="T33" fmla="*/ 800 h 800"/>
                  <a:gd name="T34" fmla="*/ 773 w 800"/>
                  <a:gd name="T35" fmla="*/ 623 h 800"/>
                  <a:gd name="T36" fmla="*/ 571 w 800"/>
                  <a:gd name="T37" fmla="*/ 406 h 800"/>
                  <a:gd name="T38" fmla="*/ 363 w 800"/>
                  <a:gd name="T39" fmla="*/ 367 h 800"/>
                  <a:gd name="T40" fmla="*/ 363 w 800"/>
                  <a:gd name="T41" fmla="*/ 406 h 800"/>
                  <a:gd name="T42" fmla="*/ 363 w 800"/>
                  <a:gd name="T43" fmla="*/ 773 h 800"/>
                  <a:gd name="T44" fmla="*/ 367 w 800"/>
                  <a:gd name="T45" fmla="*/ 777 h 800"/>
                  <a:gd name="T46" fmla="*/ 419 w 800"/>
                  <a:gd name="T47" fmla="*/ 570 h 800"/>
                  <a:gd name="T48" fmla="*/ 503 w 800"/>
                  <a:gd name="T49" fmla="*/ 602 h 800"/>
                  <a:gd name="T50" fmla="*/ 503 w 800"/>
                  <a:gd name="T51" fmla="*/ 496 h 800"/>
                  <a:gd name="T52" fmla="*/ 395 w 800"/>
                  <a:gd name="T53" fmla="*/ 570 h 800"/>
                  <a:gd name="T54" fmla="*/ 503 w 800"/>
                  <a:gd name="T55" fmla="*/ 777 h 800"/>
                  <a:gd name="T56" fmla="*/ 363 w 800"/>
                  <a:gd name="T57" fmla="*/ 429 h 800"/>
                  <a:gd name="T58" fmla="*/ 571 w 800"/>
                  <a:gd name="T59" fmla="*/ 429 h 800"/>
                  <a:gd name="T60" fmla="*/ 503 w 800"/>
                  <a:gd name="T61" fmla="*/ 496 h 800"/>
                  <a:gd name="T62" fmla="*/ 526 w 800"/>
                  <a:gd name="T63" fmla="*/ 773 h 800"/>
                  <a:gd name="T64" fmla="*/ 640 w 800"/>
                  <a:gd name="T65" fmla="*/ 777 h 800"/>
                  <a:gd name="T66" fmla="*/ 526 w 800"/>
                  <a:gd name="T67" fmla="*/ 697 h 800"/>
                  <a:gd name="T68" fmla="*/ 640 w 800"/>
                  <a:gd name="T69" fmla="*/ 674 h 800"/>
                  <a:gd name="T70" fmla="*/ 640 w 800"/>
                  <a:gd name="T71" fmla="*/ 646 h 800"/>
                  <a:gd name="T72" fmla="*/ 526 w 800"/>
                  <a:gd name="T73" fmla="*/ 623 h 800"/>
                  <a:gd name="T74" fmla="*/ 640 w 800"/>
                  <a:gd name="T75" fmla="*/ 623 h 800"/>
                  <a:gd name="T76" fmla="*/ 526 w 800"/>
                  <a:gd name="T77" fmla="*/ 543 h 800"/>
                  <a:gd name="T78" fmla="*/ 640 w 800"/>
                  <a:gd name="T79" fmla="*/ 520 h 800"/>
                  <a:gd name="T80" fmla="*/ 530 w 800"/>
                  <a:gd name="T81" fmla="*/ 492 h 800"/>
                  <a:gd name="T82" fmla="*/ 640 w 800"/>
                  <a:gd name="T83" fmla="*/ 520 h 800"/>
                  <a:gd name="T84" fmla="*/ 663 w 800"/>
                  <a:gd name="T85" fmla="*/ 697 h 800"/>
                  <a:gd name="T86" fmla="*/ 777 w 800"/>
                  <a:gd name="T87" fmla="*/ 674 h 800"/>
                  <a:gd name="T88" fmla="*/ 773 w 800"/>
                  <a:gd name="T89" fmla="*/ 646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00" h="800">
                    <a:moveTo>
                      <a:pt x="773" y="623"/>
                    </a:moveTo>
                    <a:lnTo>
                      <a:pt x="663" y="623"/>
                    </a:lnTo>
                    <a:lnTo>
                      <a:pt x="663" y="496"/>
                    </a:lnTo>
                    <a:cubicBezTo>
                      <a:pt x="663" y="481"/>
                      <a:pt x="651" y="468"/>
                      <a:pt x="636" y="468"/>
                    </a:cubicBezTo>
                    <a:lnTo>
                      <a:pt x="594" y="468"/>
                    </a:lnTo>
                    <a:lnTo>
                      <a:pt x="594" y="419"/>
                    </a:lnTo>
                    <a:lnTo>
                      <a:pt x="594" y="367"/>
                    </a:lnTo>
                    <a:cubicBezTo>
                      <a:pt x="594" y="352"/>
                      <a:pt x="582" y="339"/>
                      <a:pt x="567" y="339"/>
                    </a:cubicBezTo>
                    <a:lnTo>
                      <a:pt x="513" y="339"/>
                    </a:lnTo>
                    <a:lnTo>
                      <a:pt x="513" y="249"/>
                    </a:lnTo>
                    <a:cubicBezTo>
                      <a:pt x="513" y="234"/>
                      <a:pt x="490" y="233"/>
                      <a:pt x="490" y="249"/>
                    </a:cubicBezTo>
                    <a:lnTo>
                      <a:pt x="490" y="339"/>
                    </a:lnTo>
                    <a:lnTo>
                      <a:pt x="367" y="339"/>
                    </a:lnTo>
                    <a:cubicBezTo>
                      <a:pt x="352" y="339"/>
                      <a:pt x="340" y="352"/>
                      <a:pt x="340" y="367"/>
                    </a:cubicBezTo>
                    <a:lnTo>
                      <a:pt x="340" y="406"/>
                    </a:lnTo>
                    <a:lnTo>
                      <a:pt x="102" y="406"/>
                    </a:lnTo>
                    <a:cubicBezTo>
                      <a:pt x="87" y="406"/>
                      <a:pt x="86" y="430"/>
                      <a:pt x="102" y="430"/>
                    </a:cubicBezTo>
                    <a:lnTo>
                      <a:pt x="340" y="430"/>
                    </a:lnTo>
                    <a:lnTo>
                      <a:pt x="340" y="490"/>
                    </a:lnTo>
                    <a:lnTo>
                      <a:pt x="102" y="490"/>
                    </a:lnTo>
                    <a:cubicBezTo>
                      <a:pt x="87" y="490"/>
                      <a:pt x="86" y="514"/>
                      <a:pt x="102" y="514"/>
                    </a:cubicBezTo>
                    <a:lnTo>
                      <a:pt x="340" y="514"/>
                    </a:lnTo>
                    <a:lnTo>
                      <a:pt x="340" y="691"/>
                    </a:lnTo>
                    <a:lnTo>
                      <a:pt x="27" y="691"/>
                    </a:lnTo>
                    <a:cubicBezTo>
                      <a:pt x="25" y="691"/>
                      <a:pt x="24" y="689"/>
                      <a:pt x="24" y="687"/>
                    </a:cubicBezTo>
                    <a:lnTo>
                      <a:pt x="24" y="27"/>
                    </a:lnTo>
                    <a:cubicBezTo>
                      <a:pt x="24" y="25"/>
                      <a:pt x="25" y="24"/>
                      <a:pt x="27" y="24"/>
                    </a:cubicBezTo>
                    <a:lnTo>
                      <a:pt x="486" y="24"/>
                    </a:lnTo>
                    <a:cubicBezTo>
                      <a:pt x="488" y="24"/>
                      <a:pt x="490" y="25"/>
                      <a:pt x="490" y="27"/>
                    </a:cubicBezTo>
                    <a:lnTo>
                      <a:pt x="490" y="125"/>
                    </a:lnTo>
                    <a:cubicBezTo>
                      <a:pt x="490" y="139"/>
                      <a:pt x="513" y="140"/>
                      <a:pt x="513" y="125"/>
                    </a:cubicBezTo>
                    <a:lnTo>
                      <a:pt x="513" y="27"/>
                    </a:lnTo>
                    <a:cubicBezTo>
                      <a:pt x="513" y="12"/>
                      <a:pt x="501" y="0"/>
                      <a:pt x="486" y="0"/>
                    </a:cubicBezTo>
                    <a:lnTo>
                      <a:pt x="27" y="0"/>
                    </a:lnTo>
                    <a:cubicBezTo>
                      <a:pt x="12" y="0"/>
                      <a:pt x="0" y="12"/>
                      <a:pt x="0" y="27"/>
                    </a:cubicBezTo>
                    <a:lnTo>
                      <a:pt x="0" y="687"/>
                    </a:lnTo>
                    <a:cubicBezTo>
                      <a:pt x="0" y="702"/>
                      <a:pt x="12" y="714"/>
                      <a:pt x="27" y="714"/>
                    </a:cubicBezTo>
                    <a:lnTo>
                      <a:pt x="340" y="714"/>
                    </a:lnTo>
                    <a:lnTo>
                      <a:pt x="340" y="721"/>
                    </a:lnTo>
                    <a:lnTo>
                      <a:pt x="340" y="773"/>
                    </a:lnTo>
                    <a:cubicBezTo>
                      <a:pt x="340" y="788"/>
                      <a:pt x="352" y="800"/>
                      <a:pt x="367" y="800"/>
                    </a:cubicBezTo>
                    <a:lnTo>
                      <a:pt x="689" y="800"/>
                    </a:lnTo>
                    <a:cubicBezTo>
                      <a:pt x="703" y="800"/>
                      <a:pt x="704" y="777"/>
                      <a:pt x="689" y="777"/>
                    </a:cubicBezTo>
                    <a:lnTo>
                      <a:pt x="663" y="777"/>
                    </a:lnTo>
                    <a:lnTo>
                      <a:pt x="663" y="749"/>
                    </a:lnTo>
                    <a:lnTo>
                      <a:pt x="777" y="749"/>
                    </a:lnTo>
                    <a:lnTo>
                      <a:pt x="777" y="773"/>
                    </a:lnTo>
                    <a:cubicBezTo>
                      <a:pt x="777" y="775"/>
                      <a:pt x="775" y="777"/>
                      <a:pt x="773" y="777"/>
                    </a:cubicBezTo>
                    <a:lnTo>
                      <a:pt x="751" y="777"/>
                    </a:lnTo>
                    <a:cubicBezTo>
                      <a:pt x="736" y="777"/>
                      <a:pt x="736" y="800"/>
                      <a:pt x="751" y="800"/>
                    </a:cubicBezTo>
                    <a:lnTo>
                      <a:pt x="773" y="800"/>
                    </a:lnTo>
                    <a:cubicBezTo>
                      <a:pt x="788" y="800"/>
                      <a:pt x="800" y="788"/>
                      <a:pt x="800" y="773"/>
                    </a:cubicBezTo>
                    <a:lnTo>
                      <a:pt x="800" y="650"/>
                    </a:lnTo>
                    <a:cubicBezTo>
                      <a:pt x="800" y="635"/>
                      <a:pt x="788" y="623"/>
                      <a:pt x="773" y="623"/>
                    </a:cubicBezTo>
                    <a:close/>
                    <a:moveTo>
                      <a:pt x="567" y="363"/>
                    </a:moveTo>
                    <a:cubicBezTo>
                      <a:pt x="569" y="363"/>
                      <a:pt x="571" y="365"/>
                      <a:pt x="571" y="367"/>
                    </a:cubicBezTo>
                    <a:lnTo>
                      <a:pt x="571" y="406"/>
                    </a:lnTo>
                    <a:cubicBezTo>
                      <a:pt x="549" y="401"/>
                      <a:pt x="533" y="384"/>
                      <a:pt x="528" y="363"/>
                    </a:cubicBezTo>
                    <a:lnTo>
                      <a:pt x="567" y="363"/>
                    </a:lnTo>
                    <a:close/>
                    <a:moveTo>
                      <a:pt x="363" y="367"/>
                    </a:moveTo>
                    <a:cubicBezTo>
                      <a:pt x="363" y="365"/>
                      <a:pt x="365" y="363"/>
                      <a:pt x="367" y="363"/>
                    </a:cubicBezTo>
                    <a:lnTo>
                      <a:pt x="406" y="363"/>
                    </a:lnTo>
                    <a:cubicBezTo>
                      <a:pt x="401" y="384"/>
                      <a:pt x="385" y="401"/>
                      <a:pt x="363" y="406"/>
                    </a:cubicBezTo>
                    <a:lnTo>
                      <a:pt x="363" y="367"/>
                    </a:lnTo>
                    <a:close/>
                    <a:moveTo>
                      <a:pt x="367" y="777"/>
                    </a:moveTo>
                    <a:cubicBezTo>
                      <a:pt x="365" y="777"/>
                      <a:pt x="363" y="775"/>
                      <a:pt x="363" y="773"/>
                    </a:cubicBezTo>
                    <a:lnTo>
                      <a:pt x="363" y="734"/>
                    </a:lnTo>
                    <a:cubicBezTo>
                      <a:pt x="385" y="738"/>
                      <a:pt x="401" y="755"/>
                      <a:pt x="406" y="777"/>
                    </a:cubicBezTo>
                    <a:lnTo>
                      <a:pt x="367" y="777"/>
                    </a:lnTo>
                    <a:close/>
                    <a:moveTo>
                      <a:pt x="503" y="602"/>
                    </a:moveTo>
                    <a:cubicBezTo>
                      <a:pt x="494" y="612"/>
                      <a:pt x="481" y="618"/>
                      <a:pt x="467" y="618"/>
                    </a:cubicBezTo>
                    <a:cubicBezTo>
                      <a:pt x="440" y="618"/>
                      <a:pt x="419" y="596"/>
                      <a:pt x="419" y="570"/>
                    </a:cubicBezTo>
                    <a:cubicBezTo>
                      <a:pt x="419" y="543"/>
                      <a:pt x="440" y="522"/>
                      <a:pt x="467" y="522"/>
                    </a:cubicBezTo>
                    <a:cubicBezTo>
                      <a:pt x="481" y="522"/>
                      <a:pt x="494" y="528"/>
                      <a:pt x="503" y="538"/>
                    </a:cubicBezTo>
                    <a:lnTo>
                      <a:pt x="503" y="602"/>
                    </a:lnTo>
                    <a:close/>
                    <a:moveTo>
                      <a:pt x="503" y="777"/>
                    </a:moveTo>
                    <a:cubicBezTo>
                      <a:pt x="503" y="777"/>
                      <a:pt x="503" y="777"/>
                      <a:pt x="503" y="777"/>
                    </a:cubicBezTo>
                    <a:close/>
                    <a:moveTo>
                      <a:pt x="503" y="496"/>
                    </a:moveTo>
                    <a:lnTo>
                      <a:pt x="503" y="508"/>
                    </a:lnTo>
                    <a:cubicBezTo>
                      <a:pt x="492" y="502"/>
                      <a:pt x="480" y="498"/>
                      <a:pt x="467" y="498"/>
                    </a:cubicBezTo>
                    <a:cubicBezTo>
                      <a:pt x="428" y="498"/>
                      <a:pt x="395" y="530"/>
                      <a:pt x="395" y="570"/>
                    </a:cubicBezTo>
                    <a:cubicBezTo>
                      <a:pt x="395" y="609"/>
                      <a:pt x="428" y="641"/>
                      <a:pt x="467" y="641"/>
                    </a:cubicBezTo>
                    <a:cubicBezTo>
                      <a:pt x="480" y="641"/>
                      <a:pt x="492" y="638"/>
                      <a:pt x="503" y="632"/>
                    </a:cubicBezTo>
                    <a:lnTo>
                      <a:pt x="503" y="777"/>
                    </a:lnTo>
                    <a:lnTo>
                      <a:pt x="430" y="777"/>
                    </a:lnTo>
                    <a:cubicBezTo>
                      <a:pt x="425" y="742"/>
                      <a:pt x="398" y="715"/>
                      <a:pt x="363" y="710"/>
                    </a:cubicBezTo>
                    <a:lnTo>
                      <a:pt x="363" y="429"/>
                    </a:lnTo>
                    <a:cubicBezTo>
                      <a:pt x="398" y="424"/>
                      <a:pt x="425" y="397"/>
                      <a:pt x="430" y="363"/>
                    </a:cubicBezTo>
                    <a:lnTo>
                      <a:pt x="504" y="363"/>
                    </a:lnTo>
                    <a:cubicBezTo>
                      <a:pt x="509" y="397"/>
                      <a:pt x="537" y="424"/>
                      <a:pt x="571" y="429"/>
                    </a:cubicBezTo>
                    <a:lnTo>
                      <a:pt x="571" y="468"/>
                    </a:lnTo>
                    <a:lnTo>
                      <a:pt x="530" y="468"/>
                    </a:lnTo>
                    <a:cubicBezTo>
                      <a:pt x="515" y="468"/>
                      <a:pt x="503" y="481"/>
                      <a:pt x="503" y="496"/>
                    </a:cubicBezTo>
                    <a:close/>
                    <a:moveTo>
                      <a:pt x="640" y="777"/>
                    </a:moveTo>
                    <a:lnTo>
                      <a:pt x="530" y="777"/>
                    </a:lnTo>
                    <a:cubicBezTo>
                      <a:pt x="528" y="777"/>
                      <a:pt x="526" y="775"/>
                      <a:pt x="526" y="773"/>
                    </a:cubicBezTo>
                    <a:lnTo>
                      <a:pt x="526" y="749"/>
                    </a:lnTo>
                    <a:lnTo>
                      <a:pt x="640" y="749"/>
                    </a:lnTo>
                    <a:lnTo>
                      <a:pt x="640" y="777"/>
                    </a:lnTo>
                    <a:close/>
                    <a:moveTo>
                      <a:pt x="640" y="725"/>
                    </a:moveTo>
                    <a:lnTo>
                      <a:pt x="526" y="725"/>
                    </a:lnTo>
                    <a:lnTo>
                      <a:pt x="526" y="697"/>
                    </a:lnTo>
                    <a:lnTo>
                      <a:pt x="640" y="697"/>
                    </a:lnTo>
                    <a:lnTo>
                      <a:pt x="640" y="725"/>
                    </a:lnTo>
                    <a:close/>
                    <a:moveTo>
                      <a:pt x="640" y="674"/>
                    </a:moveTo>
                    <a:lnTo>
                      <a:pt x="526" y="674"/>
                    </a:lnTo>
                    <a:lnTo>
                      <a:pt x="526" y="646"/>
                    </a:lnTo>
                    <a:lnTo>
                      <a:pt x="640" y="646"/>
                    </a:lnTo>
                    <a:lnTo>
                      <a:pt x="640" y="674"/>
                    </a:lnTo>
                    <a:close/>
                    <a:moveTo>
                      <a:pt x="640" y="623"/>
                    </a:moveTo>
                    <a:lnTo>
                      <a:pt x="526" y="623"/>
                    </a:lnTo>
                    <a:lnTo>
                      <a:pt x="526" y="595"/>
                    </a:lnTo>
                    <a:lnTo>
                      <a:pt x="640" y="595"/>
                    </a:lnTo>
                    <a:lnTo>
                      <a:pt x="640" y="623"/>
                    </a:lnTo>
                    <a:close/>
                    <a:moveTo>
                      <a:pt x="640" y="571"/>
                    </a:moveTo>
                    <a:lnTo>
                      <a:pt x="526" y="571"/>
                    </a:lnTo>
                    <a:lnTo>
                      <a:pt x="526" y="543"/>
                    </a:lnTo>
                    <a:lnTo>
                      <a:pt x="640" y="543"/>
                    </a:lnTo>
                    <a:lnTo>
                      <a:pt x="640" y="571"/>
                    </a:lnTo>
                    <a:close/>
                    <a:moveTo>
                      <a:pt x="640" y="520"/>
                    </a:moveTo>
                    <a:lnTo>
                      <a:pt x="526" y="520"/>
                    </a:lnTo>
                    <a:lnTo>
                      <a:pt x="526" y="496"/>
                    </a:lnTo>
                    <a:cubicBezTo>
                      <a:pt x="526" y="494"/>
                      <a:pt x="528" y="492"/>
                      <a:pt x="530" y="492"/>
                    </a:cubicBezTo>
                    <a:lnTo>
                      <a:pt x="636" y="492"/>
                    </a:lnTo>
                    <a:cubicBezTo>
                      <a:pt x="638" y="492"/>
                      <a:pt x="640" y="494"/>
                      <a:pt x="640" y="496"/>
                    </a:cubicBezTo>
                    <a:lnTo>
                      <a:pt x="640" y="520"/>
                    </a:lnTo>
                    <a:close/>
                    <a:moveTo>
                      <a:pt x="777" y="725"/>
                    </a:moveTo>
                    <a:lnTo>
                      <a:pt x="663" y="725"/>
                    </a:lnTo>
                    <a:lnTo>
                      <a:pt x="663" y="697"/>
                    </a:lnTo>
                    <a:lnTo>
                      <a:pt x="777" y="697"/>
                    </a:lnTo>
                    <a:lnTo>
                      <a:pt x="777" y="725"/>
                    </a:lnTo>
                    <a:close/>
                    <a:moveTo>
                      <a:pt x="777" y="674"/>
                    </a:moveTo>
                    <a:lnTo>
                      <a:pt x="663" y="674"/>
                    </a:lnTo>
                    <a:lnTo>
                      <a:pt x="663" y="646"/>
                    </a:lnTo>
                    <a:lnTo>
                      <a:pt x="773" y="646"/>
                    </a:lnTo>
                    <a:cubicBezTo>
                      <a:pt x="775" y="646"/>
                      <a:pt x="777" y="648"/>
                      <a:pt x="777" y="650"/>
                    </a:cubicBezTo>
                    <a:lnTo>
                      <a:pt x="777" y="674"/>
                    </a:lnTo>
                    <a:close/>
                  </a:path>
                </a:pathLst>
              </a:custGeom>
              <a:grpFill/>
              <a:ln>
                <a:headEnd/>
                <a:tailEnd/>
              </a:ln>
              <a:effectLst/>
            </p:spPr>
            <p:style>
              <a:lnRef idx="0">
                <a:schemeClr val="accent6"/>
              </a:lnRef>
              <a:fillRef idx="1002">
                <a:schemeClr val="dk2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Freeform 10">
                <a:extLst>
                  <a:ext uri="{FF2B5EF4-FFF2-40B4-BE49-F238E27FC236}">
                    <a16:creationId xmlns:a16="http://schemas.microsoft.com/office/drawing/2014/main" id="{780B7750-A99F-F3C6-3CFA-BCD71089A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2333" y="1495543"/>
                <a:ext cx="314371" cy="198739"/>
              </a:xfrm>
              <a:custGeom>
                <a:avLst/>
                <a:gdLst>
                  <a:gd name="T0" fmla="*/ 5 w 382"/>
                  <a:gd name="T1" fmla="*/ 236 h 241"/>
                  <a:gd name="T2" fmla="*/ 22 w 382"/>
                  <a:gd name="T3" fmla="*/ 236 h 241"/>
                  <a:gd name="T4" fmla="*/ 157 w 382"/>
                  <a:gd name="T5" fmla="*/ 101 h 241"/>
                  <a:gd name="T6" fmla="*/ 219 w 382"/>
                  <a:gd name="T7" fmla="*/ 164 h 241"/>
                  <a:gd name="T8" fmla="*/ 235 w 382"/>
                  <a:gd name="T9" fmla="*/ 164 h 241"/>
                  <a:gd name="T10" fmla="*/ 359 w 382"/>
                  <a:gd name="T11" fmla="*/ 40 h 241"/>
                  <a:gd name="T12" fmla="*/ 359 w 382"/>
                  <a:gd name="T13" fmla="*/ 72 h 241"/>
                  <a:gd name="T14" fmla="*/ 382 w 382"/>
                  <a:gd name="T15" fmla="*/ 72 h 241"/>
                  <a:gd name="T16" fmla="*/ 382 w 382"/>
                  <a:gd name="T17" fmla="*/ 12 h 241"/>
                  <a:gd name="T18" fmla="*/ 370 w 382"/>
                  <a:gd name="T19" fmla="*/ 0 h 241"/>
                  <a:gd name="T20" fmla="*/ 310 w 382"/>
                  <a:gd name="T21" fmla="*/ 0 h 241"/>
                  <a:gd name="T22" fmla="*/ 310 w 382"/>
                  <a:gd name="T23" fmla="*/ 24 h 241"/>
                  <a:gd name="T24" fmla="*/ 342 w 382"/>
                  <a:gd name="T25" fmla="*/ 24 h 241"/>
                  <a:gd name="T26" fmla="*/ 227 w 382"/>
                  <a:gd name="T27" fmla="*/ 139 h 241"/>
                  <a:gd name="T28" fmla="*/ 165 w 382"/>
                  <a:gd name="T29" fmla="*/ 77 h 241"/>
                  <a:gd name="T30" fmla="*/ 148 w 382"/>
                  <a:gd name="T31" fmla="*/ 77 h 241"/>
                  <a:gd name="T32" fmla="*/ 5 w 382"/>
                  <a:gd name="T33" fmla="*/ 220 h 241"/>
                  <a:gd name="T34" fmla="*/ 5 w 382"/>
                  <a:gd name="T35" fmla="*/ 236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2" h="241">
                    <a:moveTo>
                      <a:pt x="5" y="236"/>
                    </a:moveTo>
                    <a:cubicBezTo>
                      <a:pt x="11" y="241"/>
                      <a:pt x="16" y="241"/>
                      <a:pt x="22" y="236"/>
                    </a:cubicBezTo>
                    <a:lnTo>
                      <a:pt x="157" y="101"/>
                    </a:lnTo>
                    <a:lnTo>
                      <a:pt x="219" y="164"/>
                    </a:lnTo>
                    <a:cubicBezTo>
                      <a:pt x="224" y="168"/>
                      <a:pt x="230" y="168"/>
                      <a:pt x="235" y="164"/>
                    </a:cubicBezTo>
                    <a:lnTo>
                      <a:pt x="359" y="40"/>
                    </a:lnTo>
                    <a:lnTo>
                      <a:pt x="359" y="72"/>
                    </a:lnTo>
                    <a:cubicBezTo>
                      <a:pt x="359" y="87"/>
                      <a:pt x="382" y="88"/>
                      <a:pt x="382" y="72"/>
                    </a:cubicBezTo>
                    <a:lnTo>
                      <a:pt x="382" y="12"/>
                    </a:lnTo>
                    <a:cubicBezTo>
                      <a:pt x="382" y="6"/>
                      <a:pt x="377" y="0"/>
                      <a:pt x="370" y="0"/>
                    </a:cubicBezTo>
                    <a:lnTo>
                      <a:pt x="310" y="0"/>
                    </a:lnTo>
                    <a:cubicBezTo>
                      <a:pt x="295" y="0"/>
                      <a:pt x="295" y="24"/>
                      <a:pt x="310" y="24"/>
                    </a:cubicBezTo>
                    <a:lnTo>
                      <a:pt x="342" y="24"/>
                    </a:lnTo>
                    <a:lnTo>
                      <a:pt x="227" y="139"/>
                    </a:lnTo>
                    <a:lnTo>
                      <a:pt x="165" y="77"/>
                    </a:lnTo>
                    <a:cubicBezTo>
                      <a:pt x="160" y="72"/>
                      <a:pt x="153" y="72"/>
                      <a:pt x="148" y="77"/>
                    </a:cubicBezTo>
                    <a:lnTo>
                      <a:pt x="5" y="220"/>
                    </a:lnTo>
                    <a:cubicBezTo>
                      <a:pt x="0" y="225"/>
                      <a:pt x="0" y="232"/>
                      <a:pt x="5" y="236"/>
                    </a:cubicBezTo>
                    <a:close/>
                  </a:path>
                </a:pathLst>
              </a:custGeom>
              <a:grpFill/>
              <a:ln>
                <a:headEnd/>
                <a:tailEnd/>
              </a:ln>
              <a:effectLst/>
            </p:spPr>
            <p:style>
              <a:lnRef idx="0">
                <a:schemeClr val="accent6"/>
              </a:lnRef>
              <a:fillRef idx="1002">
                <a:schemeClr val="dk2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1E03DBAB-166B-7F14-0892-D52567AE6515}"/>
                </a:ext>
              </a:extLst>
            </p:cNvPr>
            <p:cNvGrpSpPr/>
            <p:nvPr/>
          </p:nvGrpSpPr>
          <p:grpSpPr>
            <a:xfrm>
              <a:off x="10553417" y="1879194"/>
              <a:ext cx="640982" cy="447102"/>
              <a:chOff x="10286000" y="1498474"/>
              <a:chExt cx="915400" cy="638515"/>
            </a:xfrm>
            <a:solidFill>
              <a:srgbClr val="7F7F7F"/>
            </a:solidFill>
          </p:grpSpPr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5BED90C8-7E1E-82E7-EEE0-D16ED8DD1A34}"/>
                  </a:ext>
                </a:extLst>
              </p:cNvPr>
              <p:cNvSpPr/>
              <p:nvPr/>
            </p:nvSpPr>
            <p:spPr>
              <a:xfrm>
                <a:off x="10992725" y="1906558"/>
                <a:ext cx="181733" cy="230410"/>
              </a:xfrm>
              <a:custGeom>
                <a:avLst/>
                <a:gdLst>
                  <a:gd name="connsiteX0" fmla="*/ 131235 w 165430"/>
                  <a:gd name="connsiteY0" fmla="*/ 61551 h 209740"/>
                  <a:gd name="connsiteX1" fmla="*/ 131235 w 165430"/>
                  <a:gd name="connsiteY1" fmla="*/ 34452 h 209740"/>
                  <a:gd name="connsiteX2" fmla="*/ 121710 w 165430"/>
                  <a:gd name="connsiteY2" fmla="*/ 24927 h 209740"/>
                  <a:gd name="connsiteX3" fmla="*/ 112185 w 165430"/>
                  <a:gd name="connsiteY3" fmla="*/ 34452 h 209740"/>
                  <a:gd name="connsiteX4" fmla="*/ 112185 w 165430"/>
                  <a:gd name="connsiteY4" fmla="*/ 66418 h 209740"/>
                  <a:gd name="connsiteX5" fmla="*/ 133264 w 165430"/>
                  <a:gd name="connsiteY5" fmla="*/ 104965 h 209740"/>
                  <a:gd name="connsiteX6" fmla="*/ 83610 w 165430"/>
                  <a:gd name="connsiteY6" fmla="*/ 104965 h 209740"/>
                  <a:gd name="connsiteX7" fmla="*/ 81763 w 165430"/>
                  <a:gd name="connsiteY7" fmla="*/ 104965 h 209740"/>
                  <a:gd name="connsiteX8" fmla="*/ 32042 w 165430"/>
                  <a:gd name="connsiteY8" fmla="*/ 104965 h 209740"/>
                  <a:gd name="connsiteX9" fmla="*/ 55035 w 165430"/>
                  <a:gd name="connsiteY9" fmla="*/ 62598 h 209740"/>
                  <a:gd name="connsiteX10" fmla="*/ 55035 w 165430"/>
                  <a:gd name="connsiteY10" fmla="*/ 9525 h 209740"/>
                  <a:gd name="connsiteX11" fmla="*/ 45510 w 165430"/>
                  <a:gd name="connsiteY11" fmla="*/ 0 h 209740"/>
                  <a:gd name="connsiteX12" fmla="*/ 35985 w 165430"/>
                  <a:gd name="connsiteY12" fmla="*/ 9525 h 209740"/>
                  <a:gd name="connsiteX13" fmla="*/ 35985 w 165430"/>
                  <a:gd name="connsiteY13" fmla="*/ 57750 h 209740"/>
                  <a:gd name="connsiteX14" fmla="*/ 0 w 165430"/>
                  <a:gd name="connsiteY14" fmla="*/ 124015 h 209740"/>
                  <a:gd name="connsiteX15" fmla="*/ 35033 w 165430"/>
                  <a:gd name="connsiteY15" fmla="*/ 124015 h 209740"/>
                  <a:gd name="connsiteX16" fmla="*/ 35033 w 165430"/>
                  <a:gd name="connsiteY16" fmla="*/ 209740 h 209740"/>
                  <a:gd name="connsiteX17" fmla="*/ 130283 w 165430"/>
                  <a:gd name="connsiteY17" fmla="*/ 209740 h 209740"/>
                  <a:gd name="connsiteX18" fmla="*/ 130283 w 165430"/>
                  <a:gd name="connsiteY18" fmla="*/ 124015 h 209740"/>
                  <a:gd name="connsiteX19" fmla="*/ 165430 w 165430"/>
                  <a:gd name="connsiteY19" fmla="*/ 124015 h 209740"/>
                  <a:gd name="connsiteX20" fmla="*/ 54083 w 165430"/>
                  <a:gd name="connsiteY20" fmla="*/ 124015 h 209740"/>
                  <a:gd name="connsiteX21" fmla="*/ 73133 w 165430"/>
                  <a:gd name="connsiteY21" fmla="*/ 124015 h 209740"/>
                  <a:gd name="connsiteX22" fmla="*/ 73133 w 165430"/>
                  <a:gd name="connsiteY22" fmla="*/ 190690 h 209740"/>
                  <a:gd name="connsiteX23" fmla="*/ 54083 w 165430"/>
                  <a:gd name="connsiteY23" fmla="*/ 190690 h 209740"/>
                  <a:gd name="connsiteX24" fmla="*/ 111233 w 165430"/>
                  <a:gd name="connsiteY24" fmla="*/ 190690 h 209740"/>
                  <a:gd name="connsiteX25" fmla="*/ 92183 w 165430"/>
                  <a:gd name="connsiteY25" fmla="*/ 190690 h 209740"/>
                  <a:gd name="connsiteX26" fmla="*/ 92183 w 165430"/>
                  <a:gd name="connsiteY26" fmla="*/ 124015 h 209740"/>
                  <a:gd name="connsiteX27" fmla="*/ 111233 w 165430"/>
                  <a:gd name="connsiteY27" fmla="*/ 124015 h 209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65430" h="209740">
                    <a:moveTo>
                      <a:pt x="131235" y="61551"/>
                    </a:moveTo>
                    <a:lnTo>
                      <a:pt x="131235" y="34452"/>
                    </a:lnTo>
                    <a:cubicBezTo>
                      <a:pt x="131235" y="29191"/>
                      <a:pt x="126971" y="24927"/>
                      <a:pt x="121710" y="24927"/>
                    </a:cubicBezTo>
                    <a:cubicBezTo>
                      <a:pt x="116450" y="24927"/>
                      <a:pt x="112185" y="29191"/>
                      <a:pt x="112185" y="34452"/>
                    </a:cubicBezTo>
                    <a:lnTo>
                      <a:pt x="112185" y="66418"/>
                    </a:lnTo>
                    <a:lnTo>
                      <a:pt x="133264" y="104965"/>
                    </a:lnTo>
                    <a:lnTo>
                      <a:pt x="83610" y="104965"/>
                    </a:lnTo>
                    <a:cubicBezTo>
                      <a:pt x="83021" y="104711"/>
                      <a:pt x="82352" y="104711"/>
                      <a:pt x="81763" y="104965"/>
                    </a:cubicBezTo>
                    <a:lnTo>
                      <a:pt x="32042" y="104965"/>
                    </a:lnTo>
                    <a:lnTo>
                      <a:pt x="55035" y="62598"/>
                    </a:lnTo>
                    <a:lnTo>
                      <a:pt x="55035" y="9525"/>
                    </a:lnTo>
                    <a:cubicBezTo>
                      <a:pt x="55035" y="4264"/>
                      <a:pt x="50771" y="0"/>
                      <a:pt x="45510" y="0"/>
                    </a:cubicBezTo>
                    <a:cubicBezTo>
                      <a:pt x="40250" y="0"/>
                      <a:pt x="35985" y="4264"/>
                      <a:pt x="35985" y="9525"/>
                    </a:cubicBezTo>
                    <a:lnTo>
                      <a:pt x="35985" y="57750"/>
                    </a:lnTo>
                    <a:lnTo>
                      <a:pt x="0" y="124015"/>
                    </a:lnTo>
                    <a:lnTo>
                      <a:pt x="35033" y="124015"/>
                    </a:lnTo>
                    <a:lnTo>
                      <a:pt x="35033" y="209740"/>
                    </a:lnTo>
                    <a:lnTo>
                      <a:pt x="130283" y="209740"/>
                    </a:lnTo>
                    <a:lnTo>
                      <a:pt x="130283" y="124015"/>
                    </a:lnTo>
                    <a:lnTo>
                      <a:pt x="165430" y="124015"/>
                    </a:lnTo>
                    <a:close/>
                    <a:moveTo>
                      <a:pt x="54083" y="124015"/>
                    </a:moveTo>
                    <a:lnTo>
                      <a:pt x="73133" y="124015"/>
                    </a:lnTo>
                    <a:lnTo>
                      <a:pt x="73133" y="190690"/>
                    </a:lnTo>
                    <a:lnTo>
                      <a:pt x="54083" y="190690"/>
                    </a:lnTo>
                    <a:close/>
                    <a:moveTo>
                      <a:pt x="111233" y="190690"/>
                    </a:moveTo>
                    <a:lnTo>
                      <a:pt x="92183" y="190690"/>
                    </a:lnTo>
                    <a:lnTo>
                      <a:pt x="92183" y="124015"/>
                    </a:lnTo>
                    <a:lnTo>
                      <a:pt x="111233" y="124015"/>
                    </a:lnTo>
                    <a:close/>
                  </a:path>
                </a:pathLst>
              </a:custGeom>
              <a:grpFill/>
              <a:ln/>
              <a:effec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3D2473A9-ECDC-C174-E134-528FF2B618FC}"/>
                  </a:ext>
                </a:extLst>
              </p:cNvPr>
              <p:cNvSpPr/>
              <p:nvPr/>
            </p:nvSpPr>
            <p:spPr>
              <a:xfrm>
                <a:off x="10751149" y="1718212"/>
                <a:ext cx="204386" cy="418777"/>
              </a:xfrm>
              <a:custGeom>
                <a:avLst/>
                <a:gdLst>
                  <a:gd name="connsiteX0" fmla="*/ 150162 w 186051"/>
                  <a:gd name="connsiteY0" fmla="*/ 59950 h 381209"/>
                  <a:gd name="connsiteX1" fmla="*/ 150162 w 186051"/>
                  <a:gd name="connsiteY1" fmla="*/ 9525 h 381209"/>
                  <a:gd name="connsiteX2" fmla="*/ 140637 w 186051"/>
                  <a:gd name="connsiteY2" fmla="*/ 0 h 381209"/>
                  <a:gd name="connsiteX3" fmla="*/ 140637 w 186051"/>
                  <a:gd name="connsiteY3" fmla="*/ 0 h 381209"/>
                  <a:gd name="connsiteX4" fmla="*/ 131112 w 186051"/>
                  <a:gd name="connsiteY4" fmla="*/ 9525 h 381209"/>
                  <a:gd name="connsiteX5" fmla="*/ 131112 w 186051"/>
                  <a:gd name="connsiteY5" fmla="*/ 61084 h 381209"/>
                  <a:gd name="connsiteX6" fmla="*/ 161896 w 186051"/>
                  <a:gd name="connsiteY6" fmla="*/ 190624 h 381209"/>
                  <a:gd name="connsiteX7" fmla="*/ 93793 w 186051"/>
                  <a:gd name="connsiteY7" fmla="*/ 190624 h 381209"/>
                  <a:gd name="connsiteX8" fmla="*/ 92231 w 186051"/>
                  <a:gd name="connsiteY8" fmla="*/ 190624 h 381209"/>
                  <a:gd name="connsiteX9" fmla="*/ 24155 w 186051"/>
                  <a:gd name="connsiteY9" fmla="*/ 190624 h 381209"/>
                  <a:gd name="connsiteX10" fmla="*/ 54912 w 186051"/>
                  <a:gd name="connsiteY10" fmla="*/ 62198 h 381209"/>
                  <a:gd name="connsiteX11" fmla="*/ 54912 w 186051"/>
                  <a:gd name="connsiteY11" fmla="*/ 9525 h 381209"/>
                  <a:gd name="connsiteX12" fmla="*/ 45387 w 186051"/>
                  <a:gd name="connsiteY12" fmla="*/ 0 h 381209"/>
                  <a:gd name="connsiteX13" fmla="*/ 45387 w 186051"/>
                  <a:gd name="connsiteY13" fmla="*/ 0 h 381209"/>
                  <a:gd name="connsiteX14" fmla="*/ 35862 w 186051"/>
                  <a:gd name="connsiteY14" fmla="*/ 9525 h 381209"/>
                  <a:gd name="connsiteX15" fmla="*/ 35862 w 186051"/>
                  <a:gd name="connsiteY15" fmla="*/ 60007 h 381209"/>
                  <a:gd name="connsiteX16" fmla="*/ 0 w 186051"/>
                  <a:gd name="connsiteY16" fmla="*/ 209712 h 381209"/>
                  <a:gd name="connsiteX17" fmla="*/ 35862 w 186051"/>
                  <a:gd name="connsiteY17" fmla="*/ 209712 h 381209"/>
                  <a:gd name="connsiteX18" fmla="*/ 35862 w 186051"/>
                  <a:gd name="connsiteY18" fmla="*/ 381210 h 381209"/>
                  <a:gd name="connsiteX19" fmla="*/ 150162 w 186051"/>
                  <a:gd name="connsiteY19" fmla="*/ 381210 h 381209"/>
                  <a:gd name="connsiteX20" fmla="*/ 150162 w 186051"/>
                  <a:gd name="connsiteY20" fmla="*/ 209712 h 381209"/>
                  <a:gd name="connsiteX21" fmla="*/ 186052 w 186051"/>
                  <a:gd name="connsiteY21" fmla="*/ 209712 h 381209"/>
                  <a:gd name="connsiteX22" fmla="*/ 54912 w 186051"/>
                  <a:gd name="connsiteY22" fmla="*/ 209712 h 381209"/>
                  <a:gd name="connsiteX23" fmla="*/ 83487 w 186051"/>
                  <a:gd name="connsiteY23" fmla="*/ 209712 h 381209"/>
                  <a:gd name="connsiteX24" fmla="*/ 83487 w 186051"/>
                  <a:gd name="connsiteY24" fmla="*/ 362160 h 381209"/>
                  <a:gd name="connsiteX25" fmla="*/ 54912 w 186051"/>
                  <a:gd name="connsiteY25" fmla="*/ 362160 h 381209"/>
                  <a:gd name="connsiteX26" fmla="*/ 131112 w 186051"/>
                  <a:gd name="connsiteY26" fmla="*/ 362160 h 381209"/>
                  <a:gd name="connsiteX27" fmla="*/ 102537 w 186051"/>
                  <a:gd name="connsiteY27" fmla="*/ 362160 h 381209"/>
                  <a:gd name="connsiteX28" fmla="*/ 102537 w 186051"/>
                  <a:gd name="connsiteY28" fmla="*/ 209712 h 381209"/>
                  <a:gd name="connsiteX29" fmla="*/ 131112 w 186051"/>
                  <a:gd name="connsiteY29" fmla="*/ 209712 h 38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86051" h="381209">
                    <a:moveTo>
                      <a:pt x="150162" y="59950"/>
                    </a:moveTo>
                    <a:lnTo>
                      <a:pt x="150162" y="9525"/>
                    </a:lnTo>
                    <a:cubicBezTo>
                      <a:pt x="150162" y="4264"/>
                      <a:pt x="145897" y="0"/>
                      <a:pt x="140637" y="0"/>
                    </a:cubicBezTo>
                    <a:lnTo>
                      <a:pt x="140637" y="0"/>
                    </a:lnTo>
                    <a:cubicBezTo>
                      <a:pt x="135376" y="0"/>
                      <a:pt x="131112" y="4264"/>
                      <a:pt x="131112" y="9525"/>
                    </a:cubicBezTo>
                    <a:lnTo>
                      <a:pt x="131112" y="61084"/>
                    </a:lnTo>
                    <a:lnTo>
                      <a:pt x="161896" y="190624"/>
                    </a:lnTo>
                    <a:lnTo>
                      <a:pt x="93793" y="190624"/>
                    </a:lnTo>
                    <a:cubicBezTo>
                      <a:pt x="93295" y="190408"/>
                      <a:pt x="92729" y="190408"/>
                      <a:pt x="92231" y="190624"/>
                    </a:cubicBezTo>
                    <a:lnTo>
                      <a:pt x="24155" y="190624"/>
                    </a:lnTo>
                    <a:lnTo>
                      <a:pt x="54912" y="62198"/>
                    </a:lnTo>
                    <a:lnTo>
                      <a:pt x="54912" y="9525"/>
                    </a:lnTo>
                    <a:cubicBezTo>
                      <a:pt x="54912" y="4264"/>
                      <a:pt x="50647" y="0"/>
                      <a:pt x="45387" y="0"/>
                    </a:cubicBezTo>
                    <a:lnTo>
                      <a:pt x="45387" y="0"/>
                    </a:lnTo>
                    <a:cubicBezTo>
                      <a:pt x="40126" y="0"/>
                      <a:pt x="35862" y="4264"/>
                      <a:pt x="35862" y="9525"/>
                    </a:cubicBezTo>
                    <a:lnTo>
                      <a:pt x="35862" y="60007"/>
                    </a:lnTo>
                    <a:lnTo>
                      <a:pt x="0" y="209712"/>
                    </a:lnTo>
                    <a:lnTo>
                      <a:pt x="35862" y="209712"/>
                    </a:lnTo>
                    <a:lnTo>
                      <a:pt x="35862" y="381210"/>
                    </a:lnTo>
                    <a:lnTo>
                      <a:pt x="150162" y="381210"/>
                    </a:lnTo>
                    <a:lnTo>
                      <a:pt x="150162" y="209712"/>
                    </a:lnTo>
                    <a:lnTo>
                      <a:pt x="186052" y="209712"/>
                    </a:lnTo>
                    <a:close/>
                    <a:moveTo>
                      <a:pt x="54912" y="209712"/>
                    </a:moveTo>
                    <a:lnTo>
                      <a:pt x="83487" y="209712"/>
                    </a:lnTo>
                    <a:lnTo>
                      <a:pt x="83487" y="362160"/>
                    </a:lnTo>
                    <a:lnTo>
                      <a:pt x="54912" y="362160"/>
                    </a:lnTo>
                    <a:close/>
                    <a:moveTo>
                      <a:pt x="131112" y="362160"/>
                    </a:moveTo>
                    <a:lnTo>
                      <a:pt x="102537" y="362160"/>
                    </a:lnTo>
                    <a:lnTo>
                      <a:pt x="102537" y="209712"/>
                    </a:lnTo>
                    <a:lnTo>
                      <a:pt x="131112" y="209712"/>
                    </a:lnTo>
                    <a:close/>
                  </a:path>
                </a:pathLst>
              </a:custGeom>
              <a:grpFill/>
              <a:ln/>
              <a:effec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7AFE510-8D1D-B926-D009-5E0B4EAF8B7B}"/>
                  </a:ext>
                </a:extLst>
              </p:cNvPr>
              <p:cNvSpPr/>
              <p:nvPr/>
            </p:nvSpPr>
            <p:spPr>
              <a:xfrm>
                <a:off x="10560344" y="1718212"/>
                <a:ext cx="125564" cy="418777"/>
              </a:xfrm>
              <a:custGeom>
                <a:avLst/>
                <a:gdLst>
                  <a:gd name="connsiteX0" fmla="*/ 104775 w 114300"/>
                  <a:gd name="connsiteY0" fmla="*/ 0 h 381209"/>
                  <a:gd name="connsiteX1" fmla="*/ 95250 w 114300"/>
                  <a:gd name="connsiteY1" fmla="*/ 9525 h 381209"/>
                  <a:gd name="connsiteX2" fmla="*/ 95250 w 114300"/>
                  <a:gd name="connsiteY2" fmla="*/ 362160 h 381209"/>
                  <a:gd name="connsiteX3" fmla="*/ 66675 w 114300"/>
                  <a:gd name="connsiteY3" fmla="*/ 362160 h 381209"/>
                  <a:gd name="connsiteX4" fmla="*/ 66675 w 114300"/>
                  <a:gd name="connsiteY4" fmla="*/ 152400 h 381209"/>
                  <a:gd name="connsiteX5" fmla="*/ 47625 w 114300"/>
                  <a:gd name="connsiteY5" fmla="*/ 152400 h 381209"/>
                  <a:gd name="connsiteX6" fmla="*/ 47625 w 114300"/>
                  <a:gd name="connsiteY6" fmla="*/ 362160 h 381209"/>
                  <a:gd name="connsiteX7" fmla="*/ 19050 w 114300"/>
                  <a:gd name="connsiteY7" fmla="*/ 362160 h 381209"/>
                  <a:gd name="connsiteX8" fmla="*/ 19050 w 114300"/>
                  <a:gd name="connsiteY8" fmla="*/ 9525 h 381209"/>
                  <a:gd name="connsiteX9" fmla="*/ 9525 w 114300"/>
                  <a:gd name="connsiteY9" fmla="*/ 0 h 381209"/>
                  <a:gd name="connsiteX10" fmla="*/ 0 w 114300"/>
                  <a:gd name="connsiteY10" fmla="*/ 9525 h 381209"/>
                  <a:gd name="connsiteX11" fmla="*/ 0 w 114300"/>
                  <a:gd name="connsiteY11" fmla="*/ 381210 h 381209"/>
                  <a:gd name="connsiteX12" fmla="*/ 114300 w 114300"/>
                  <a:gd name="connsiteY12" fmla="*/ 381210 h 381209"/>
                  <a:gd name="connsiteX13" fmla="*/ 114300 w 114300"/>
                  <a:gd name="connsiteY13" fmla="*/ 9525 h 381209"/>
                  <a:gd name="connsiteX14" fmla="*/ 104775 w 114300"/>
                  <a:gd name="connsiteY14" fmla="*/ 0 h 38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4300" h="381209">
                    <a:moveTo>
                      <a:pt x="104775" y="0"/>
                    </a:moveTo>
                    <a:cubicBezTo>
                      <a:pt x="99514" y="0"/>
                      <a:pt x="95250" y="4264"/>
                      <a:pt x="95250" y="9525"/>
                    </a:cubicBezTo>
                    <a:lnTo>
                      <a:pt x="95250" y="362160"/>
                    </a:lnTo>
                    <a:lnTo>
                      <a:pt x="66675" y="362160"/>
                    </a:lnTo>
                    <a:lnTo>
                      <a:pt x="66675" y="152400"/>
                    </a:lnTo>
                    <a:lnTo>
                      <a:pt x="47625" y="152400"/>
                    </a:lnTo>
                    <a:lnTo>
                      <a:pt x="47625" y="362160"/>
                    </a:lnTo>
                    <a:lnTo>
                      <a:pt x="19050" y="362160"/>
                    </a:lnTo>
                    <a:lnTo>
                      <a:pt x="19050" y="9525"/>
                    </a:lnTo>
                    <a:cubicBezTo>
                      <a:pt x="19050" y="4264"/>
                      <a:pt x="14786" y="0"/>
                      <a:pt x="9525" y="0"/>
                    </a:cubicBezTo>
                    <a:cubicBezTo>
                      <a:pt x="4264" y="0"/>
                      <a:pt x="0" y="4264"/>
                      <a:pt x="0" y="9525"/>
                    </a:cubicBezTo>
                    <a:lnTo>
                      <a:pt x="0" y="381210"/>
                    </a:lnTo>
                    <a:lnTo>
                      <a:pt x="114300" y="381210"/>
                    </a:lnTo>
                    <a:lnTo>
                      <a:pt x="114300" y="9525"/>
                    </a:lnTo>
                    <a:cubicBezTo>
                      <a:pt x="114300" y="4264"/>
                      <a:pt x="110036" y="0"/>
                      <a:pt x="104775" y="0"/>
                    </a:cubicBezTo>
                    <a:close/>
                  </a:path>
                </a:pathLst>
              </a:custGeom>
              <a:grpFill/>
              <a:ln/>
              <a:effec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340937E-6F1E-301A-BBBA-5D7F7BB99F54}"/>
                  </a:ext>
                </a:extLst>
              </p:cNvPr>
              <p:cNvSpPr/>
              <p:nvPr/>
            </p:nvSpPr>
            <p:spPr>
              <a:xfrm>
                <a:off x="10340607" y="1906558"/>
                <a:ext cx="104637" cy="230431"/>
              </a:xfrm>
              <a:custGeom>
                <a:avLst/>
                <a:gdLst>
                  <a:gd name="connsiteX0" fmla="*/ 85725 w 95250"/>
                  <a:gd name="connsiteY0" fmla="*/ 0 h 209759"/>
                  <a:gd name="connsiteX1" fmla="*/ 76200 w 95250"/>
                  <a:gd name="connsiteY1" fmla="*/ 9525 h 209759"/>
                  <a:gd name="connsiteX2" fmla="*/ 76200 w 95250"/>
                  <a:gd name="connsiteY2" fmla="*/ 190710 h 209759"/>
                  <a:gd name="connsiteX3" fmla="*/ 57150 w 95250"/>
                  <a:gd name="connsiteY3" fmla="*/ 190710 h 209759"/>
                  <a:gd name="connsiteX4" fmla="*/ 57150 w 95250"/>
                  <a:gd name="connsiteY4" fmla="*/ 104775 h 209759"/>
                  <a:gd name="connsiteX5" fmla="*/ 38100 w 95250"/>
                  <a:gd name="connsiteY5" fmla="*/ 104775 h 209759"/>
                  <a:gd name="connsiteX6" fmla="*/ 38100 w 95250"/>
                  <a:gd name="connsiteY6" fmla="*/ 190710 h 209759"/>
                  <a:gd name="connsiteX7" fmla="*/ 19050 w 95250"/>
                  <a:gd name="connsiteY7" fmla="*/ 190710 h 209759"/>
                  <a:gd name="connsiteX8" fmla="*/ 19050 w 95250"/>
                  <a:gd name="connsiteY8" fmla="*/ 34452 h 209759"/>
                  <a:gd name="connsiteX9" fmla="*/ 9525 w 95250"/>
                  <a:gd name="connsiteY9" fmla="*/ 24927 h 209759"/>
                  <a:gd name="connsiteX10" fmla="*/ 0 w 95250"/>
                  <a:gd name="connsiteY10" fmla="*/ 34452 h 209759"/>
                  <a:gd name="connsiteX11" fmla="*/ 0 w 95250"/>
                  <a:gd name="connsiteY11" fmla="*/ 209760 h 209759"/>
                  <a:gd name="connsiteX12" fmla="*/ 95250 w 95250"/>
                  <a:gd name="connsiteY12" fmla="*/ 209760 h 209759"/>
                  <a:gd name="connsiteX13" fmla="*/ 95250 w 95250"/>
                  <a:gd name="connsiteY13" fmla="*/ 9525 h 209759"/>
                  <a:gd name="connsiteX14" fmla="*/ 85725 w 95250"/>
                  <a:gd name="connsiteY14" fmla="*/ 0 h 209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5250" h="209759">
                    <a:moveTo>
                      <a:pt x="85725" y="0"/>
                    </a:moveTo>
                    <a:cubicBezTo>
                      <a:pt x="80464" y="0"/>
                      <a:pt x="76200" y="4264"/>
                      <a:pt x="76200" y="9525"/>
                    </a:cubicBezTo>
                    <a:lnTo>
                      <a:pt x="76200" y="190710"/>
                    </a:lnTo>
                    <a:lnTo>
                      <a:pt x="57150" y="190710"/>
                    </a:lnTo>
                    <a:lnTo>
                      <a:pt x="57150" y="104775"/>
                    </a:lnTo>
                    <a:lnTo>
                      <a:pt x="38100" y="104775"/>
                    </a:lnTo>
                    <a:lnTo>
                      <a:pt x="38100" y="190710"/>
                    </a:lnTo>
                    <a:lnTo>
                      <a:pt x="19050" y="190710"/>
                    </a:lnTo>
                    <a:lnTo>
                      <a:pt x="19050" y="34452"/>
                    </a:lnTo>
                    <a:cubicBezTo>
                      <a:pt x="19050" y="29191"/>
                      <a:pt x="14786" y="24927"/>
                      <a:pt x="9525" y="24927"/>
                    </a:cubicBezTo>
                    <a:cubicBezTo>
                      <a:pt x="4264" y="24927"/>
                      <a:pt x="0" y="29191"/>
                      <a:pt x="0" y="34452"/>
                    </a:cubicBezTo>
                    <a:lnTo>
                      <a:pt x="0" y="209760"/>
                    </a:lnTo>
                    <a:lnTo>
                      <a:pt x="95250" y="209760"/>
                    </a:lnTo>
                    <a:lnTo>
                      <a:pt x="95250" y="9525"/>
                    </a:lnTo>
                    <a:cubicBezTo>
                      <a:pt x="95250" y="4264"/>
                      <a:pt x="90986" y="0"/>
                      <a:pt x="85725" y="0"/>
                    </a:cubicBezTo>
                    <a:close/>
                  </a:path>
                </a:pathLst>
              </a:custGeom>
              <a:grpFill/>
              <a:ln/>
              <a:effec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B2E3C15A-E0A9-B334-6996-E07CB7B52F5F}"/>
                  </a:ext>
                </a:extLst>
              </p:cNvPr>
              <p:cNvSpPr/>
              <p:nvPr/>
            </p:nvSpPr>
            <p:spPr>
              <a:xfrm>
                <a:off x="10286000" y="1624038"/>
                <a:ext cx="915400" cy="397180"/>
              </a:xfrm>
              <a:custGeom>
                <a:avLst/>
                <a:gdLst>
                  <a:gd name="connsiteX0" fmla="*/ 830929 w 833280"/>
                  <a:gd name="connsiteY0" fmla="*/ 323850 h 361549"/>
                  <a:gd name="connsiteX1" fmla="*/ 800278 w 833280"/>
                  <a:gd name="connsiteY1" fmla="*/ 251136 h 361549"/>
                  <a:gd name="connsiteX2" fmla="*/ 799325 w 833280"/>
                  <a:gd name="connsiteY2" fmla="*/ 249288 h 361549"/>
                  <a:gd name="connsiteX3" fmla="*/ 798182 w 833280"/>
                  <a:gd name="connsiteY3" fmla="*/ 247250 h 361549"/>
                  <a:gd name="connsiteX4" fmla="*/ 747452 w 833280"/>
                  <a:gd name="connsiteY4" fmla="*/ 212255 h 361549"/>
                  <a:gd name="connsiteX5" fmla="*/ 704732 w 833280"/>
                  <a:gd name="connsiteY5" fmla="*/ 212026 h 361549"/>
                  <a:gd name="connsiteX6" fmla="*/ 687587 w 833280"/>
                  <a:gd name="connsiteY6" fmla="*/ 218084 h 361549"/>
                  <a:gd name="connsiteX7" fmla="*/ 629675 w 833280"/>
                  <a:gd name="connsiteY7" fmla="*/ 193272 h 361549"/>
                  <a:gd name="connsiteX8" fmla="*/ 600805 w 833280"/>
                  <a:gd name="connsiteY8" fmla="*/ 39919 h 361549"/>
                  <a:gd name="connsiteX9" fmla="*/ 590918 w 833280"/>
                  <a:gd name="connsiteY9" fmla="*/ 24613 h 361549"/>
                  <a:gd name="connsiteX10" fmla="*/ 550513 w 833280"/>
                  <a:gd name="connsiteY10" fmla="*/ 4896 h 361549"/>
                  <a:gd name="connsiteX11" fmla="*/ 516223 w 833280"/>
                  <a:gd name="connsiteY11" fmla="*/ 19 h 361549"/>
                  <a:gd name="connsiteX12" fmla="*/ 481095 w 833280"/>
                  <a:gd name="connsiteY12" fmla="*/ 4877 h 361549"/>
                  <a:gd name="connsiteX13" fmla="*/ 441033 w 833280"/>
                  <a:gd name="connsiteY13" fmla="*/ 24317 h 361549"/>
                  <a:gd name="connsiteX14" fmla="*/ 430555 w 833280"/>
                  <a:gd name="connsiteY14" fmla="*/ 40596 h 361549"/>
                  <a:gd name="connsiteX15" fmla="*/ 411181 w 833280"/>
                  <a:gd name="connsiteY15" fmla="*/ 152810 h 361549"/>
                  <a:gd name="connsiteX16" fmla="*/ 411086 w 833280"/>
                  <a:gd name="connsiteY16" fmla="*/ 152905 h 361549"/>
                  <a:gd name="connsiteX17" fmla="*/ 410991 w 833280"/>
                  <a:gd name="connsiteY17" fmla="*/ 152810 h 361549"/>
                  <a:gd name="connsiteX18" fmla="*/ 392608 w 833280"/>
                  <a:gd name="connsiteY18" fmla="*/ 39881 h 361549"/>
                  <a:gd name="connsiteX19" fmla="*/ 382730 w 833280"/>
                  <a:gd name="connsiteY19" fmla="*/ 24641 h 361549"/>
                  <a:gd name="connsiteX20" fmla="*/ 342125 w 833280"/>
                  <a:gd name="connsiteY20" fmla="*/ 4820 h 361549"/>
                  <a:gd name="connsiteX21" fmla="*/ 307121 w 833280"/>
                  <a:gd name="connsiteY21" fmla="*/ 0 h 361549"/>
                  <a:gd name="connsiteX22" fmla="*/ 272907 w 833280"/>
                  <a:gd name="connsiteY22" fmla="*/ 4858 h 361549"/>
                  <a:gd name="connsiteX23" fmla="*/ 232435 w 833280"/>
                  <a:gd name="connsiteY23" fmla="*/ 24603 h 361549"/>
                  <a:gd name="connsiteX24" fmla="*/ 222443 w 833280"/>
                  <a:gd name="connsiteY24" fmla="*/ 40443 h 361549"/>
                  <a:gd name="connsiteX25" fmla="*/ 193687 w 833280"/>
                  <a:gd name="connsiteY25" fmla="*/ 193272 h 361549"/>
                  <a:gd name="connsiteX26" fmla="*/ 135776 w 833280"/>
                  <a:gd name="connsiteY26" fmla="*/ 218123 h 361549"/>
                  <a:gd name="connsiteX27" fmla="*/ 119402 w 833280"/>
                  <a:gd name="connsiteY27" fmla="*/ 212293 h 361549"/>
                  <a:gd name="connsiteX28" fmla="*/ 76682 w 833280"/>
                  <a:gd name="connsiteY28" fmla="*/ 212065 h 361549"/>
                  <a:gd name="connsiteX29" fmla="*/ 25714 w 833280"/>
                  <a:gd name="connsiteY29" fmla="*/ 246459 h 361549"/>
                  <a:gd name="connsiteX30" fmla="*/ 24695 w 833280"/>
                  <a:gd name="connsiteY30" fmla="*/ 248222 h 361549"/>
                  <a:gd name="connsiteX31" fmla="*/ 24038 w 833280"/>
                  <a:gd name="connsiteY31" fmla="*/ 249822 h 361549"/>
                  <a:gd name="connsiteX32" fmla="*/ 1635 w 833280"/>
                  <a:gd name="connsiteY32" fmla="*/ 324707 h 361549"/>
                  <a:gd name="connsiteX33" fmla="*/ 3388 w 833280"/>
                  <a:gd name="connsiteY33" fmla="*/ 348053 h 361549"/>
                  <a:gd name="connsiteX34" fmla="*/ 21580 w 833280"/>
                  <a:gd name="connsiteY34" fmla="*/ 361255 h 361549"/>
                  <a:gd name="connsiteX35" fmla="*/ 33158 w 833280"/>
                  <a:gd name="connsiteY35" fmla="*/ 354363 h 361549"/>
                  <a:gd name="connsiteX36" fmla="*/ 26267 w 833280"/>
                  <a:gd name="connsiteY36" fmla="*/ 342786 h 361549"/>
                  <a:gd name="connsiteX37" fmla="*/ 20037 w 833280"/>
                  <a:gd name="connsiteY37" fmla="*/ 338785 h 361549"/>
                  <a:gd name="connsiteX38" fmla="*/ 19856 w 833280"/>
                  <a:gd name="connsiteY38" fmla="*/ 330270 h 361549"/>
                  <a:gd name="connsiteX39" fmla="*/ 41135 w 833280"/>
                  <a:gd name="connsiteY39" fmla="*/ 257575 h 361549"/>
                  <a:gd name="connsiteX40" fmla="*/ 81874 w 833280"/>
                  <a:gd name="connsiteY40" fmla="*/ 230324 h 361549"/>
                  <a:gd name="connsiteX41" fmla="*/ 114163 w 833280"/>
                  <a:gd name="connsiteY41" fmla="*/ 230553 h 361549"/>
                  <a:gd name="connsiteX42" fmla="*/ 130851 w 833280"/>
                  <a:gd name="connsiteY42" fmla="*/ 236963 h 361549"/>
                  <a:gd name="connsiteX43" fmla="*/ 134909 w 833280"/>
                  <a:gd name="connsiteY43" fmla="*/ 239173 h 361549"/>
                  <a:gd name="connsiteX44" fmla="*/ 199907 w 833280"/>
                  <a:gd name="connsiteY44" fmla="*/ 211322 h 361549"/>
                  <a:gd name="connsiteX45" fmla="*/ 211013 w 833280"/>
                  <a:gd name="connsiteY45" fmla="*/ 222418 h 361549"/>
                  <a:gd name="connsiteX46" fmla="*/ 224482 w 833280"/>
                  <a:gd name="connsiteY46" fmla="*/ 222184 h 361549"/>
                  <a:gd name="connsiteX47" fmla="*/ 224482 w 833280"/>
                  <a:gd name="connsiteY47" fmla="*/ 208950 h 361549"/>
                  <a:gd name="connsiteX48" fmla="*/ 212395 w 833280"/>
                  <a:gd name="connsiteY48" fmla="*/ 196844 h 361549"/>
                  <a:gd name="connsiteX49" fmla="*/ 241046 w 833280"/>
                  <a:gd name="connsiteY49" fmla="*/ 44501 h 361549"/>
                  <a:gd name="connsiteX50" fmla="*/ 243903 w 833280"/>
                  <a:gd name="connsiteY50" fmla="*/ 39843 h 361549"/>
                  <a:gd name="connsiteX51" fmla="*/ 277908 w 833280"/>
                  <a:gd name="connsiteY51" fmla="*/ 23251 h 361549"/>
                  <a:gd name="connsiteX52" fmla="*/ 307121 w 833280"/>
                  <a:gd name="connsiteY52" fmla="*/ 19050 h 361549"/>
                  <a:gd name="connsiteX53" fmla="*/ 337334 w 833280"/>
                  <a:gd name="connsiteY53" fmla="*/ 23270 h 361549"/>
                  <a:gd name="connsiteX54" fmla="*/ 371624 w 833280"/>
                  <a:gd name="connsiteY54" fmla="*/ 40053 h 361549"/>
                  <a:gd name="connsiteX55" fmla="*/ 373977 w 833280"/>
                  <a:gd name="connsiteY55" fmla="*/ 43729 h 361549"/>
                  <a:gd name="connsiteX56" fmla="*/ 401399 w 833280"/>
                  <a:gd name="connsiteY56" fmla="*/ 212408 h 361549"/>
                  <a:gd name="connsiteX57" fmla="*/ 410753 w 833280"/>
                  <a:gd name="connsiteY57" fmla="*/ 220409 h 361549"/>
                  <a:gd name="connsiteX58" fmla="*/ 410753 w 833280"/>
                  <a:gd name="connsiteY58" fmla="*/ 220409 h 361549"/>
                  <a:gd name="connsiteX59" fmla="*/ 420144 w 833280"/>
                  <a:gd name="connsiteY59" fmla="*/ 212503 h 361549"/>
                  <a:gd name="connsiteX60" fmla="*/ 449158 w 833280"/>
                  <a:gd name="connsiteY60" fmla="*/ 44501 h 361549"/>
                  <a:gd name="connsiteX61" fmla="*/ 452015 w 833280"/>
                  <a:gd name="connsiteY61" fmla="*/ 39824 h 361549"/>
                  <a:gd name="connsiteX62" fmla="*/ 485838 w 833280"/>
                  <a:gd name="connsiteY62" fmla="*/ 23289 h 361549"/>
                  <a:gd name="connsiteX63" fmla="*/ 516214 w 833280"/>
                  <a:gd name="connsiteY63" fmla="*/ 19050 h 361549"/>
                  <a:gd name="connsiteX64" fmla="*/ 545522 w 833280"/>
                  <a:gd name="connsiteY64" fmla="*/ 23270 h 361549"/>
                  <a:gd name="connsiteX65" fmla="*/ 579460 w 833280"/>
                  <a:gd name="connsiteY65" fmla="*/ 39834 h 361549"/>
                  <a:gd name="connsiteX66" fmla="*/ 582174 w 833280"/>
                  <a:gd name="connsiteY66" fmla="*/ 43967 h 361549"/>
                  <a:gd name="connsiteX67" fmla="*/ 610940 w 833280"/>
                  <a:gd name="connsiteY67" fmla="*/ 196844 h 361549"/>
                  <a:gd name="connsiteX68" fmla="*/ 599386 w 833280"/>
                  <a:gd name="connsiteY68" fmla="*/ 208397 h 361549"/>
                  <a:gd name="connsiteX69" fmla="*/ 599152 w 833280"/>
                  <a:gd name="connsiteY69" fmla="*/ 221866 h 361549"/>
                  <a:gd name="connsiteX70" fmla="*/ 612620 w 833280"/>
                  <a:gd name="connsiteY70" fmla="*/ 222100 h 361549"/>
                  <a:gd name="connsiteX71" fmla="*/ 612854 w 833280"/>
                  <a:gd name="connsiteY71" fmla="*/ 221866 h 361549"/>
                  <a:gd name="connsiteX72" fmla="*/ 623398 w 833280"/>
                  <a:gd name="connsiteY72" fmla="*/ 211322 h 361549"/>
                  <a:gd name="connsiteX73" fmla="*/ 684149 w 833280"/>
                  <a:gd name="connsiteY73" fmla="*/ 237353 h 361549"/>
                  <a:gd name="connsiteX74" fmla="*/ 692721 w 833280"/>
                  <a:gd name="connsiteY74" fmla="*/ 236830 h 361549"/>
                  <a:gd name="connsiteX75" fmla="*/ 709971 w 833280"/>
                  <a:gd name="connsiteY75" fmla="*/ 230324 h 361549"/>
                  <a:gd name="connsiteX76" fmla="*/ 742261 w 833280"/>
                  <a:gd name="connsiteY76" fmla="*/ 230553 h 361549"/>
                  <a:gd name="connsiteX77" fmla="*/ 782504 w 833280"/>
                  <a:gd name="connsiteY77" fmla="*/ 258013 h 361549"/>
                  <a:gd name="connsiteX78" fmla="*/ 813460 w 833280"/>
                  <a:gd name="connsiteY78" fmla="*/ 331451 h 361549"/>
                  <a:gd name="connsiteX79" fmla="*/ 810603 w 833280"/>
                  <a:gd name="connsiteY79" fmla="*/ 342690 h 361549"/>
                  <a:gd name="connsiteX80" fmla="*/ 809905 w 833280"/>
                  <a:gd name="connsiteY80" fmla="*/ 356143 h 361549"/>
                  <a:gd name="connsiteX81" fmla="*/ 822985 w 833280"/>
                  <a:gd name="connsiteY81" fmla="*/ 357159 h 361549"/>
                  <a:gd name="connsiteX82" fmla="*/ 830929 w 833280"/>
                  <a:gd name="connsiteY82" fmla="*/ 323850 h 361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833280" h="361549">
                    <a:moveTo>
                      <a:pt x="830929" y="323850"/>
                    </a:moveTo>
                    <a:lnTo>
                      <a:pt x="800278" y="251136"/>
                    </a:lnTo>
                    <a:lnTo>
                      <a:pt x="799325" y="249288"/>
                    </a:lnTo>
                    <a:cubicBezTo>
                      <a:pt x="799058" y="248793"/>
                      <a:pt x="798420" y="247583"/>
                      <a:pt x="798182" y="247250"/>
                    </a:cubicBezTo>
                    <a:cubicBezTo>
                      <a:pt x="786110" y="229785"/>
                      <a:pt x="768066" y="217338"/>
                      <a:pt x="747452" y="212255"/>
                    </a:cubicBezTo>
                    <a:cubicBezTo>
                      <a:pt x="733485" y="208381"/>
                      <a:pt x="718739" y="208302"/>
                      <a:pt x="704732" y="212026"/>
                    </a:cubicBezTo>
                    <a:cubicBezTo>
                      <a:pt x="698821" y="213439"/>
                      <a:pt x="693074" y="215470"/>
                      <a:pt x="687587" y="218084"/>
                    </a:cubicBezTo>
                    <a:lnTo>
                      <a:pt x="629675" y="193272"/>
                    </a:lnTo>
                    <a:lnTo>
                      <a:pt x="600805" y="39919"/>
                    </a:lnTo>
                    <a:cubicBezTo>
                      <a:pt x="599421" y="33809"/>
                      <a:pt x="595919" y="28386"/>
                      <a:pt x="590918" y="24613"/>
                    </a:cubicBezTo>
                    <a:cubicBezTo>
                      <a:pt x="578821" y="15539"/>
                      <a:pt x="565109" y="8848"/>
                      <a:pt x="550513" y="4896"/>
                    </a:cubicBezTo>
                    <a:cubicBezTo>
                      <a:pt x="539351" y="1754"/>
                      <a:pt x="527819" y="114"/>
                      <a:pt x="516223" y="19"/>
                    </a:cubicBezTo>
                    <a:cubicBezTo>
                      <a:pt x="504359" y="191"/>
                      <a:pt x="492560" y="1822"/>
                      <a:pt x="481095" y="4877"/>
                    </a:cubicBezTo>
                    <a:cubicBezTo>
                      <a:pt x="466634" y="8773"/>
                      <a:pt x="453042" y="15369"/>
                      <a:pt x="441033" y="24317"/>
                    </a:cubicBezTo>
                    <a:cubicBezTo>
                      <a:pt x="435780" y="28384"/>
                      <a:pt x="432081" y="34130"/>
                      <a:pt x="430555" y="40596"/>
                    </a:cubicBezTo>
                    <a:lnTo>
                      <a:pt x="411181" y="152810"/>
                    </a:lnTo>
                    <a:cubicBezTo>
                      <a:pt x="411181" y="152862"/>
                      <a:pt x="411138" y="152905"/>
                      <a:pt x="411086" y="152905"/>
                    </a:cubicBezTo>
                    <a:cubicBezTo>
                      <a:pt x="411034" y="152905"/>
                      <a:pt x="410991" y="152862"/>
                      <a:pt x="410991" y="152810"/>
                    </a:cubicBezTo>
                    <a:lnTo>
                      <a:pt x="392608" y="39881"/>
                    </a:lnTo>
                    <a:cubicBezTo>
                      <a:pt x="391069" y="33858"/>
                      <a:pt x="387600" y="28505"/>
                      <a:pt x="382730" y="24641"/>
                    </a:cubicBezTo>
                    <a:cubicBezTo>
                      <a:pt x="370575" y="15517"/>
                      <a:pt x="356796" y="8791"/>
                      <a:pt x="342125" y="4820"/>
                    </a:cubicBezTo>
                    <a:cubicBezTo>
                      <a:pt x="330699" y="1784"/>
                      <a:pt x="318942" y="166"/>
                      <a:pt x="307121" y="0"/>
                    </a:cubicBezTo>
                    <a:cubicBezTo>
                      <a:pt x="295552" y="95"/>
                      <a:pt x="284045" y="1729"/>
                      <a:pt x="272907" y="4858"/>
                    </a:cubicBezTo>
                    <a:cubicBezTo>
                      <a:pt x="258286" y="8813"/>
                      <a:pt x="244552" y="15514"/>
                      <a:pt x="232435" y="24603"/>
                    </a:cubicBezTo>
                    <a:cubicBezTo>
                      <a:pt x="227312" y="28513"/>
                      <a:pt x="223766" y="34135"/>
                      <a:pt x="222443" y="40443"/>
                    </a:cubicBezTo>
                    <a:lnTo>
                      <a:pt x="193687" y="193272"/>
                    </a:lnTo>
                    <a:lnTo>
                      <a:pt x="135776" y="218123"/>
                    </a:lnTo>
                    <a:cubicBezTo>
                      <a:pt x="130541" y="215603"/>
                      <a:pt x="125051" y="213650"/>
                      <a:pt x="119402" y="212293"/>
                    </a:cubicBezTo>
                    <a:cubicBezTo>
                      <a:pt x="105436" y="208419"/>
                      <a:pt x="90689" y="208340"/>
                      <a:pt x="76682" y="212065"/>
                    </a:cubicBezTo>
                    <a:cubicBezTo>
                      <a:pt x="56103" y="217011"/>
                      <a:pt x="38002" y="229225"/>
                      <a:pt x="25714" y="246459"/>
                    </a:cubicBezTo>
                    <a:cubicBezTo>
                      <a:pt x="25317" y="247012"/>
                      <a:pt x="24975" y="247601"/>
                      <a:pt x="24695" y="248222"/>
                    </a:cubicBezTo>
                    <a:cubicBezTo>
                      <a:pt x="24495" y="248745"/>
                      <a:pt x="24038" y="249822"/>
                      <a:pt x="24038" y="249822"/>
                    </a:cubicBezTo>
                    <a:lnTo>
                      <a:pt x="1635" y="324707"/>
                    </a:lnTo>
                    <a:cubicBezTo>
                      <a:pt x="-1045" y="332395"/>
                      <a:pt x="-410" y="340851"/>
                      <a:pt x="3388" y="348053"/>
                    </a:cubicBezTo>
                    <a:cubicBezTo>
                      <a:pt x="7306" y="354834"/>
                      <a:pt x="13919" y="359632"/>
                      <a:pt x="21580" y="361255"/>
                    </a:cubicBezTo>
                    <a:cubicBezTo>
                      <a:pt x="26680" y="362549"/>
                      <a:pt x="31864" y="359463"/>
                      <a:pt x="33158" y="354363"/>
                    </a:cubicBezTo>
                    <a:cubicBezTo>
                      <a:pt x="34452" y="349264"/>
                      <a:pt x="31367" y="344080"/>
                      <a:pt x="26267" y="342786"/>
                    </a:cubicBezTo>
                    <a:cubicBezTo>
                      <a:pt x="23725" y="342373"/>
                      <a:pt x="21469" y="340925"/>
                      <a:pt x="20037" y="338785"/>
                    </a:cubicBezTo>
                    <a:cubicBezTo>
                      <a:pt x="18853" y="336082"/>
                      <a:pt x="18788" y="333021"/>
                      <a:pt x="19856" y="330270"/>
                    </a:cubicBezTo>
                    <a:lnTo>
                      <a:pt x="41135" y="257575"/>
                    </a:lnTo>
                    <a:cubicBezTo>
                      <a:pt x="50943" y="243833"/>
                      <a:pt x="65429" y="234144"/>
                      <a:pt x="81874" y="230324"/>
                    </a:cubicBezTo>
                    <a:cubicBezTo>
                      <a:pt x="92458" y="227467"/>
                      <a:pt x="103620" y="227546"/>
                      <a:pt x="114163" y="230553"/>
                    </a:cubicBezTo>
                    <a:cubicBezTo>
                      <a:pt x="119983" y="231949"/>
                      <a:pt x="125593" y="234105"/>
                      <a:pt x="130851" y="236963"/>
                    </a:cubicBezTo>
                    <a:lnTo>
                      <a:pt x="134909" y="239173"/>
                    </a:lnTo>
                    <a:lnTo>
                      <a:pt x="199907" y="211322"/>
                    </a:lnTo>
                    <a:lnTo>
                      <a:pt x="211013" y="222418"/>
                    </a:lnTo>
                    <a:cubicBezTo>
                      <a:pt x="214798" y="226073"/>
                      <a:pt x="220827" y="225968"/>
                      <a:pt x="224482" y="222184"/>
                    </a:cubicBezTo>
                    <a:cubicBezTo>
                      <a:pt x="228047" y="218493"/>
                      <a:pt x="228047" y="212641"/>
                      <a:pt x="224482" y="208950"/>
                    </a:cubicBezTo>
                    <a:lnTo>
                      <a:pt x="212395" y="196844"/>
                    </a:lnTo>
                    <a:lnTo>
                      <a:pt x="241046" y="44501"/>
                    </a:lnTo>
                    <a:cubicBezTo>
                      <a:pt x="241395" y="42651"/>
                      <a:pt x="242413" y="40994"/>
                      <a:pt x="243903" y="39843"/>
                    </a:cubicBezTo>
                    <a:cubicBezTo>
                      <a:pt x="254085" y="32208"/>
                      <a:pt x="265624" y="26577"/>
                      <a:pt x="277908" y="23251"/>
                    </a:cubicBezTo>
                    <a:cubicBezTo>
                      <a:pt x="287416" y="20563"/>
                      <a:pt x="297239" y="19150"/>
                      <a:pt x="307121" y="19050"/>
                    </a:cubicBezTo>
                    <a:cubicBezTo>
                      <a:pt x="317327" y="19216"/>
                      <a:pt x="327474" y="20632"/>
                      <a:pt x="337334" y="23270"/>
                    </a:cubicBezTo>
                    <a:cubicBezTo>
                      <a:pt x="349727" y="26633"/>
                      <a:pt x="361366" y="32329"/>
                      <a:pt x="371624" y="40053"/>
                    </a:cubicBezTo>
                    <a:cubicBezTo>
                      <a:pt x="372625" y="41125"/>
                      <a:pt x="373422" y="42371"/>
                      <a:pt x="373977" y="43729"/>
                    </a:cubicBezTo>
                    <a:lnTo>
                      <a:pt x="401399" y="212408"/>
                    </a:lnTo>
                    <a:cubicBezTo>
                      <a:pt x="402144" y="217001"/>
                      <a:pt x="406099" y="220385"/>
                      <a:pt x="410753" y="220409"/>
                    </a:cubicBezTo>
                    <a:lnTo>
                      <a:pt x="410753" y="220409"/>
                    </a:lnTo>
                    <a:cubicBezTo>
                      <a:pt x="415390" y="220411"/>
                      <a:pt x="419356" y="217073"/>
                      <a:pt x="420144" y="212503"/>
                    </a:cubicBezTo>
                    <a:lnTo>
                      <a:pt x="449158" y="44501"/>
                    </a:lnTo>
                    <a:cubicBezTo>
                      <a:pt x="449686" y="42720"/>
                      <a:pt x="450671" y="41108"/>
                      <a:pt x="452015" y="39824"/>
                    </a:cubicBezTo>
                    <a:cubicBezTo>
                      <a:pt x="462140" y="32219"/>
                      <a:pt x="473618" y="26607"/>
                      <a:pt x="485838" y="23289"/>
                    </a:cubicBezTo>
                    <a:cubicBezTo>
                      <a:pt x="495751" y="20635"/>
                      <a:pt x="505953" y="19211"/>
                      <a:pt x="516214" y="19050"/>
                    </a:cubicBezTo>
                    <a:cubicBezTo>
                      <a:pt x="526127" y="19148"/>
                      <a:pt x="535984" y="20567"/>
                      <a:pt x="545522" y="23270"/>
                    </a:cubicBezTo>
                    <a:cubicBezTo>
                      <a:pt x="557782" y="26592"/>
                      <a:pt x="569298" y="32214"/>
                      <a:pt x="579460" y="39834"/>
                    </a:cubicBezTo>
                    <a:cubicBezTo>
                      <a:pt x="580816" y="40856"/>
                      <a:pt x="581775" y="42317"/>
                      <a:pt x="582174" y="43967"/>
                    </a:cubicBezTo>
                    <a:lnTo>
                      <a:pt x="610940" y="196844"/>
                    </a:lnTo>
                    <a:lnTo>
                      <a:pt x="599386" y="208397"/>
                    </a:lnTo>
                    <a:cubicBezTo>
                      <a:pt x="595602" y="212052"/>
                      <a:pt x="595497" y="218082"/>
                      <a:pt x="599152" y="221866"/>
                    </a:cubicBezTo>
                    <a:cubicBezTo>
                      <a:pt x="602806" y="225650"/>
                      <a:pt x="608837" y="225755"/>
                      <a:pt x="612620" y="222100"/>
                    </a:cubicBezTo>
                    <a:cubicBezTo>
                      <a:pt x="612700" y="222023"/>
                      <a:pt x="612778" y="221945"/>
                      <a:pt x="612854" y="221866"/>
                    </a:cubicBezTo>
                    <a:lnTo>
                      <a:pt x="623398" y="211322"/>
                    </a:lnTo>
                    <a:lnTo>
                      <a:pt x="684149" y="237353"/>
                    </a:lnTo>
                    <a:cubicBezTo>
                      <a:pt x="686936" y="238502"/>
                      <a:pt x="690095" y="238310"/>
                      <a:pt x="692721" y="236830"/>
                    </a:cubicBezTo>
                    <a:cubicBezTo>
                      <a:pt x="698167" y="233925"/>
                      <a:pt x="703965" y="231738"/>
                      <a:pt x="709971" y="230324"/>
                    </a:cubicBezTo>
                    <a:cubicBezTo>
                      <a:pt x="720555" y="227467"/>
                      <a:pt x="731718" y="227546"/>
                      <a:pt x="742261" y="230553"/>
                    </a:cubicBezTo>
                    <a:cubicBezTo>
                      <a:pt x="758584" y="234472"/>
                      <a:pt x="772903" y="244243"/>
                      <a:pt x="782504" y="258013"/>
                    </a:cubicBezTo>
                    <a:lnTo>
                      <a:pt x="813460" y="331451"/>
                    </a:lnTo>
                    <a:cubicBezTo>
                      <a:pt x="815100" y="335417"/>
                      <a:pt x="813937" y="339989"/>
                      <a:pt x="810603" y="342690"/>
                    </a:cubicBezTo>
                    <a:cubicBezTo>
                      <a:pt x="806696" y="346213"/>
                      <a:pt x="806382" y="352235"/>
                      <a:pt x="809905" y="356143"/>
                    </a:cubicBezTo>
                    <a:cubicBezTo>
                      <a:pt x="813299" y="359909"/>
                      <a:pt x="819049" y="360356"/>
                      <a:pt x="822985" y="357159"/>
                    </a:cubicBezTo>
                    <a:cubicBezTo>
                      <a:pt x="832729" y="349047"/>
                      <a:pt x="835964" y="335486"/>
                      <a:pt x="830929" y="323850"/>
                    </a:cubicBezTo>
                    <a:close/>
                  </a:path>
                </a:pathLst>
              </a:custGeom>
              <a:grpFill/>
              <a:ln/>
              <a:effec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9CC4F5D1-7CCE-9258-1ABE-4B50B389259F}"/>
                  </a:ext>
                </a:extLst>
              </p:cNvPr>
              <p:cNvSpPr/>
              <p:nvPr/>
            </p:nvSpPr>
            <p:spPr>
              <a:xfrm>
                <a:off x="10570808" y="1498474"/>
                <a:ext cx="104637" cy="104637"/>
              </a:xfrm>
              <a:custGeom>
                <a:avLst/>
                <a:gdLst>
                  <a:gd name="connsiteX0" fmla="*/ 47625 w 95250"/>
                  <a:gd name="connsiteY0" fmla="*/ 95250 h 95250"/>
                  <a:gd name="connsiteX1" fmla="*/ 95250 w 95250"/>
                  <a:gd name="connsiteY1" fmla="*/ 47625 h 95250"/>
                  <a:gd name="connsiteX2" fmla="*/ 47625 w 95250"/>
                  <a:gd name="connsiteY2" fmla="*/ 0 h 95250"/>
                  <a:gd name="connsiteX3" fmla="*/ 0 w 95250"/>
                  <a:gd name="connsiteY3" fmla="*/ 47625 h 95250"/>
                  <a:gd name="connsiteX4" fmla="*/ 47625 w 95250"/>
                  <a:gd name="connsiteY4" fmla="*/ 95250 h 95250"/>
                  <a:gd name="connsiteX5" fmla="*/ 47625 w 95250"/>
                  <a:gd name="connsiteY5" fmla="*/ 19050 h 95250"/>
                  <a:gd name="connsiteX6" fmla="*/ 76200 w 95250"/>
                  <a:gd name="connsiteY6" fmla="*/ 47625 h 95250"/>
                  <a:gd name="connsiteX7" fmla="*/ 47625 w 95250"/>
                  <a:gd name="connsiteY7" fmla="*/ 76200 h 95250"/>
                  <a:gd name="connsiteX8" fmla="*/ 19050 w 95250"/>
                  <a:gd name="connsiteY8" fmla="*/ 47625 h 95250"/>
                  <a:gd name="connsiteX9" fmla="*/ 47625 w 95250"/>
                  <a:gd name="connsiteY9" fmla="*/ 190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95250">
                    <a:moveTo>
                      <a:pt x="47625" y="95250"/>
                    </a:moveTo>
                    <a:cubicBezTo>
                      <a:pt x="73927" y="95250"/>
                      <a:pt x="95250" y="73927"/>
                      <a:pt x="95250" y="47625"/>
                    </a:cubicBezTo>
                    <a:cubicBezTo>
                      <a:pt x="95250" y="21323"/>
                      <a:pt x="73927" y="0"/>
                      <a:pt x="47625" y="0"/>
                    </a:cubicBezTo>
                    <a:cubicBezTo>
                      <a:pt x="21323" y="0"/>
                      <a:pt x="0" y="21323"/>
                      <a:pt x="0" y="47625"/>
                    </a:cubicBezTo>
                    <a:cubicBezTo>
                      <a:pt x="31" y="73915"/>
                      <a:pt x="21335" y="95219"/>
                      <a:pt x="47625" y="95250"/>
                    </a:cubicBezTo>
                    <a:close/>
                    <a:moveTo>
                      <a:pt x="47625" y="19050"/>
                    </a:moveTo>
                    <a:cubicBezTo>
                      <a:pt x="63407" y="19050"/>
                      <a:pt x="76200" y="31843"/>
                      <a:pt x="76200" y="47625"/>
                    </a:cubicBezTo>
                    <a:cubicBezTo>
                      <a:pt x="76200" y="63407"/>
                      <a:pt x="63407" y="76200"/>
                      <a:pt x="47625" y="76200"/>
                    </a:cubicBezTo>
                    <a:cubicBezTo>
                      <a:pt x="31843" y="76200"/>
                      <a:pt x="19050" y="63407"/>
                      <a:pt x="19050" y="47625"/>
                    </a:cubicBezTo>
                    <a:cubicBezTo>
                      <a:pt x="19050" y="31843"/>
                      <a:pt x="31843" y="19050"/>
                      <a:pt x="47625" y="19050"/>
                    </a:cubicBezTo>
                    <a:close/>
                  </a:path>
                </a:pathLst>
              </a:custGeom>
              <a:grpFill/>
              <a:ln/>
              <a:effec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9834F15-4EBD-811B-98AA-9C4E1F4B2CC4}"/>
                  </a:ext>
                </a:extLst>
              </p:cNvPr>
              <p:cNvSpPr/>
              <p:nvPr/>
            </p:nvSpPr>
            <p:spPr>
              <a:xfrm>
                <a:off x="10801009" y="1498474"/>
                <a:ext cx="104637" cy="104637"/>
              </a:xfrm>
              <a:custGeom>
                <a:avLst/>
                <a:gdLst>
                  <a:gd name="connsiteX0" fmla="*/ 47625 w 95250"/>
                  <a:gd name="connsiteY0" fmla="*/ 95250 h 95250"/>
                  <a:gd name="connsiteX1" fmla="*/ 95250 w 95250"/>
                  <a:gd name="connsiteY1" fmla="*/ 47625 h 95250"/>
                  <a:gd name="connsiteX2" fmla="*/ 47625 w 95250"/>
                  <a:gd name="connsiteY2" fmla="*/ 0 h 95250"/>
                  <a:gd name="connsiteX3" fmla="*/ 0 w 95250"/>
                  <a:gd name="connsiteY3" fmla="*/ 47625 h 95250"/>
                  <a:gd name="connsiteX4" fmla="*/ 47625 w 95250"/>
                  <a:gd name="connsiteY4" fmla="*/ 95250 h 95250"/>
                  <a:gd name="connsiteX5" fmla="*/ 47625 w 95250"/>
                  <a:gd name="connsiteY5" fmla="*/ 19050 h 95250"/>
                  <a:gd name="connsiteX6" fmla="*/ 76200 w 95250"/>
                  <a:gd name="connsiteY6" fmla="*/ 47625 h 95250"/>
                  <a:gd name="connsiteX7" fmla="*/ 47625 w 95250"/>
                  <a:gd name="connsiteY7" fmla="*/ 76200 h 95250"/>
                  <a:gd name="connsiteX8" fmla="*/ 19050 w 95250"/>
                  <a:gd name="connsiteY8" fmla="*/ 47625 h 95250"/>
                  <a:gd name="connsiteX9" fmla="*/ 47625 w 95250"/>
                  <a:gd name="connsiteY9" fmla="*/ 190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5250" h="95250">
                    <a:moveTo>
                      <a:pt x="47625" y="95250"/>
                    </a:moveTo>
                    <a:cubicBezTo>
                      <a:pt x="73927" y="95250"/>
                      <a:pt x="95250" y="73927"/>
                      <a:pt x="95250" y="47625"/>
                    </a:cubicBezTo>
                    <a:cubicBezTo>
                      <a:pt x="95250" y="21323"/>
                      <a:pt x="73927" y="0"/>
                      <a:pt x="47625" y="0"/>
                    </a:cubicBezTo>
                    <a:cubicBezTo>
                      <a:pt x="21323" y="0"/>
                      <a:pt x="0" y="21323"/>
                      <a:pt x="0" y="47625"/>
                    </a:cubicBezTo>
                    <a:cubicBezTo>
                      <a:pt x="31" y="73915"/>
                      <a:pt x="21335" y="95219"/>
                      <a:pt x="47625" y="95250"/>
                    </a:cubicBezTo>
                    <a:close/>
                    <a:moveTo>
                      <a:pt x="47625" y="19050"/>
                    </a:moveTo>
                    <a:cubicBezTo>
                      <a:pt x="63407" y="19050"/>
                      <a:pt x="76200" y="31843"/>
                      <a:pt x="76200" y="47625"/>
                    </a:cubicBezTo>
                    <a:cubicBezTo>
                      <a:pt x="76200" y="63407"/>
                      <a:pt x="63407" y="76200"/>
                      <a:pt x="47625" y="76200"/>
                    </a:cubicBezTo>
                    <a:cubicBezTo>
                      <a:pt x="31843" y="76200"/>
                      <a:pt x="19050" y="63407"/>
                      <a:pt x="19050" y="47625"/>
                    </a:cubicBezTo>
                    <a:cubicBezTo>
                      <a:pt x="19050" y="31843"/>
                      <a:pt x="31843" y="19050"/>
                      <a:pt x="47625" y="19050"/>
                    </a:cubicBezTo>
                    <a:close/>
                  </a:path>
                </a:pathLst>
              </a:custGeom>
              <a:grpFill/>
              <a:ln/>
              <a:effec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82B223F2-989F-46DC-B558-0C3652131D1E}"/>
                  </a:ext>
                </a:extLst>
              </p:cNvPr>
              <p:cNvSpPr/>
              <p:nvPr/>
            </p:nvSpPr>
            <p:spPr>
              <a:xfrm>
                <a:off x="10351070" y="1760066"/>
                <a:ext cx="83710" cy="83710"/>
              </a:xfrm>
              <a:custGeom>
                <a:avLst/>
                <a:gdLst>
                  <a:gd name="connsiteX0" fmla="*/ 38100 w 76200"/>
                  <a:gd name="connsiteY0" fmla="*/ 76200 h 76200"/>
                  <a:gd name="connsiteX1" fmla="*/ 76200 w 76200"/>
                  <a:gd name="connsiteY1" fmla="*/ 38100 h 76200"/>
                  <a:gd name="connsiteX2" fmla="*/ 38100 w 76200"/>
                  <a:gd name="connsiteY2" fmla="*/ 0 h 76200"/>
                  <a:gd name="connsiteX3" fmla="*/ 0 w 76200"/>
                  <a:gd name="connsiteY3" fmla="*/ 38100 h 76200"/>
                  <a:gd name="connsiteX4" fmla="*/ 38100 w 76200"/>
                  <a:gd name="connsiteY4" fmla="*/ 76200 h 76200"/>
                  <a:gd name="connsiteX5" fmla="*/ 38100 w 76200"/>
                  <a:gd name="connsiteY5" fmla="*/ 19050 h 76200"/>
                  <a:gd name="connsiteX6" fmla="*/ 57150 w 76200"/>
                  <a:gd name="connsiteY6" fmla="*/ 38100 h 76200"/>
                  <a:gd name="connsiteX7" fmla="*/ 38100 w 76200"/>
                  <a:gd name="connsiteY7" fmla="*/ 57150 h 76200"/>
                  <a:gd name="connsiteX8" fmla="*/ 19050 w 76200"/>
                  <a:gd name="connsiteY8" fmla="*/ 38100 h 76200"/>
                  <a:gd name="connsiteX9" fmla="*/ 38100 w 76200"/>
                  <a:gd name="connsiteY9" fmla="*/ 1905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" h="76200">
                    <a:moveTo>
                      <a:pt x="38100" y="76200"/>
                    </a:moveTo>
                    <a:cubicBezTo>
                      <a:pt x="59142" y="76200"/>
                      <a:pt x="76200" y="59142"/>
                      <a:pt x="76200" y="38100"/>
                    </a:cubicBezTo>
                    <a:cubicBezTo>
                      <a:pt x="76200" y="17058"/>
                      <a:pt x="59142" y="0"/>
                      <a:pt x="38100" y="0"/>
                    </a:cubicBezTo>
                    <a:cubicBezTo>
                      <a:pt x="17058" y="0"/>
                      <a:pt x="0" y="17058"/>
                      <a:pt x="0" y="38100"/>
                    </a:cubicBezTo>
                    <a:cubicBezTo>
                      <a:pt x="0" y="59142"/>
                      <a:pt x="17058" y="76200"/>
                      <a:pt x="38100" y="76200"/>
                    </a:cubicBezTo>
                    <a:close/>
                    <a:moveTo>
                      <a:pt x="38100" y="19050"/>
                    </a:moveTo>
                    <a:cubicBezTo>
                      <a:pt x="48621" y="19050"/>
                      <a:pt x="57150" y="27579"/>
                      <a:pt x="57150" y="38100"/>
                    </a:cubicBezTo>
                    <a:cubicBezTo>
                      <a:pt x="57150" y="48621"/>
                      <a:pt x="48621" y="57150"/>
                      <a:pt x="38100" y="57150"/>
                    </a:cubicBezTo>
                    <a:cubicBezTo>
                      <a:pt x="27579" y="57150"/>
                      <a:pt x="19050" y="48621"/>
                      <a:pt x="19050" y="38100"/>
                    </a:cubicBezTo>
                    <a:cubicBezTo>
                      <a:pt x="19050" y="27579"/>
                      <a:pt x="27579" y="19050"/>
                      <a:pt x="38100" y="19050"/>
                    </a:cubicBezTo>
                    <a:close/>
                  </a:path>
                </a:pathLst>
              </a:custGeom>
              <a:grpFill/>
              <a:ln/>
              <a:effec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C4246F11-C962-91BD-C67D-BACBBE2CDDDD}"/>
                  </a:ext>
                </a:extLst>
              </p:cNvPr>
              <p:cNvSpPr/>
              <p:nvPr/>
            </p:nvSpPr>
            <p:spPr>
              <a:xfrm>
                <a:off x="11041674" y="1760066"/>
                <a:ext cx="83710" cy="83710"/>
              </a:xfrm>
              <a:custGeom>
                <a:avLst/>
                <a:gdLst>
                  <a:gd name="connsiteX0" fmla="*/ 38100 w 76200"/>
                  <a:gd name="connsiteY0" fmla="*/ 76200 h 76200"/>
                  <a:gd name="connsiteX1" fmla="*/ 76200 w 76200"/>
                  <a:gd name="connsiteY1" fmla="*/ 38100 h 76200"/>
                  <a:gd name="connsiteX2" fmla="*/ 38100 w 76200"/>
                  <a:gd name="connsiteY2" fmla="*/ 0 h 76200"/>
                  <a:gd name="connsiteX3" fmla="*/ 0 w 76200"/>
                  <a:gd name="connsiteY3" fmla="*/ 38100 h 76200"/>
                  <a:gd name="connsiteX4" fmla="*/ 38100 w 76200"/>
                  <a:gd name="connsiteY4" fmla="*/ 76200 h 76200"/>
                  <a:gd name="connsiteX5" fmla="*/ 38100 w 76200"/>
                  <a:gd name="connsiteY5" fmla="*/ 19050 h 76200"/>
                  <a:gd name="connsiteX6" fmla="*/ 57150 w 76200"/>
                  <a:gd name="connsiteY6" fmla="*/ 38100 h 76200"/>
                  <a:gd name="connsiteX7" fmla="*/ 38100 w 76200"/>
                  <a:gd name="connsiteY7" fmla="*/ 57150 h 76200"/>
                  <a:gd name="connsiteX8" fmla="*/ 19050 w 76200"/>
                  <a:gd name="connsiteY8" fmla="*/ 38100 h 76200"/>
                  <a:gd name="connsiteX9" fmla="*/ 38100 w 76200"/>
                  <a:gd name="connsiteY9" fmla="*/ 1905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" h="76200">
                    <a:moveTo>
                      <a:pt x="38100" y="76200"/>
                    </a:moveTo>
                    <a:cubicBezTo>
                      <a:pt x="59142" y="76200"/>
                      <a:pt x="76200" y="59142"/>
                      <a:pt x="76200" y="38100"/>
                    </a:cubicBezTo>
                    <a:cubicBezTo>
                      <a:pt x="76200" y="17058"/>
                      <a:pt x="59142" y="0"/>
                      <a:pt x="38100" y="0"/>
                    </a:cubicBezTo>
                    <a:cubicBezTo>
                      <a:pt x="17058" y="0"/>
                      <a:pt x="0" y="17058"/>
                      <a:pt x="0" y="38100"/>
                    </a:cubicBezTo>
                    <a:cubicBezTo>
                      <a:pt x="0" y="59142"/>
                      <a:pt x="17058" y="76200"/>
                      <a:pt x="38100" y="76200"/>
                    </a:cubicBezTo>
                    <a:close/>
                    <a:moveTo>
                      <a:pt x="38100" y="19050"/>
                    </a:moveTo>
                    <a:cubicBezTo>
                      <a:pt x="48621" y="19050"/>
                      <a:pt x="57150" y="27579"/>
                      <a:pt x="57150" y="38100"/>
                    </a:cubicBezTo>
                    <a:cubicBezTo>
                      <a:pt x="57150" y="48621"/>
                      <a:pt x="48621" y="57150"/>
                      <a:pt x="38100" y="57150"/>
                    </a:cubicBezTo>
                    <a:cubicBezTo>
                      <a:pt x="27579" y="57150"/>
                      <a:pt x="19050" y="48621"/>
                      <a:pt x="19050" y="38100"/>
                    </a:cubicBezTo>
                    <a:cubicBezTo>
                      <a:pt x="19050" y="27579"/>
                      <a:pt x="27579" y="19050"/>
                      <a:pt x="38100" y="19050"/>
                    </a:cubicBezTo>
                    <a:close/>
                  </a:path>
                </a:pathLst>
              </a:custGeom>
              <a:grpFill/>
              <a:ln/>
              <a:effec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FC0AA856-5132-1EEE-CC82-7F6A38DA8A36}"/>
                </a:ext>
              </a:extLst>
            </p:cNvPr>
            <p:cNvGrpSpPr/>
            <p:nvPr/>
          </p:nvGrpSpPr>
          <p:grpSpPr>
            <a:xfrm>
              <a:off x="5794460" y="1780472"/>
              <a:ext cx="687640" cy="625328"/>
              <a:chOff x="5588640" y="1488208"/>
              <a:chExt cx="762000" cy="644547"/>
            </a:xfrm>
            <a:solidFill>
              <a:srgbClr val="3D6C89"/>
            </a:solidFill>
          </p:grpSpPr>
          <p:sp>
            <p:nvSpPr>
              <p:cNvPr id="49" name="Freeform 63">
                <a:extLst>
                  <a:ext uri="{FF2B5EF4-FFF2-40B4-BE49-F238E27FC236}">
                    <a16:creationId xmlns:a16="http://schemas.microsoft.com/office/drawing/2014/main" id="{1D8A00EA-5C0D-218C-0848-4730A4D0A4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8640" y="1488208"/>
                <a:ext cx="653140" cy="644547"/>
              </a:xfrm>
              <a:custGeom>
                <a:avLst/>
                <a:gdLst>
                  <a:gd name="T0" fmla="*/ 978 w 988"/>
                  <a:gd name="T1" fmla="*/ 484 h 988"/>
                  <a:gd name="T2" fmla="*/ 969 w 988"/>
                  <a:gd name="T3" fmla="*/ 494 h 988"/>
                  <a:gd name="T4" fmla="*/ 964 w 988"/>
                  <a:gd name="T5" fmla="*/ 564 h 988"/>
                  <a:gd name="T6" fmla="*/ 494 w 988"/>
                  <a:gd name="T7" fmla="*/ 969 h 988"/>
                  <a:gd name="T8" fmla="*/ 20 w 988"/>
                  <a:gd name="T9" fmla="*/ 494 h 988"/>
                  <a:gd name="T10" fmla="*/ 494 w 988"/>
                  <a:gd name="T11" fmla="*/ 19 h 988"/>
                  <a:gd name="T12" fmla="*/ 746 w 988"/>
                  <a:gd name="T13" fmla="*/ 92 h 988"/>
                  <a:gd name="T14" fmla="*/ 759 w 988"/>
                  <a:gd name="T15" fmla="*/ 88 h 988"/>
                  <a:gd name="T16" fmla="*/ 756 w 988"/>
                  <a:gd name="T17" fmla="*/ 75 h 988"/>
                  <a:gd name="T18" fmla="*/ 494 w 988"/>
                  <a:gd name="T19" fmla="*/ 0 h 988"/>
                  <a:gd name="T20" fmla="*/ 0 w 988"/>
                  <a:gd name="T21" fmla="*/ 494 h 988"/>
                  <a:gd name="T22" fmla="*/ 494 w 988"/>
                  <a:gd name="T23" fmla="*/ 988 h 988"/>
                  <a:gd name="T24" fmla="*/ 983 w 988"/>
                  <a:gd name="T25" fmla="*/ 567 h 988"/>
                  <a:gd name="T26" fmla="*/ 988 w 988"/>
                  <a:gd name="T27" fmla="*/ 494 h 988"/>
                  <a:gd name="T28" fmla="*/ 979 w 988"/>
                  <a:gd name="T29" fmla="*/ 484 h 988"/>
                  <a:gd name="T30" fmla="*/ 978 w 988"/>
                  <a:gd name="T31" fmla="*/ 484 h 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88" h="988">
                    <a:moveTo>
                      <a:pt x="978" y="484"/>
                    </a:moveTo>
                    <a:cubicBezTo>
                      <a:pt x="973" y="484"/>
                      <a:pt x="969" y="489"/>
                      <a:pt x="969" y="494"/>
                    </a:cubicBezTo>
                    <a:cubicBezTo>
                      <a:pt x="969" y="518"/>
                      <a:pt x="967" y="541"/>
                      <a:pt x="964" y="564"/>
                    </a:cubicBezTo>
                    <a:cubicBezTo>
                      <a:pt x="930" y="795"/>
                      <a:pt x="728" y="969"/>
                      <a:pt x="494" y="969"/>
                    </a:cubicBezTo>
                    <a:cubicBezTo>
                      <a:pt x="233" y="969"/>
                      <a:pt x="20" y="756"/>
                      <a:pt x="20" y="494"/>
                    </a:cubicBezTo>
                    <a:cubicBezTo>
                      <a:pt x="20" y="232"/>
                      <a:pt x="233" y="19"/>
                      <a:pt x="494" y="19"/>
                    </a:cubicBezTo>
                    <a:cubicBezTo>
                      <a:pt x="583" y="19"/>
                      <a:pt x="670" y="44"/>
                      <a:pt x="746" y="92"/>
                    </a:cubicBezTo>
                    <a:cubicBezTo>
                      <a:pt x="751" y="94"/>
                      <a:pt x="756" y="92"/>
                      <a:pt x="759" y="88"/>
                    </a:cubicBezTo>
                    <a:cubicBezTo>
                      <a:pt x="761" y="83"/>
                      <a:pt x="760" y="78"/>
                      <a:pt x="756" y="75"/>
                    </a:cubicBezTo>
                    <a:cubicBezTo>
                      <a:pt x="678" y="26"/>
                      <a:pt x="587" y="0"/>
                      <a:pt x="494" y="0"/>
                    </a:cubicBezTo>
                    <a:cubicBezTo>
                      <a:pt x="222" y="0"/>
                      <a:pt x="0" y="222"/>
                      <a:pt x="0" y="494"/>
                    </a:cubicBezTo>
                    <a:cubicBezTo>
                      <a:pt x="0" y="766"/>
                      <a:pt x="222" y="988"/>
                      <a:pt x="494" y="988"/>
                    </a:cubicBezTo>
                    <a:cubicBezTo>
                      <a:pt x="737" y="988"/>
                      <a:pt x="947" y="807"/>
                      <a:pt x="983" y="567"/>
                    </a:cubicBezTo>
                    <a:cubicBezTo>
                      <a:pt x="986" y="543"/>
                      <a:pt x="988" y="519"/>
                      <a:pt x="988" y="494"/>
                    </a:cubicBezTo>
                    <a:cubicBezTo>
                      <a:pt x="988" y="489"/>
                      <a:pt x="984" y="484"/>
                      <a:pt x="979" y="484"/>
                    </a:cubicBezTo>
                    <a:lnTo>
                      <a:pt x="978" y="484"/>
                    </a:lnTo>
                    <a:close/>
                  </a:path>
                </a:pathLst>
              </a:custGeom>
              <a:grpFill/>
              <a:ln>
                <a:solidFill>
                  <a:srgbClr val="3D6C89"/>
                </a:solidFill>
                <a:headEnd/>
                <a:tailEnd/>
              </a:ln>
              <a:effectLst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Freeform 64">
                <a:extLst>
                  <a:ext uri="{FF2B5EF4-FFF2-40B4-BE49-F238E27FC236}">
                    <a16:creationId xmlns:a16="http://schemas.microsoft.com/office/drawing/2014/main" id="{1D51DC1D-668A-667E-068D-82A9E27CA0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8640" y="1488208"/>
                <a:ext cx="653140" cy="644547"/>
              </a:xfrm>
              <a:custGeom>
                <a:avLst/>
                <a:gdLst>
                  <a:gd name="T0" fmla="*/ 978 w 988"/>
                  <a:gd name="T1" fmla="*/ 484 h 988"/>
                  <a:gd name="T2" fmla="*/ 969 w 988"/>
                  <a:gd name="T3" fmla="*/ 494 h 988"/>
                  <a:gd name="T4" fmla="*/ 964 w 988"/>
                  <a:gd name="T5" fmla="*/ 564 h 988"/>
                  <a:gd name="T6" fmla="*/ 494 w 988"/>
                  <a:gd name="T7" fmla="*/ 969 h 988"/>
                  <a:gd name="T8" fmla="*/ 20 w 988"/>
                  <a:gd name="T9" fmla="*/ 494 h 988"/>
                  <a:gd name="T10" fmla="*/ 494 w 988"/>
                  <a:gd name="T11" fmla="*/ 19 h 988"/>
                  <a:gd name="T12" fmla="*/ 746 w 988"/>
                  <a:gd name="T13" fmla="*/ 92 h 988"/>
                  <a:gd name="T14" fmla="*/ 759 w 988"/>
                  <a:gd name="T15" fmla="*/ 88 h 988"/>
                  <a:gd name="T16" fmla="*/ 756 w 988"/>
                  <a:gd name="T17" fmla="*/ 75 h 988"/>
                  <a:gd name="T18" fmla="*/ 494 w 988"/>
                  <a:gd name="T19" fmla="*/ 0 h 988"/>
                  <a:gd name="T20" fmla="*/ 0 w 988"/>
                  <a:gd name="T21" fmla="*/ 494 h 988"/>
                  <a:gd name="T22" fmla="*/ 494 w 988"/>
                  <a:gd name="T23" fmla="*/ 988 h 988"/>
                  <a:gd name="T24" fmla="*/ 983 w 988"/>
                  <a:gd name="T25" fmla="*/ 567 h 988"/>
                  <a:gd name="T26" fmla="*/ 988 w 988"/>
                  <a:gd name="T27" fmla="*/ 494 h 988"/>
                  <a:gd name="T28" fmla="*/ 979 w 988"/>
                  <a:gd name="T29" fmla="*/ 484 h 988"/>
                  <a:gd name="T30" fmla="*/ 978 w 988"/>
                  <a:gd name="T31" fmla="*/ 484 h 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88" h="988">
                    <a:moveTo>
                      <a:pt x="978" y="484"/>
                    </a:moveTo>
                    <a:cubicBezTo>
                      <a:pt x="973" y="484"/>
                      <a:pt x="969" y="489"/>
                      <a:pt x="969" y="494"/>
                    </a:cubicBezTo>
                    <a:cubicBezTo>
                      <a:pt x="969" y="518"/>
                      <a:pt x="967" y="541"/>
                      <a:pt x="964" y="564"/>
                    </a:cubicBezTo>
                    <a:cubicBezTo>
                      <a:pt x="930" y="795"/>
                      <a:pt x="728" y="969"/>
                      <a:pt x="494" y="969"/>
                    </a:cubicBezTo>
                    <a:cubicBezTo>
                      <a:pt x="233" y="969"/>
                      <a:pt x="20" y="756"/>
                      <a:pt x="20" y="494"/>
                    </a:cubicBezTo>
                    <a:cubicBezTo>
                      <a:pt x="20" y="232"/>
                      <a:pt x="233" y="19"/>
                      <a:pt x="494" y="19"/>
                    </a:cubicBezTo>
                    <a:cubicBezTo>
                      <a:pt x="583" y="19"/>
                      <a:pt x="670" y="44"/>
                      <a:pt x="746" y="92"/>
                    </a:cubicBezTo>
                    <a:cubicBezTo>
                      <a:pt x="751" y="94"/>
                      <a:pt x="756" y="92"/>
                      <a:pt x="759" y="88"/>
                    </a:cubicBezTo>
                    <a:cubicBezTo>
                      <a:pt x="761" y="83"/>
                      <a:pt x="760" y="78"/>
                      <a:pt x="756" y="75"/>
                    </a:cubicBezTo>
                    <a:cubicBezTo>
                      <a:pt x="678" y="26"/>
                      <a:pt x="587" y="0"/>
                      <a:pt x="494" y="0"/>
                    </a:cubicBezTo>
                    <a:cubicBezTo>
                      <a:pt x="222" y="0"/>
                      <a:pt x="0" y="222"/>
                      <a:pt x="0" y="494"/>
                    </a:cubicBezTo>
                    <a:cubicBezTo>
                      <a:pt x="0" y="766"/>
                      <a:pt x="222" y="988"/>
                      <a:pt x="494" y="988"/>
                    </a:cubicBezTo>
                    <a:cubicBezTo>
                      <a:pt x="737" y="988"/>
                      <a:pt x="947" y="807"/>
                      <a:pt x="983" y="567"/>
                    </a:cubicBezTo>
                    <a:cubicBezTo>
                      <a:pt x="986" y="543"/>
                      <a:pt x="988" y="519"/>
                      <a:pt x="988" y="494"/>
                    </a:cubicBezTo>
                    <a:cubicBezTo>
                      <a:pt x="988" y="489"/>
                      <a:pt x="984" y="484"/>
                      <a:pt x="979" y="484"/>
                    </a:cubicBezTo>
                    <a:lnTo>
                      <a:pt x="978" y="484"/>
                    </a:lnTo>
                    <a:close/>
                  </a:path>
                </a:pathLst>
              </a:custGeom>
              <a:grpFill/>
              <a:ln>
                <a:solidFill>
                  <a:srgbClr val="3D6C89"/>
                </a:solidFill>
                <a:headEnd/>
                <a:tailEnd/>
              </a:ln>
              <a:effectLst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Freeform 65">
                <a:extLst>
                  <a:ext uri="{FF2B5EF4-FFF2-40B4-BE49-F238E27FC236}">
                    <a16:creationId xmlns:a16="http://schemas.microsoft.com/office/drawing/2014/main" id="{09EECEDD-F0D1-84A5-DEB0-A24DAC034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5988" y="1562689"/>
                <a:ext cx="469803" cy="464073"/>
              </a:xfrm>
              <a:custGeom>
                <a:avLst/>
                <a:gdLst>
                  <a:gd name="T0" fmla="*/ 559 w 712"/>
                  <a:gd name="T1" fmla="*/ 111 h 711"/>
                  <a:gd name="T2" fmla="*/ 556 w 712"/>
                  <a:gd name="T3" fmla="*/ 98 h 711"/>
                  <a:gd name="T4" fmla="*/ 98 w 712"/>
                  <a:gd name="T5" fmla="*/ 202 h 711"/>
                  <a:gd name="T6" fmla="*/ 202 w 712"/>
                  <a:gd name="T7" fmla="*/ 660 h 711"/>
                  <a:gd name="T8" fmla="*/ 379 w 712"/>
                  <a:gd name="T9" fmla="*/ 711 h 711"/>
                  <a:gd name="T10" fmla="*/ 708 w 712"/>
                  <a:gd name="T11" fmla="*/ 430 h 711"/>
                  <a:gd name="T12" fmla="*/ 711 w 712"/>
                  <a:gd name="T13" fmla="*/ 379 h 711"/>
                  <a:gd name="T14" fmla="*/ 702 w 712"/>
                  <a:gd name="T15" fmla="*/ 369 h 711"/>
                  <a:gd name="T16" fmla="*/ 692 w 712"/>
                  <a:gd name="T17" fmla="*/ 378 h 711"/>
                  <a:gd name="T18" fmla="*/ 692 w 712"/>
                  <a:gd name="T19" fmla="*/ 379 h 711"/>
                  <a:gd name="T20" fmla="*/ 689 w 712"/>
                  <a:gd name="T21" fmla="*/ 427 h 711"/>
                  <a:gd name="T22" fmla="*/ 379 w 712"/>
                  <a:gd name="T23" fmla="*/ 692 h 711"/>
                  <a:gd name="T24" fmla="*/ 66 w 712"/>
                  <a:gd name="T25" fmla="*/ 379 h 711"/>
                  <a:gd name="T26" fmla="*/ 379 w 712"/>
                  <a:gd name="T27" fmla="*/ 66 h 711"/>
                  <a:gd name="T28" fmla="*/ 546 w 712"/>
                  <a:gd name="T29" fmla="*/ 114 h 711"/>
                  <a:gd name="T30" fmla="*/ 559 w 712"/>
                  <a:gd name="T31" fmla="*/ 111 h 711"/>
                  <a:gd name="T32" fmla="*/ 559 w 712"/>
                  <a:gd name="T33" fmla="*/ 111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12" h="711">
                    <a:moveTo>
                      <a:pt x="559" y="111"/>
                    </a:moveTo>
                    <a:cubicBezTo>
                      <a:pt x="562" y="107"/>
                      <a:pt x="561" y="101"/>
                      <a:pt x="556" y="98"/>
                    </a:cubicBezTo>
                    <a:cubicBezTo>
                      <a:pt x="401" y="0"/>
                      <a:pt x="196" y="47"/>
                      <a:pt x="98" y="202"/>
                    </a:cubicBezTo>
                    <a:cubicBezTo>
                      <a:pt x="0" y="358"/>
                      <a:pt x="47" y="563"/>
                      <a:pt x="202" y="660"/>
                    </a:cubicBezTo>
                    <a:cubicBezTo>
                      <a:pt x="255" y="694"/>
                      <a:pt x="317" y="711"/>
                      <a:pt x="379" y="711"/>
                    </a:cubicBezTo>
                    <a:cubicBezTo>
                      <a:pt x="542" y="711"/>
                      <a:pt x="683" y="590"/>
                      <a:pt x="708" y="430"/>
                    </a:cubicBezTo>
                    <a:cubicBezTo>
                      <a:pt x="710" y="413"/>
                      <a:pt x="711" y="396"/>
                      <a:pt x="711" y="379"/>
                    </a:cubicBezTo>
                    <a:cubicBezTo>
                      <a:pt x="712" y="374"/>
                      <a:pt x="708" y="369"/>
                      <a:pt x="702" y="369"/>
                    </a:cubicBezTo>
                    <a:cubicBezTo>
                      <a:pt x="697" y="369"/>
                      <a:pt x="693" y="373"/>
                      <a:pt x="692" y="378"/>
                    </a:cubicBezTo>
                    <a:cubicBezTo>
                      <a:pt x="692" y="378"/>
                      <a:pt x="692" y="379"/>
                      <a:pt x="692" y="379"/>
                    </a:cubicBezTo>
                    <a:cubicBezTo>
                      <a:pt x="692" y="395"/>
                      <a:pt x="691" y="411"/>
                      <a:pt x="689" y="427"/>
                    </a:cubicBezTo>
                    <a:cubicBezTo>
                      <a:pt x="665" y="578"/>
                      <a:pt x="532" y="692"/>
                      <a:pt x="379" y="692"/>
                    </a:cubicBezTo>
                    <a:cubicBezTo>
                      <a:pt x="206" y="692"/>
                      <a:pt x="66" y="552"/>
                      <a:pt x="66" y="379"/>
                    </a:cubicBezTo>
                    <a:cubicBezTo>
                      <a:pt x="66" y="206"/>
                      <a:pt x="206" y="66"/>
                      <a:pt x="379" y="66"/>
                    </a:cubicBezTo>
                    <a:cubicBezTo>
                      <a:pt x="438" y="66"/>
                      <a:pt x="496" y="83"/>
                      <a:pt x="546" y="114"/>
                    </a:cubicBezTo>
                    <a:cubicBezTo>
                      <a:pt x="550" y="117"/>
                      <a:pt x="556" y="116"/>
                      <a:pt x="559" y="111"/>
                    </a:cubicBezTo>
                    <a:cubicBezTo>
                      <a:pt x="559" y="111"/>
                      <a:pt x="559" y="111"/>
                      <a:pt x="559" y="111"/>
                    </a:cubicBezTo>
                    <a:close/>
                  </a:path>
                </a:pathLst>
              </a:custGeom>
              <a:grpFill/>
              <a:ln>
                <a:solidFill>
                  <a:srgbClr val="3D6C89"/>
                </a:solidFill>
                <a:headEnd/>
                <a:tailEnd/>
              </a:ln>
              <a:effectLst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Freeform 66">
                <a:extLst>
                  <a:ext uri="{FF2B5EF4-FFF2-40B4-BE49-F238E27FC236}">
                    <a16:creationId xmlns:a16="http://schemas.microsoft.com/office/drawing/2014/main" id="{BA6B79DC-4B8F-EB9E-7191-DFA655BF2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5988" y="1562689"/>
                <a:ext cx="469803" cy="464073"/>
              </a:xfrm>
              <a:custGeom>
                <a:avLst/>
                <a:gdLst>
                  <a:gd name="T0" fmla="*/ 559 w 712"/>
                  <a:gd name="T1" fmla="*/ 111 h 711"/>
                  <a:gd name="T2" fmla="*/ 556 w 712"/>
                  <a:gd name="T3" fmla="*/ 98 h 711"/>
                  <a:gd name="T4" fmla="*/ 98 w 712"/>
                  <a:gd name="T5" fmla="*/ 202 h 711"/>
                  <a:gd name="T6" fmla="*/ 202 w 712"/>
                  <a:gd name="T7" fmla="*/ 660 h 711"/>
                  <a:gd name="T8" fmla="*/ 379 w 712"/>
                  <a:gd name="T9" fmla="*/ 711 h 711"/>
                  <a:gd name="T10" fmla="*/ 708 w 712"/>
                  <a:gd name="T11" fmla="*/ 430 h 711"/>
                  <a:gd name="T12" fmla="*/ 711 w 712"/>
                  <a:gd name="T13" fmla="*/ 379 h 711"/>
                  <a:gd name="T14" fmla="*/ 702 w 712"/>
                  <a:gd name="T15" fmla="*/ 369 h 711"/>
                  <a:gd name="T16" fmla="*/ 692 w 712"/>
                  <a:gd name="T17" fmla="*/ 378 h 711"/>
                  <a:gd name="T18" fmla="*/ 692 w 712"/>
                  <a:gd name="T19" fmla="*/ 379 h 711"/>
                  <a:gd name="T20" fmla="*/ 689 w 712"/>
                  <a:gd name="T21" fmla="*/ 427 h 711"/>
                  <a:gd name="T22" fmla="*/ 379 w 712"/>
                  <a:gd name="T23" fmla="*/ 692 h 711"/>
                  <a:gd name="T24" fmla="*/ 66 w 712"/>
                  <a:gd name="T25" fmla="*/ 379 h 711"/>
                  <a:gd name="T26" fmla="*/ 379 w 712"/>
                  <a:gd name="T27" fmla="*/ 66 h 711"/>
                  <a:gd name="T28" fmla="*/ 546 w 712"/>
                  <a:gd name="T29" fmla="*/ 114 h 711"/>
                  <a:gd name="T30" fmla="*/ 559 w 712"/>
                  <a:gd name="T31" fmla="*/ 111 h 711"/>
                  <a:gd name="T32" fmla="*/ 559 w 712"/>
                  <a:gd name="T33" fmla="*/ 111 h 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12" h="711">
                    <a:moveTo>
                      <a:pt x="559" y="111"/>
                    </a:moveTo>
                    <a:cubicBezTo>
                      <a:pt x="562" y="107"/>
                      <a:pt x="561" y="101"/>
                      <a:pt x="556" y="98"/>
                    </a:cubicBezTo>
                    <a:cubicBezTo>
                      <a:pt x="401" y="0"/>
                      <a:pt x="196" y="47"/>
                      <a:pt x="98" y="202"/>
                    </a:cubicBezTo>
                    <a:cubicBezTo>
                      <a:pt x="0" y="358"/>
                      <a:pt x="47" y="563"/>
                      <a:pt x="202" y="660"/>
                    </a:cubicBezTo>
                    <a:cubicBezTo>
                      <a:pt x="255" y="694"/>
                      <a:pt x="317" y="711"/>
                      <a:pt x="379" y="711"/>
                    </a:cubicBezTo>
                    <a:cubicBezTo>
                      <a:pt x="542" y="711"/>
                      <a:pt x="683" y="590"/>
                      <a:pt x="708" y="430"/>
                    </a:cubicBezTo>
                    <a:cubicBezTo>
                      <a:pt x="710" y="413"/>
                      <a:pt x="711" y="396"/>
                      <a:pt x="711" y="379"/>
                    </a:cubicBezTo>
                    <a:cubicBezTo>
                      <a:pt x="712" y="374"/>
                      <a:pt x="708" y="369"/>
                      <a:pt x="702" y="369"/>
                    </a:cubicBezTo>
                    <a:cubicBezTo>
                      <a:pt x="697" y="369"/>
                      <a:pt x="693" y="373"/>
                      <a:pt x="692" y="378"/>
                    </a:cubicBezTo>
                    <a:cubicBezTo>
                      <a:pt x="692" y="378"/>
                      <a:pt x="692" y="379"/>
                      <a:pt x="692" y="379"/>
                    </a:cubicBezTo>
                    <a:cubicBezTo>
                      <a:pt x="692" y="395"/>
                      <a:pt x="691" y="411"/>
                      <a:pt x="689" y="427"/>
                    </a:cubicBezTo>
                    <a:cubicBezTo>
                      <a:pt x="665" y="578"/>
                      <a:pt x="532" y="692"/>
                      <a:pt x="379" y="692"/>
                    </a:cubicBezTo>
                    <a:cubicBezTo>
                      <a:pt x="206" y="692"/>
                      <a:pt x="66" y="552"/>
                      <a:pt x="66" y="379"/>
                    </a:cubicBezTo>
                    <a:cubicBezTo>
                      <a:pt x="66" y="206"/>
                      <a:pt x="206" y="66"/>
                      <a:pt x="379" y="66"/>
                    </a:cubicBezTo>
                    <a:cubicBezTo>
                      <a:pt x="438" y="66"/>
                      <a:pt x="496" y="83"/>
                      <a:pt x="546" y="114"/>
                    </a:cubicBezTo>
                    <a:cubicBezTo>
                      <a:pt x="550" y="117"/>
                      <a:pt x="556" y="116"/>
                      <a:pt x="559" y="111"/>
                    </a:cubicBezTo>
                    <a:cubicBezTo>
                      <a:pt x="559" y="111"/>
                      <a:pt x="559" y="111"/>
                      <a:pt x="559" y="111"/>
                    </a:cubicBezTo>
                    <a:close/>
                  </a:path>
                </a:pathLst>
              </a:custGeom>
              <a:grpFill/>
              <a:ln>
                <a:solidFill>
                  <a:srgbClr val="3D6C89"/>
                </a:solidFill>
                <a:headEnd/>
                <a:tailEnd/>
              </a:ln>
              <a:effectLst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 67">
                <a:extLst>
                  <a:ext uri="{FF2B5EF4-FFF2-40B4-BE49-F238E27FC236}">
                    <a16:creationId xmlns:a16="http://schemas.microsoft.com/office/drawing/2014/main" id="{C45F2D20-57B4-3285-0786-ACF1952C99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2032" y="1688733"/>
                <a:ext cx="232038" cy="243496"/>
              </a:xfrm>
              <a:custGeom>
                <a:avLst/>
                <a:gdLst>
                  <a:gd name="T0" fmla="*/ 187 w 352"/>
                  <a:gd name="T1" fmla="*/ 42 h 375"/>
                  <a:gd name="T2" fmla="*/ 266 w 352"/>
                  <a:gd name="T3" fmla="*/ 65 h 375"/>
                  <a:gd name="T4" fmla="*/ 279 w 352"/>
                  <a:gd name="T5" fmla="*/ 62 h 375"/>
                  <a:gd name="T6" fmla="*/ 276 w 352"/>
                  <a:gd name="T7" fmla="*/ 49 h 375"/>
                  <a:gd name="T8" fmla="*/ 49 w 352"/>
                  <a:gd name="T9" fmla="*/ 98 h 375"/>
                  <a:gd name="T10" fmla="*/ 99 w 352"/>
                  <a:gd name="T11" fmla="*/ 326 h 375"/>
                  <a:gd name="T12" fmla="*/ 326 w 352"/>
                  <a:gd name="T13" fmla="*/ 276 h 375"/>
                  <a:gd name="T14" fmla="*/ 349 w 352"/>
                  <a:gd name="T15" fmla="*/ 215 h 375"/>
                  <a:gd name="T16" fmla="*/ 352 w 352"/>
                  <a:gd name="T17" fmla="*/ 187 h 375"/>
                  <a:gd name="T18" fmla="*/ 343 w 352"/>
                  <a:gd name="T19" fmla="*/ 177 h 375"/>
                  <a:gd name="T20" fmla="*/ 333 w 352"/>
                  <a:gd name="T21" fmla="*/ 186 h 375"/>
                  <a:gd name="T22" fmla="*/ 333 w 352"/>
                  <a:gd name="T23" fmla="*/ 187 h 375"/>
                  <a:gd name="T24" fmla="*/ 187 w 352"/>
                  <a:gd name="T25" fmla="*/ 332 h 375"/>
                  <a:gd name="T26" fmla="*/ 42 w 352"/>
                  <a:gd name="T27" fmla="*/ 187 h 375"/>
                  <a:gd name="T28" fmla="*/ 187 w 352"/>
                  <a:gd name="T29" fmla="*/ 42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2" h="375">
                    <a:moveTo>
                      <a:pt x="187" y="42"/>
                    </a:moveTo>
                    <a:cubicBezTo>
                      <a:pt x="215" y="42"/>
                      <a:pt x="242" y="50"/>
                      <a:pt x="266" y="65"/>
                    </a:cubicBezTo>
                    <a:cubicBezTo>
                      <a:pt x="270" y="68"/>
                      <a:pt x="276" y="66"/>
                      <a:pt x="279" y="62"/>
                    </a:cubicBezTo>
                    <a:cubicBezTo>
                      <a:pt x="282" y="57"/>
                      <a:pt x="281" y="51"/>
                      <a:pt x="276" y="49"/>
                    </a:cubicBezTo>
                    <a:cubicBezTo>
                      <a:pt x="200" y="0"/>
                      <a:pt x="98" y="22"/>
                      <a:pt x="49" y="98"/>
                    </a:cubicBezTo>
                    <a:cubicBezTo>
                      <a:pt x="0" y="175"/>
                      <a:pt x="22" y="277"/>
                      <a:pt x="99" y="326"/>
                    </a:cubicBezTo>
                    <a:cubicBezTo>
                      <a:pt x="175" y="375"/>
                      <a:pt x="277" y="352"/>
                      <a:pt x="326" y="276"/>
                    </a:cubicBezTo>
                    <a:cubicBezTo>
                      <a:pt x="338" y="257"/>
                      <a:pt x="346" y="236"/>
                      <a:pt x="349" y="215"/>
                    </a:cubicBezTo>
                    <a:cubicBezTo>
                      <a:pt x="351" y="206"/>
                      <a:pt x="352" y="196"/>
                      <a:pt x="352" y="187"/>
                    </a:cubicBezTo>
                    <a:cubicBezTo>
                      <a:pt x="352" y="182"/>
                      <a:pt x="348" y="177"/>
                      <a:pt x="343" y="177"/>
                    </a:cubicBezTo>
                    <a:cubicBezTo>
                      <a:pt x="337" y="177"/>
                      <a:pt x="333" y="181"/>
                      <a:pt x="333" y="186"/>
                    </a:cubicBezTo>
                    <a:cubicBezTo>
                      <a:pt x="333" y="186"/>
                      <a:pt x="333" y="187"/>
                      <a:pt x="333" y="187"/>
                    </a:cubicBezTo>
                    <a:cubicBezTo>
                      <a:pt x="333" y="267"/>
                      <a:pt x="268" y="332"/>
                      <a:pt x="187" y="332"/>
                    </a:cubicBezTo>
                    <a:cubicBezTo>
                      <a:pt x="107" y="332"/>
                      <a:pt x="42" y="267"/>
                      <a:pt x="42" y="187"/>
                    </a:cubicBezTo>
                    <a:cubicBezTo>
                      <a:pt x="42" y="107"/>
                      <a:pt x="107" y="42"/>
                      <a:pt x="187" y="42"/>
                    </a:cubicBezTo>
                    <a:close/>
                  </a:path>
                </a:pathLst>
              </a:custGeom>
              <a:grpFill/>
              <a:ln>
                <a:solidFill>
                  <a:srgbClr val="3D6C89"/>
                </a:solidFill>
                <a:headEnd/>
                <a:tailEnd/>
              </a:ln>
              <a:effectLst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Freeform 68">
                <a:extLst>
                  <a:ext uri="{FF2B5EF4-FFF2-40B4-BE49-F238E27FC236}">
                    <a16:creationId xmlns:a16="http://schemas.microsoft.com/office/drawing/2014/main" id="{CD5F9AC6-203F-8B9E-D945-FEE65F463F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2032" y="1688733"/>
                <a:ext cx="232038" cy="243496"/>
              </a:xfrm>
              <a:custGeom>
                <a:avLst/>
                <a:gdLst>
                  <a:gd name="T0" fmla="*/ 187 w 352"/>
                  <a:gd name="T1" fmla="*/ 42 h 375"/>
                  <a:gd name="T2" fmla="*/ 266 w 352"/>
                  <a:gd name="T3" fmla="*/ 65 h 375"/>
                  <a:gd name="T4" fmla="*/ 279 w 352"/>
                  <a:gd name="T5" fmla="*/ 62 h 375"/>
                  <a:gd name="T6" fmla="*/ 276 w 352"/>
                  <a:gd name="T7" fmla="*/ 49 h 375"/>
                  <a:gd name="T8" fmla="*/ 49 w 352"/>
                  <a:gd name="T9" fmla="*/ 98 h 375"/>
                  <a:gd name="T10" fmla="*/ 99 w 352"/>
                  <a:gd name="T11" fmla="*/ 326 h 375"/>
                  <a:gd name="T12" fmla="*/ 326 w 352"/>
                  <a:gd name="T13" fmla="*/ 276 h 375"/>
                  <a:gd name="T14" fmla="*/ 349 w 352"/>
                  <a:gd name="T15" fmla="*/ 215 h 375"/>
                  <a:gd name="T16" fmla="*/ 352 w 352"/>
                  <a:gd name="T17" fmla="*/ 187 h 375"/>
                  <a:gd name="T18" fmla="*/ 343 w 352"/>
                  <a:gd name="T19" fmla="*/ 177 h 375"/>
                  <a:gd name="T20" fmla="*/ 333 w 352"/>
                  <a:gd name="T21" fmla="*/ 186 h 375"/>
                  <a:gd name="T22" fmla="*/ 333 w 352"/>
                  <a:gd name="T23" fmla="*/ 187 h 375"/>
                  <a:gd name="T24" fmla="*/ 187 w 352"/>
                  <a:gd name="T25" fmla="*/ 332 h 375"/>
                  <a:gd name="T26" fmla="*/ 42 w 352"/>
                  <a:gd name="T27" fmla="*/ 187 h 375"/>
                  <a:gd name="T28" fmla="*/ 187 w 352"/>
                  <a:gd name="T29" fmla="*/ 42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2" h="375">
                    <a:moveTo>
                      <a:pt x="187" y="42"/>
                    </a:moveTo>
                    <a:cubicBezTo>
                      <a:pt x="215" y="42"/>
                      <a:pt x="242" y="50"/>
                      <a:pt x="266" y="65"/>
                    </a:cubicBezTo>
                    <a:cubicBezTo>
                      <a:pt x="270" y="68"/>
                      <a:pt x="276" y="66"/>
                      <a:pt x="279" y="62"/>
                    </a:cubicBezTo>
                    <a:cubicBezTo>
                      <a:pt x="282" y="57"/>
                      <a:pt x="281" y="51"/>
                      <a:pt x="276" y="49"/>
                    </a:cubicBezTo>
                    <a:cubicBezTo>
                      <a:pt x="200" y="0"/>
                      <a:pt x="98" y="22"/>
                      <a:pt x="49" y="98"/>
                    </a:cubicBezTo>
                    <a:cubicBezTo>
                      <a:pt x="0" y="175"/>
                      <a:pt x="22" y="277"/>
                      <a:pt x="99" y="326"/>
                    </a:cubicBezTo>
                    <a:cubicBezTo>
                      <a:pt x="175" y="375"/>
                      <a:pt x="277" y="352"/>
                      <a:pt x="326" y="276"/>
                    </a:cubicBezTo>
                    <a:cubicBezTo>
                      <a:pt x="338" y="257"/>
                      <a:pt x="346" y="236"/>
                      <a:pt x="349" y="215"/>
                    </a:cubicBezTo>
                    <a:cubicBezTo>
                      <a:pt x="351" y="206"/>
                      <a:pt x="352" y="196"/>
                      <a:pt x="352" y="187"/>
                    </a:cubicBezTo>
                    <a:cubicBezTo>
                      <a:pt x="352" y="182"/>
                      <a:pt x="348" y="177"/>
                      <a:pt x="343" y="177"/>
                    </a:cubicBezTo>
                    <a:cubicBezTo>
                      <a:pt x="337" y="177"/>
                      <a:pt x="333" y="181"/>
                      <a:pt x="333" y="186"/>
                    </a:cubicBezTo>
                    <a:cubicBezTo>
                      <a:pt x="333" y="186"/>
                      <a:pt x="333" y="187"/>
                      <a:pt x="333" y="187"/>
                    </a:cubicBezTo>
                    <a:cubicBezTo>
                      <a:pt x="333" y="267"/>
                      <a:pt x="268" y="332"/>
                      <a:pt x="187" y="332"/>
                    </a:cubicBezTo>
                    <a:cubicBezTo>
                      <a:pt x="107" y="332"/>
                      <a:pt x="42" y="267"/>
                      <a:pt x="42" y="187"/>
                    </a:cubicBezTo>
                    <a:cubicBezTo>
                      <a:pt x="42" y="107"/>
                      <a:pt x="107" y="42"/>
                      <a:pt x="187" y="42"/>
                    </a:cubicBezTo>
                    <a:close/>
                  </a:path>
                </a:pathLst>
              </a:custGeom>
              <a:grpFill/>
              <a:ln>
                <a:solidFill>
                  <a:srgbClr val="3D6C89"/>
                </a:solidFill>
                <a:headEnd/>
                <a:tailEnd/>
              </a:ln>
              <a:effectLst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 69">
                <a:extLst>
                  <a:ext uri="{FF2B5EF4-FFF2-40B4-BE49-F238E27FC236}">
                    <a16:creationId xmlns:a16="http://schemas.microsoft.com/office/drawing/2014/main" id="{A9D09CE6-6D60-56B1-1BBC-0D8632FC0D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06618" y="1556960"/>
                <a:ext cx="444022" cy="263547"/>
              </a:xfrm>
              <a:custGeom>
                <a:avLst/>
                <a:gdLst>
                  <a:gd name="T0" fmla="*/ 674 w 675"/>
                  <a:gd name="T1" fmla="*/ 199 h 402"/>
                  <a:gd name="T2" fmla="*/ 667 w 675"/>
                  <a:gd name="T3" fmla="*/ 190 h 402"/>
                  <a:gd name="T4" fmla="*/ 518 w 675"/>
                  <a:gd name="T5" fmla="*/ 153 h 402"/>
                  <a:gd name="T6" fmla="*/ 518 w 675"/>
                  <a:gd name="T7" fmla="*/ 152 h 402"/>
                  <a:gd name="T8" fmla="*/ 518 w 675"/>
                  <a:gd name="T9" fmla="*/ 152 h 402"/>
                  <a:gd name="T10" fmla="*/ 585 w 675"/>
                  <a:gd name="T11" fmla="*/ 14 h 402"/>
                  <a:gd name="T12" fmla="*/ 581 w 675"/>
                  <a:gd name="T13" fmla="*/ 1 h 402"/>
                  <a:gd name="T14" fmla="*/ 572 w 675"/>
                  <a:gd name="T15" fmla="*/ 1 h 402"/>
                  <a:gd name="T16" fmla="*/ 332 w 675"/>
                  <a:gd name="T17" fmla="*/ 111 h 402"/>
                  <a:gd name="T18" fmla="*/ 327 w 675"/>
                  <a:gd name="T19" fmla="*/ 117 h 402"/>
                  <a:gd name="T20" fmla="*/ 282 w 675"/>
                  <a:gd name="T21" fmla="*/ 253 h 402"/>
                  <a:gd name="T22" fmla="*/ 282 w 675"/>
                  <a:gd name="T23" fmla="*/ 254 h 402"/>
                  <a:gd name="T24" fmla="*/ 146 w 675"/>
                  <a:gd name="T25" fmla="*/ 318 h 402"/>
                  <a:gd name="T26" fmla="*/ 6 w 675"/>
                  <a:gd name="T27" fmla="*/ 383 h 402"/>
                  <a:gd name="T28" fmla="*/ 2 w 675"/>
                  <a:gd name="T29" fmla="*/ 395 h 402"/>
                  <a:gd name="T30" fmla="*/ 15 w 675"/>
                  <a:gd name="T31" fmla="*/ 400 h 402"/>
                  <a:gd name="T32" fmla="*/ 155 w 675"/>
                  <a:gd name="T33" fmla="*/ 335 h 402"/>
                  <a:gd name="T34" fmla="*/ 295 w 675"/>
                  <a:gd name="T35" fmla="*/ 268 h 402"/>
                  <a:gd name="T36" fmla="*/ 420 w 675"/>
                  <a:gd name="T37" fmla="*/ 319 h 402"/>
                  <a:gd name="T38" fmla="*/ 424 w 675"/>
                  <a:gd name="T39" fmla="*/ 320 h 402"/>
                  <a:gd name="T40" fmla="*/ 428 w 675"/>
                  <a:gd name="T41" fmla="*/ 319 h 402"/>
                  <a:gd name="T42" fmla="*/ 546 w 675"/>
                  <a:gd name="T43" fmla="*/ 265 h 402"/>
                  <a:gd name="T44" fmla="*/ 551 w 675"/>
                  <a:gd name="T45" fmla="*/ 262 h 402"/>
                  <a:gd name="T46" fmla="*/ 669 w 675"/>
                  <a:gd name="T47" fmla="*/ 208 h 402"/>
                  <a:gd name="T48" fmla="*/ 674 w 675"/>
                  <a:gd name="T49" fmla="*/ 199 h 402"/>
                  <a:gd name="T50" fmla="*/ 496 w 675"/>
                  <a:gd name="T51" fmla="*/ 152 h 402"/>
                  <a:gd name="T52" fmla="*/ 423 w 675"/>
                  <a:gd name="T53" fmla="*/ 186 h 402"/>
                  <a:gd name="T54" fmla="*/ 464 w 675"/>
                  <a:gd name="T55" fmla="*/ 72 h 402"/>
                  <a:gd name="T56" fmla="*/ 556 w 675"/>
                  <a:gd name="T57" fmla="*/ 29 h 402"/>
                  <a:gd name="T58" fmla="*/ 496 w 675"/>
                  <a:gd name="T59" fmla="*/ 152 h 402"/>
                  <a:gd name="T60" fmla="*/ 344 w 675"/>
                  <a:gd name="T61" fmla="*/ 127 h 402"/>
                  <a:gd name="T62" fmla="*/ 440 w 675"/>
                  <a:gd name="T63" fmla="*/ 83 h 402"/>
                  <a:gd name="T64" fmla="*/ 398 w 675"/>
                  <a:gd name="T65" fmla="*/ 198 h 402"/>
                  <a:gd name="T66" fmla="*/ 306 w 675"/>
                  <a:gd name="T67" fmla="*/ 242 h 402"/>
                  <a:gd name="T68" fmla="*/ 344 w 675"/>
                  <a:gd name="T69" fmla="*/ 127 h 402"/>
                  <a:gd name="T70" fmla="*/ 424 w 675"/>
                  <a:gd name="T71" fmla="*/ 300 h 402"/>
                  <a:gd name="T72" fmla="*/ 319 w 675"/>
                  <a:gd name="T73" fmla="*/ 257 h 402"/>
                  <a:gd name="T74" fmla="*/ 408 w 675"/>
                  <a:gd name="T75" fmla="*/ 215 h 402"/>
                  <a:gd name="T76" fmla="*/ 519 w 675"/>
                  <a:gd name="T77" fmla="*/ 256 h 402"/>
                  <a:gd name="T78" fmla="*/ 424 w 675"/>
                  <a:gd name="T79" fmla="*/ 300 h 402"/>
                  <a:gd name="T80" fmla="*/ 543 w 675"/>
                  <a:gd name="T81" fmla="*/ 245 h 402"/>
                  <a:gd name="T82" fmla="*/ 433 w 675"/>
                  <a:gd name="T83" fmla="*/ 203 h 402"/>
                  <a:gd name="T84" fmla="*/ 505 w 675"/>
                  <a:gd name="T85" fmla="*/ 169 h 402"/>
                  <a:gd name="T86" fmla="*/ 636 w 675"/>
                  <a:gd name="T87" fmla="*/ 202 h 402"/>
                  <a:gd name="T88" fmla="*/ 543 w 675"/>
                  <a:gd name="T89" fmla="*/ 245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75" h="402">
                    <a:moveTo>
                      <a:pt x="674" y="199"/>
                    </a:moveTo>
                    <a:cubicBezTo>
                      <a:pt x="674" y="195"/>
                      <a:pt x="671" y="191"/>
                      <a:pt x="667" y="190"/>
                    </a:cubicBezTo>
                    <a:lnTo>
                      <a:pt x="518" y="153"/>
                    </a:lnTo>
                    <a:lnTo>
                      <a:pt x="518" y="152"/>
                    </a:lnTo>
                    <a:cubicBezTo>
                      <a:pt x="518" y="152"/>
                      <a:pt x="518" y="152"/>
                      <a:pt x="518" y="152"/>
                    </a:cubicBezTo>
                    <a:lnTo>
                      <a:pt x="585" y="14"/>
                    </a:lnTo>
                    <a:cubicBezTo>
                      <a:pt x="587" y="9"/>
                      <a:pt x="586" y="3"/>
                      <a:pt x="581" y="1"/>
                    </a:cubicBezTo>
                    <a:cubicBezTo>
                      <a:pt x="578" y="0"/>
                      <a:pt x="575" y="0"/>
                      <a:pt x="572" y="1"/>
                    </a:cubicBezTo>
                    <a:lnTo>
                      <a:pt x="332" y="111"/>
                    </a:lnTo>
                    <a:cubicBezTo>
                      <a:pt x="329" y="112"/>
                      <a:pt x="327" y="115"/>
                      <a:pt x="327" y="117"/>
                    </a:cubicBezTo>
                    <a:lnTo>
                      <a:pt x="282" y="253"/>
                    </a:lnTo>
                    <a:lnTo>
                      <a:pt x="282" y="254"/>
                    </a:lnTo>
                    <a:lnTo>
                      <a:pt x="146" y="318"/>
                    </a:lnTo>
                    <a:lnTo>
                      <a:pt x="6" y="383"/>
                    </a:lnTo>
                    <a:cubicBezTo>
                      <a:pt x="2" y="385"/>
                      <a:pt x="0" y="391"/>
                      <a:pt x="2" y="395"/>
                    </a:cubicBezTo>
                    <a:cubicBezTo>
                      <a:pt x="4" y="400"/>
                      <a:pt x="10" y="402"/>
                      <a:pt x="15" y="400"/>
                    </a:cubicBezTo>
                    <a:lnTo>
                      <a:pt x="155" y="335"/>
                    </a:lnTo>
                    <a:lnTo>
                      <a:pt x="295" y="268"/>
                    </a:lnTo>
                    <a:lnTo>
                      <a:pt x="420" y="319"/>
                    </a:lnTo>
                    <a:cubicBezTo>
                      <a:pt x="422" y="320"/>
                      <a:pt x="423" y="320"/>
                      <a:pt x="424" y="320"/>
                    </a:cubicBezTo>
                    <a:cubicBezTo>
                      <a:pt x="425" y="320"/>
                      <a:pt x="427" y="319"/>
                      <a:pt x="428" y="319"/>
                    </a:cubicBezTo>
                    <a:lnTo>
                      <a:pt x="546" y="265"/>
                    </a:lnTo>
                    <a:cubicBezTo>
                      <a:pt x="548" y="265"/>
                      <a:pt x="550" y="264"/>
                      <a:pt x="551" y="262"/>
                    </a:cubicBezTo>
                    <a:lnTo>
                      <a:pt x="669" y="208"/>
                    </a:lnTo>
                    <a:cubicBezTo>
                      <a:pt x="672" y="207"/>
                      <a:pt x="675" y="203"/>
                      <a:pt x="674" y="199"/>
                    </a:cubicBezTo>
                    <a:close/>
                    <a:moveTo>
                      <a:pt x="496" y="152"/>
                    </a:moveTo>
                    <a:lnTo>
                      <a:pt x="423" y="186"/>
                    </a:lnTo>
                    <a:lnTo>
                      <a:pt x="464" y="72"/>
                    </a:lnTo>
                    <a:lnTo>
                      <a:pt x="556" y="29"/>
                    </a:lnTo>
                    <a:lnTo>
                      <a:pt x="496" y="152"/>
                    </a:lnTo>
                    <a:close/>
                    <a:moveTo>
                      <a:pt x="344" y="127"/>
                    </a:moveTo>
                    <a:lnTo>
                      <a:pt x="440" y="83"/>
                    </a:lnTo>
                    <a:lnTo>
                      <a:pt x="398" y="198"/>
                    </a:lnTo>
                    <a:lnTo>
                      <a:pt x="306" y="242"/>
                    </a:lnTo>
                    <a:lnTo>
                      <a:pt x="344" y="127"/>
                    </a:lnTo>
                    <a:close/>
                    <a:moveTo>
                      <a:pt x="424" y="300"/>
                    </a:moveTo>
                    <a:lnTo>
                      <a:pt x="319" y="257"/>
                    </a:lnTo>
                    <a:lnTo>
                      <a:pt x="408" y="215"/>
                    </a:lnTo>
                    <a:lnTo>
                      <a:pt x="519" y="256"/>
                    </a:lnTo>
                    <a:lnTo>
                      <a:pt x="424" y="300"/>
                    </a:lnTo>
                    <a:close/>
                    <a:moveTo>
                      <a:pt x="543" y="245"/>
                    </a:moveTo>
                    <a:lnTo>
                      <a:pt x="433" y="203"/>
                    </a:lnTo>
                    <a:lnTo>
                      <a:pt x="505" y="169"/>
                    </a:lnTo>
                    <a:lnTo>
                      <a:pt x="636" y="202"/>
                    </a:lnTo>
                    <a:lnTo>
                      <a:pt x="543" y="245"/>
                    </a:lnTo>
                    <a:close/>
                  </a:path>
                </a:pathLst>
              </a:custGeom>
              <a:grpFill/>
              <a:ln>
                <a:solidFill>
                  <a:srgbClr val="3D6C89"/>
                </a:solidFill>
                <a:headEnd/>
                <a:tailEnd/>
              </a:ln>
              <a:effectLst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Freeform 70">
                <a:extLst>
                  <a:ext uri="{FF2B5EF4-FFF2-40B4-BE49-F238E27FC236}">
                    <a16:creationId xmlns:a16="http://schemas.microsoft.com/office/drawing/2014/main" id="{8E20CB54-FF45-4BDB-D8AF-BAE636A20A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06618" y="1556960"/>
                <a:ext cx="444022" cy="263547"/>
              </a:xfrm>
              <a:custGeom>
                <a:avLst/>
                <a:gdLst>
                  <a:gd name="T0" fmla="*/ 674 w 675"/>
                  <a:gd name="T1" fmla="*/ 199 h 402"/>
                  <a:gd name="T2" fmla="*/ 667 w 675"/>
                  <a:gd name="T3" fmla="*/ 190 h 402"/>
                  <a:gd name="T4" fmla="*/ 518 w 675"/>
                  <a:gd name="T5" fmla="*/ 153 h 402"/>
                  <a:gd name="T6" fmla="*/ 518 w 675"/>
                  <a:gd name="T7" fmla="*/ 152 h 402"/>
                  <a:gd name="T8" fmla="*/ 518 w 675"/>
                  <a:gd name="T9" fmla="*/ 152 h 402"/>
                  <a:gd name="T10" fmla="*/ 585 w 675"/>
                  <a:gd name="T11" fmla="*/ 14 h 402"/>
                  <a:gd name="T12" fmla="*/ 581 w 675"/>
                  <a:gd name="T13" fmla="*/ 1 h 402"/>
                  <a:gd name="T14" fmla="*/ 572 w 675"/>
                  <a:gd name="T15" fmla="*/ 1 h 402"/>
                  <a:gd name="T16" fmla="*/ 332 w 675"/>
                  <a:gd name="T17" fmla="*/ 111 h 402"/>
                  <a:gd name="T18" fmla="*/ 327 w 675"/>
                  <a:gd name="T19" fmla="*/ 117 h 402"/>
                  <a:gd name="T20" fmla="*/ 282 w 675"/>
                  <a:gd name="T21" fmla="*/ 253 h 402"/>
                  <a:gd name="T22" fmla="*/ 282 w 675"/>
                  <a:gd name="T23" fmla="*/ 254 h 402"/>
                  <a:gd name="T24" fmla="*/ 146 w 675"/>
                  <a:gd name="T25" fmla="*/ 318 h 402"/>
                  <a:gd name="T26" fmla="*/ 6 w 675"/>
                  <a:gd name="T27" fmla="*/ 383 h 402"/>
                  <a:gd name="T28" fmla="*/ 2 w 675"/>
                  <a:gd name="T29" fmla="*/ 395 h 402"/>
                  <a:gd name="T30" fmla="*/ 15 w 675"/>
                  <a:gd name="T31" fmla="*/ 400 h 402"/>
                  <a:gd name="T32" fmla="*/ 155 w 675"/>
                  <a:gd name="T33" fmla="*/ 335 h 402"/>
                  <a:gd name="T34" fmla="*/ 295 w 675"/>
                  <a:gd name="T35" fmla="*/ 268 h 402"/>
                  <a:gd name="T36" fmla="*/ 420 w 675"/>
                  <a:gd name="T37" fmla="*/ 319 h 402"/>
                  <a:gd name="T38" fmla="*/ 424 w 675"/>
                  <a:gd name="T39" fmla="*/ 320 h 402"/>
                  <a:gd name="T40" fmla="*/ 428 w 675"/>
                  <a:gd name="T41" fmla="*/ 319 h 402"/>
                  <a:gd name="T42" fmla="*/ 546 w 675"/>
                  <a:gd name="T43" fmla="*/ 265 h 402"/>
                  <a:gd name="T44" fmla="*/ 551 w 675"/>
                  <a:gd name="T45" fmla="*/ 262 h 402"/>
                  <a:gd name="T46" fmla="*/ 669 w 675"/>
                  <a:gd name="T47" fmla="*/ 208 h 402"/>
                  <a:gd name="T48" fmla="*/ 674 w 675"/>
                  <a:gd name="T49" fmla="*/ 199 h 402"/>
                  <a:gd name="T50" fmla="*/ 496 w 675"/>
                  <a:gd name="T51" fmla="*/ 152 h 402"/>
                  <a:gd name="T52" fmla="*/ 423 w 675"/>
                  <a:gd name="T53" fmla="*/ 186 h 402"/>
                  <a:gd name="T54" fmla="*/ 464 w 675"/>
                  <a:gd name="T55" fmla="*/ 72 h 402"/>
                  <a:gd name="T56" fmla="*/ 556 w 675"/>
                  <a:gd name="T57" fmla="*/ 29 h 402"/>
                  <a:gd name="T58" fmla="*/ 496 w 675"/>
                  <a:gd name="T59" fmla="*/ 152 h 402"/>
                  <a:gd name="T60" fmla="*/ 344 w 675"/>
                  <a:gd name="T61" fmla="*/ 127 h 402"/>
                  <a:gd name="T62" fmla="*/ 440 w 675"/>
                  <a:gd name="T63" fmla="*/ 83 h 402"/>
                  <a:gd name="T64" fmla="*/ 398 w 675"/>
                  <a:gd name="T65" fmla="*/ 198 h 402"/>
                  <a:gd name="T66" fmla="*/ 306 w 675"/>
                  <a:gd name="T67" fmla="*/ 242 h 402"/>
                  <a:gd name="T68" fmla="*/ 344 w 675"/>
                  <a:gd name="T69" fmla="*/ 127 h 402"/>
                  <a:gd name="T70" fmla="*/ 424 w 675"/>
                  <a:gd name="T71" fmla="*/ 300 h 402"/>
                  <a:gd name="T72" fmla="*/ 319 w 675"/>
                  <a:gd name="T73" fmla="*/ 257 h 402"/>
                  <a:gd name="T74" fmla="*/ 408 w 675"/>
                  <a:gd name="T75" fmla="*/ 215 h 402"/>
                  <a:gd name="T76" fmla="*/ 519 w 675"/>
                  <a:gd name="T77" fmla="*/ 256 h 402"/>
                  <a:gd name="T78" fmla="*/ 424 w 675"/>
                  <a:gd name="T79" fmla="*/ 300 h 402"/>
                  <a:gd name="T80" fmla="*/ 543 w 675"/>
                  <a:gd name="T81" fmla="*/ 245 h 402"/>
                  <a:gd name="T82" fmla="*/ 433 w 675"/>
                  <a:gd name="T83" fmla="*/ 203 h 402"/>
                  <a:gd name="T84" fmla="*/ 505 w 675"/>
                  <a:gd name="T85" fmla="*/ 169 h 402"/>
                  <a:gd name="T86" fmla="*/ 636 w 675"/>
                  <a:gd name="T87" fmla="*/ 202 h 402"/>
                  <a:gd name="T88" fmla="*/ 543 w 675"/>
                  <a:gd name="T89" fmla="*/ 245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75" h="402">
                    <a:moveTo>
                      <a:pt x="674" y="199"/>
                    </a:moveTo>
                    <a:cubicBezTo>
                      <a:pt x="674" y="195"/>
                      <a:pt x="671" y="191"/>
                      <a:pt x="667" y="190"/>
                    </a:cubicBezTo>
                    <a:lnTo>
                      <a:pt x="518" y="153"/>
                    </a:lnTo>
                    <a:lnTo>
                      <a:pt x="518" y="152"/>
                    </a:lnTo>
                    <a:cubicBezTo>
                      <a:pt x="518" y="152"/>
                      <a:pt x="518" y="152"/>
                      <a:pt x="518" y="152"/>
                    </a:cubicBezTo>
                    <a:lnTo>
                      <a:pt x="585" y="14"/>
                    </a:lnTo>
                    <a:cubicBezTo>
                      <a:pt x="587" y="9"/>
                      <a:pt x="586" y="3"/>
                      <a:pt x="581" y="1"/>
                    </a:cubicBezTo>
                    <a:cubicBezTo>
                      <a:pt x="578" y="0"/>
                      <a:pt x="575" y="0"/>
                      <a:pt x="572" y="1"/>
                    </a:cubicBezTo>
                    <a:lnTo>
                      <a:pt x="332" y="111"/>
                    </a:lnTo>
                    <a:cubicBezTo>
                      <a:pt x="329" y="112"/>
                      <a:pt x="327" y="115"/>
                      <a:pt x="327" y="117"/>
                    </a:cubicBezTo>
                    <a:lnTo>
                      <a:pt x="282" y="253"/>
                    </a:lnTo>
                    <a:lnTo>
                      <a:pt x="282" y="254"/>
                    </a:lnTo>
                    <a:lnTo>
                      <a:pt x="146" y="318"/>
                    </a:lnTo>
                    <a:lnTo>
                      <a:pt x="6" y="383"/>
                    </a:lnTo>
                    <a:cubicBezTo>
                      <a:pt x="2" y="385"/>
                      <a:pt x="0" y="391"/>
                      <a:pt x="2" y="395"/>
                    </a:cubicBezTo>
                    <a:cubicBezTo>
                      <a:pt x="4" y="400"/>
                      <a:pt x="10" y="402"/>
                      <a:pt x="15" y="400"/>
                    </a:cubicBezTo>
                    <a:lnTo>
                      <a:pt x="155" y="335"/>
                    </a:lnTo>
                    <a:lnTo>
                      <a:pt x="295" y="268"/>
                    </a:lnTo>
                    <a:lnTo>
                      <a:pt x="420" y="319"/>
                    </a:lnTo>
                    <a:cubicBezTo>
                      <a:pt x="422" y="320"/>
                      <a:pt x="423" y="320"/>
                      <a:pt x="424" y="320"/>
                    </a:cubicBezTo>
                    <a:cubicBezTo>
                      <a:pt x="425" y="320"/>
                      <a:pt x="427" y="319"/>
                      <a:pt x="428" y="319"/>
                    </a:cubicBezTo>
                    <a:lnTo>
                      <a:pt x="546" y="265"/>
                    </a:lnTo>
                    <a:cubicBezTo>
                      <a:pt x="548" y="265"/>
                      <a:pt x="550" y="264"/>
                      <a:pt x="551" y="262"/>
                    </a:cubicBezTo>
                    <a:lnTo>
                      <a:pt x="669" y="208"/>
                    </a:lnTo>
                    <a:cubicBezTo>
                      <a:pt x="672" y="207"/>
                      <a:pt x="675" y="203"/>
                      <a:pt x="674" y="199"/>
                    </a:cubicBezTo>
                    <a:close/>
                    <a:moveTo>
                      <a:pt x="496" y="152"/>
                    </a:moveTo>
                    <a:lnTo>
                      <a:pt x="423" y="186"/>
                    </a:lnTo>
                    <a:lnTo>
                      <a:pt x="464" y="72"/>
                    </a:lnTo>
                    <a:lnTo>
                      <a:pt x="556" y="29"/>
                    </a:lnTo>
                    <a:lnTo>
                      <a:pt x="496" y="152"/>
                    </a:lnTo>
                    <a:close/>
                    <a:moveTo>
                      <a:pt x="344" y="127"/>
                    </a:moveTo>
                    <a:lnTo>
                      <a:pt x="440" y="83"/>
                    </a:lnTo>
                    <a:lnTo>
                      <a:pt x="398" y="198"/>
                    </a:lnTo>
                    <a:lnTo>
                      <a:pt x="306" y="242"/>
                    </a:lnTo>
                    <a:lnTo>
                      <a:pt x="344" y="127"/>
                    </a:lnTo>
                    <a:close/>
                    <a:moveTo>
                      <a:pt x="424" y="300"/>
                    </a:moveTo>
                    <a:lnTo>
                      <a:pt x="319" y="257"/>
                    </a:lnTo>
                    <a:lnTo>
                      <a:pt x="408" y="215"/>
                    </a:lnTo>
                    <a:lnTo>
                      <a:pt x="519" y="256"/>
                    </a:lnTo>
                    <a:lnTo>
                      <a:pt x="424" y="300"/>
                    </a:lnTo>
                    <a:close/>
                    <a:moveTo>
                      <a:pt x="543" y="245"/>
                    </a:moveTo>
                    <a:lnTo>
                      <a:pt x="433" y="203"/>
                    </a:lnTo>
                    <a:lnTo>
                      <a:pt x="505" y="169"/>
                    </a:lnTo>
                    <a:lnTo>
                      <a:pt x="636" y="202"/>
                    </a:lnTo>
                    <a:lnTo>
                      <a:pt x="543" y="245"/>
                    </a:lnTo>
                    <a:close/>
                  </a:path>
                </a:pathLst>
              </a:custGeom>
              <a:grpFill/>
              <a:ln>
                <a:solidFill>
                  <a:srgbClr val="3D6C89"/>
                </a:solidFill>
                <a:headEnd/>
                <a:tailEnd/>
              </a:ln>
              <a:effectLst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5" name="Graphic 2" descr="Caret Right outline">
              <a:extLst>
                <a:ext uri="{FF2B5EF4-FFF2-40B4-BE49-F238E27FC236}">
                  <a16:creationId xmlns:a16="http://schemas.microsoft.com/office/drawing/2014/main" id="{2622DA17-83DD-D4FC-F1F1-60591A91566E}"/>
                </a:ext>
              </a:extLst>
            </p:cNvPr>
            <p:cNvSpPr/>
            <p:nvPr/>
          </p:nvSpPr>
          <p:spPr>
            <a:xfrm>
              <a:off x="2462572" y="2519363"/>
              <a:ext cx="117844" cy="223838"/>
            </a:xfrm>
            <a:custGeom>
              <a:avLst/>
              <a:gdLst>
                <a:gd name="connsiteX0" fmla="*/ 0 w 267852"/>
                <a:gd name="connsiteY0" fmla="*/ 13468 h 508768"/>
                <a:gd name="connsiteX1" fmla="*/ 240916 w 267852"/>
                <a:gd name="connsiteY1" fmla="*/ 254384 h 508768"/>
                <a:gd name="connsiteX2" fmla="*/ 0 w 267852"/>
                <a:gd name="connsiteY2" fmla="*/ 495300 h 508768"/>
                <a:gd name="connsiteX3" fmla="*/ 13468 w 267852"/>
                <a:gd name="connsiteY3" fmla="*/ 508768 h 508768"/>
                <a:gd name="connsiteX4" fmla="*/ 267853 w 267852"/>
                <a:gd name="connsiteY4" fmla="*/ 254384 h 508768"/>
                <a:gd name="connsiteX5" fmla="*/ 13468 w 267852"/>
                <a:gd name="connsiteY5" fmla="*/ 0 h 508768"/>
                <a:gd name="connsiteX6" fmla="*/ 0 w 267852"/>
                <a:gd name="connsiteY6" fmla="*/ 13468 h 508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7852" h="508768">
                  <a:moveTo>
                    <a:pt x="0" y="13468"/>
                  </a:moveTo>
                  <a:lnTo>
                    <a:pt x="240916" y="254384"/>
                  </a:lnTo>
                  <a:lnTo>
                    <a:pt x="0" y="495300"/>
                  </a:lnTo>
                  <a:lnTo>
                    <a:pt x="13468" y="508768"/>
                  </a:lnTo>
                  <a:lnTo>
                    <a:pt x="267853" y="254384"/>
                  </a:lnTo>
                  <a:lnTo>
                    <a:pt x="13468" y="0"/>
                  </a:lnTo>
                  <a:lnTo>
                    <a:pt x="0" y="13468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Graphic 2" descr="Caret Right outline">
              <a:extLst>
                <a:ext uri="{FF2B5EF4-FFF2-40B4-BE49-F238E27FC236}">
                  <a16:creationId xmlns:a16="http://schemas.microsoft.com/office/drawing/2014/main" id="{1CACE0E6-9522-FD6F-BF50-160DE2A01FDF}"/>
                </a:ext>
              </a:extLst>
            </p:cNvPr>
            <p:cNvSpPr/>
            <p:nvPr/>
          </p:nvSpPr>
          <p:spPr>
            <a:xfrm>
              <a:off x="4848976" y="2519363"/>
              <a:ext cx="117844" cy="223838"/>
            </a:xfrm>
            <a:custGeom>
              <a:avLst/>
              <a:gdLst>
                <a:gd name="connsiteX0" fmla="*/ 0 w 267852"/>
                <a:gd name="connsiteY0" fmla="*/ 13468 h 508768"/>
                <a:gd name="connsiteX1" fmla="*/ 240916 w 267852"/>
                <a:gd name="connsiteY1" fmla="*/ 254384 h 508768"/>
                <a:gd name="connsiteX2" fmla="*/ 0 w 267852"/>
                <a:gd name="connsiteY2" fmla="*/ 495300 h 508768"/>
                <a:gd name="connsiteX3" fmla="*/ 13468 w 267852"/>
                <a:gd name="connsiteY3" fmla="*/ 508768 h 508768"/>
                <a:gd name="connsiteX4" fmla="*/ 267853 w 267852"/>
                <a:gd name="connsiteY4" fmla="*/ 254384 h 508768"/>
                <a:gd name="connsiteX5" fmla="*/ 13468 w 267852"/>
                <a:gd name="connsiteY5" fmla="*/ 0 h 508768"/>
                <a:gd name="connsiteX6" fmla="*/ 0 w 267852"/>
                <a:gd name="connsiteY6" fmla="*/ 13468 h 508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7852" h="508768">
                  <a:moveTo>
                    <a:pt x="0" y="13468"/>
                  </a:moveTo>
                  <a:lnTo>
                    <a:pt x="240916" y="254384"/>
                  </a:lnTo>
                  <a:lnTo>
                    <a:pt x="0" y="495300"/>
                  </a:lnTo>
                  <a:lnTo>
                    <a:pt x="13468" y="508768"/>
                  </a:lnTo>
                  <a:lnTo>
                    <a:pt x="267853" y="254384"/>
                  </a:lnTo>
                  <a:lnTo>
                    <a:pt x="13468" y="0"/>
                  </a:lnTo>
                  <a:lnTo>
                    <a:pt x="0" y="13468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Graphic 2" descr="Caret Right outline">
              <a:extLst>
                <a:ext uri="{FF2B5EF4-FFF2-40B4-BE49-F238E27FC236}">
                  <a16:creationId xmlns:a16="http://schemas.microsoft.com/office/drawing/2014/main" id="{ACE4BE68-7FFA-FF81-BEFF-97F9350C8D4B}"/>
                </a:ext>
              </a:extLst>
            </p:cNvPr>
            <p:cNvSpPr/>
            <p:nvPr/>
          </p:nvSpPr>
          <p:spPr>
            <a:xfrm>
              <a:off x="7235380" y="2519363"/>
              <a:ext cx="117844" cy="223838"/>
            </a:xfrm>
            <a:custGeom>
              <a:avLst/>
              <a:gdLst>
                <a:gd name="connsiteX0" fmla="*/ 0 w 267852"/>
                <a:gd name="connsiteY0" fmla="*/ 13468 h 508768"/>
                <a:gd name="connsiteX1" fmla="*/ 240916 w 267852"/>
                <a:gd name="connsiteY1" fmla="*/ 254384 h 508768"/>
                <a:gd name="connsiteX2" fmla="*/ 0 w 267852"/>
                <a:gd name="connsiteY2" fmla="*/ 495300 h 508768"/>
                <a:gd name="connsiteX3" fmla="*/ 13468 w 267852"/>
                <a:gd name="connsiteY3" fmla="*/ 508768 h 508768"/>
                <a:gd name="connsiteX4" fmla="*/ 267853 w 267852"/>
                <a:gd name="connsiteY4" fmla="*/ 254384 h 508768"/>
                <a:gd name="connsiteX5" fmla="*/ 13468 w 267852"/>
                <a:gd name="connsiteY5" fmla="*/ 0 h 508768"/>
                <a:gd name="connsiteX6" fmla="*/ 0 w 267852"/>
                <a:gd name="connsiteY6" fmla="*/ 13468 h 508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7852" h="508768">
                  <a:moveTo>
                    <a:pt x="0" y="13468"/>
                  </a:moveTo>
                  <a:lnTo>
                    <a:pt x="240916" y="254384"/>
                  </a:lnTo>
                  <a:lnTo>
                    <a:pt x="0" y="495300"/>
                  </a:lnTo>
                  <a:lnTo>
                    <a:pt x="13468" y="508768"/>
                  </a:lnTo>
                  <a:lnTo>
                    <a:pt x="267853" y="254384"/>
                  </a:lnTo>
                  <a:lnTo>
                    <a:pt x="13468" y="0"/>
                  </a:lnTo>
                  <a:lnTo>
                    <a:pt x="0" y="13468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Graphic 2" descr="Caret Right outline">
              <a:extLst>
                <a:ext uri="{FF2B5EF4-FFF2-40B4-BE49-F238E27FC236}">
                  <a16:creationId xmlns:a16="http://schemas.microsoft.com/office/drawing/2014/main" id="{1CB5DB92-7FA3-8125-9862-DA9EB233354F}"/>
                </a:ext>
              </a:extLst>
            </p:cNvPr>
            <p:cNvSpPr/>
            <p:nvPr/>
          </p:nvSpPr>
          <p:spPr>
            <a:xfrm>
              <a:off x="9621784" y="2519363"/>
              <a:ext cx="117844" cy="223838"/>
            </a:xfrm>
            <a:custGeom>
              <a:avLst/>
              <a:gdLst>
                <a:gd name="connsiteX0" fmla="*/ 0 w 267852"/>
                <a:gd name="connsiteY0" fmla="*/ 13468 h 508768"/>
                <a:gd name="connsiteX1" fmla="*/ 240916 w 267852"/>
                <a:gd name="connsiteY1" fmla="*/ 254384 h 508768"/>
                <a:gd name="connsiteX2" fmla="*/ 0 w 267852"/>
                <a:gd name="connsiteY2" fmla="*/ 495300 h 508768"/>
                <a:gd name="connsiteX3" fmla="*/ 13468 w 267852"/>
                <a:gd name="connsiteY3" fmla="*/ 508768 h 508768"/>
                <a:gd name="connsiteX4" fmla="*/ 267853 w 267852"/>
                <a:gd name="connsiteY4" fmla="*/ 254384 h 508768"/>
                <a:gd name="connsiteX5" fmla="*/ 13468 w 267852"/>
                <a:gd name="connsiteY5" fmla="*/ 0 h 508768"/>
                <a:gd name="connsiteX6" fmla="*/ 0 w 267852"/>
                <a:gd name="connsiteY6" fmla="*/ 13468 h 508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7852" h="508768">
                  <a:moveTo>
                    <a:pt x="0" y="13468"/>
                  </a:moveTo>
                  <a:lnTo>
                    <a:pt x="240916" y="254384"/>
                  </a:lnTo>
                  <a:lnTo>
                    <a:pt x="0" y="495300"/>
                  </a:lnTo>
                  <a:lnTo>
                    <a:pt x="13468" y="508768"/>
                  </a:lnTo>
                  <a:lnTo>
                    <a:pt x="267853" y="254384"/>
                  </a:lnTo>
                  <a:lnTo>
                    <a:pt x="13468" y="0"/>
                  </a:lnTo>
                  <a:lnTo>
                    <a:pt x="0" y="13468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532287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388C3CB-E5A5-61BC-9794-E9AFBE664F56}"/>
              </a:ext>
            </a:extLst>
          </p:cNvPr>
          <p:cNvSpPr/>
          <p:nvPr/>
        </p:nvSpPr>
        <p:spPr>
          <a:xfrm>
            <a:off x="215900" y="2590800"/>
            <a:ext cx="4611550" cy="3962400"/>
          </a:xfrm>
          <a:prstGeom prst="roundRect">
            <a:avLst>
              <a:gd name="adj" fmla="val 641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6419D51-9CA2-12D7-FF33-70105D8245EC}"/>
              </a:ext>
            </a:extLst>
          </p:cNvPr>
          <p:cNvSpPr/>
          <p:nvPr/>
        </p:nvSpPr>
        <p:spPr>
          <a:xfrm>
            <a:off x="7371519" y="2590800"/>
            <a:ext cx="4611550" cy="3962400"/>
          </a:xfrm>
          <a:prstGeom prst="roundRect">
            <a:avLst>
              <a:gd name="adj" fmla="val 641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CD76A8E-22FE-7029-1918-0517DD531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PERATING PERFORMANCE HIGHLIGHTS</a:t>
            </a:r>
            <a:endParaRPr lang="en-GB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22327AB-094B-58BF-471E-1CEAA412F857}"/>
              </a:ext>
            </a:extLst>
          </p:cNvPr>
          <p:cNvGrpSpPr/>
          <p:nvPr/>
        </p:nvGrpSpPr>
        <p:grpSpPr>
          <a:xfrm>
            <a:off x="228600" y="1377387"/>
            <a:ext cx="11745912" cy="1677978"/>
            <a:chOff x="228600" y="1377387"/>
            <a:chExt cx="11745912" cy="1677978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7428156F-7DCC-AABA-F175-70418AF7339C}"/>
                </a:ext>
              </a:extLst>
            </p:cNvPr>
            <p:cNvSpPr/>
            <p:nvPr/>
          </p:nvSpPr>
          <p:spPr>
            <a:xfrm>
              <a:off x="2498903" y="2188690"/>
              <a:ext cx="7181493" cy="387271"/>
            </a:xfrm>
            <a:custGeom>
              <a:avLst/>
              <a:gdLst>
                <a:gd name="connsiteX0" fmla="*/ 490803 w 7154183"/>
                <a:gd name="connsiteY0" fmla="*/ 0 h 392542"/>
                <a:gd name="connsiteX1" fmla="*/ 6663424 w 7154183"/>
                <a:gd name="connsiteY1" fmla="*/ 0 h 392542"/>
                <a:gd name="connsiteX2" fmla="*/ 7128176 w 7154183"/>
                <a:gd name="connsiteY2" fmla="*/ 308744 h 392542"/>
                <a:gd name="connsiteX3" fmla="*/ 7154183 w 7154183"/>
                <a:gd name="connsiteY3" fmla="*/ 392542 h 392542"/>
                <a:gd name="connsiteX4" fmla="*/ 0 w 7154183"/>
                <a:gd name="connsiteY4" fmla="*/ 392542 h 392542"/>
                <a:gd name="connsiteX5" fmla="*/ 25933 w 7154183"/>
                <a:gd name="connsiteY5" fmla="*/ 308744 h 392542"/>
                <a:gd name="connsiteX6" fmla="*/ 490803 w 7154183"/>
                <a:gd name="connsiteY6" fmla="*/ 0 h 392542"/>
                <a:gd name="connsiteX0" fmla="*/ 0 w 7154183"/>
                <a:gd name="connsiteY0" fmla="*/ 392542 h 485227"/>
                <a:gd name="connsiteX1" fmla="*/ 25933 w 7154183"/>
                <a:gd name="connsiteY1" fmla="*/ 308744 h 485227"/>
                <a:gd name="connsiteX2" fmla="*/ 490803 w 7154183"/>
                <a:gd name="connsiteY2" fmla="*/ 0 h 485227"/>
                <a:gd name="connsiteX3" fmla="*/ 6663424 w 7154183"/>
                <a:gd name="connsiteY3" fmla="*/ 0 h 485227"/>
                <a:gd name="connsiteX4" fmla="*/ 7128176 w 7154183"/>
                <a:gd name="connsiteY4" fmla="*/ 308744 h 485227"/>
                <a:gd name="connsiteX5" fmla="*/ 7154183 w 7154183"/>
                <a:gd name="connsiteY5" fmla="*/ 392542 h 485227"/>
                <a:gd name="connsiteX6" fmla="*/ 91092 w 7154183"/>
                <a:gd name="connsiteY6" fmla="*/ 485227 h 485227"/>
                <a:gd name="connsiteX0" fmla="*/ 0 w 7154183"/>
                <a:gd name="connsiteY0" fmla="*/ 392542 h 392542"/>
                <a:gd name="connsiteX1" fmla="*/ 25933 w 7154183"/>
                <a:gd name="connsiteY1" fmla="*/ 308744 h 392542"/>
                <a:gd name="connsiteX2" fmla="*/ 490803 w 7154183"/>
                <a:gd name="connsiteY2" fmla="*/ 0 h 392542"/>
                <a:gd name="connsiteX3" fmla="*/ 6663424 w 7154183"/>
                <a:gd name="connsiteY3" fmla="*/ 0 h 392542"/>
                <a:gd name="connsiteX4" fmla="*/ 7128176 w 7154183"/>
                <a:gd name="connsiteY4" fmla="*/ 308744 h 392542"/>
                <a:gd name="connsiteX5" fmla="*/ 7154183 w 7154183"/>
                <a:gd name="connsiteY5" fmla="*/ 392542 h 39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4183" h="392542">
                  <a:moveTo>
                    <a:pt x="0" y="392542"/>
                  </a:moveTo>
                  <a:lnTo>
                    <a:pt x="25933" y="308744"/>
                  </a:lnTo>
                  <a:cubicBezTo>
                    <a:pt x="102387" y="127429"/>
                    <a:pt x="281462" y="0"/>
                    <a:pt x="490803" y="0"/>
                  </a:cubicBezTo>
                  <a:lnTo>
                    <a:pt x="6663424" y="0"/>
                  </a:lnTo>
                  <a:cubicBezTo>
                    <a:pt x="6872135" y="0"/>
                    <a:pt x="7051525" y="127429"/>
                    <a:pt x="7128176" y="308744"/>
                  </a:cubicBezTo>
                  <a:lnTo>
                    <a:pt x="7154183" y="392542"/>
                  </a:lnTo>
                </a:path>
              </a:pathLst>
            </a:custGeom>
            <a:noFill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26EC7624-F4A3-5F4E-5337-78608AB809F1}"/>
                </a:ext>
              </a:extLst>
            </p:cNvPr>
            <p:cNvSpPr/>
            <p:nvPr/>
          </p:nvSpPr>
          <p:spPr>
            <a:xfrm>
              <a:off x="228600" y="2590800"/>
              <a:ext cx="4543368" cy="3343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BSIDIARIE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904722E-3724-5D17-1967-43331F5C9868}"/>
                </a:ext>
              </a:extLst>
            </p:cNvPr>
            <p:cNvSpPr/>
            <p:nvPr/>
          </p:nvSpPr>
          <p:spPr>
            <a:xfrm>
              <a:off x="7380286" y="2590800"/>
              <a:ext cx="4594226" cy="3343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SOCIATES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41C5D709-D28C-D52D-7975-6D4B764B2E9F}"/>
                </a:ext>
              </a:extLst>
            </p:cNvPr>
            <p:cNvGrpSpPr/>
            <p:nvPr/>
          </p:nvGrpSpPr>
          <p:grpSpPr>
            <a:xfrm>
              <a:off x="5257800" y="1377387"/>
              <a:ext cx="1676400" cy="1677978"/>
              <a:chOff x="5257800" y="1674536"/>
              <a:chExt cx="1676400" cy="1677978"/>
            </a:xfrm>
          </p:grpSpPr>
          <p:sp>
            <p:nvSpPr>
              <p:cNvPr id="11" name="Oval 6">
                <a:extLst>
                  <a:ext uri="{FF2B5EF4-FFF2-40B4-BE49-F238E27FC236}">
                    <a16:creationId xmlns:a16="http://schemas.microsoft.com/office/drawing/2014/main" id="{79BAC6E0-6CD5-4D4B-BA18-3891B03D58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7800" y="1674536"/>
                <a:ext cx="1676400" cy="1677978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Oval 7">
                <a:extLst>
                  <a:ext uri="{FF2B5EF4-FFF2-40B4-BE49-F238E27FC236}">
                    <a16:creationId xmlns:a16="http://schemas.microsoft.com/office/drawing/2014/main" id="{AEB9C5AD-9F66-05D6-E5F6-C2AF24E63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7800" y="1674536"/>
                <a:ext cx="1676400" cy="1677978"/>
              </a:xfrm>
              <a:prstGeom prst="ellipse">
                <a:avLst/>
              </a:prstGeom>
              <a:noFill/>
              <a:ln w="12700" cap="flat">
                <a:noFill/>
                <a:prstDash val="solid"/>
                <a:miter lim="800000"/>
                <a:headEnd/>
                <a:tailEnd/>
              </a:ln>
              <a:effectLst>
                <a:outerShdw blurRad="107950" dist="12700" dir="5400000" algn="ctr">
                  <a:srgbClr val="000000"/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8">
                <a:extLst>
                  <a:ext uri="{FF2B5EF4-FFF2-40B4-BE49-F238E27FC236}">
                    <a16:creationId xmlns:a16="http://schemas.microsoft.com/office/drawing/2014/main" id="{3C1A134B-C058-95B8-06E4-572E8A806D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28044" y="2616918"/>
                <a:ext cx="154696" cy="151539"/>
              </a:xfrm>
              <a:custGeom>
                <a:avLst/>
                <a:gdLst>
                  <a:gd name="T0" fmla="*/ 426 w 429"/>
                  <a:gd name="T1" fmla="*/ 200 h 422"/>
                  <a:gd name="T2" fmla="*/ 215 w 429"/>
                  <a:gd name="T3" fmla="*/ 0 h 422"/>
                  <a:gd name="T4" fmla="*/ 0 w 429"/>
                  <a:gd name="T5" fmla="*/ 212 h 422"/>
                  <a:gd name="T6" fmla="*/ 213 w 429"/>
                  <a:gd name="T7" fmla="*/ 422 h 422"/>
                  <a:gd name="T8" fmla="*/ 363 w 429"/>
                  <a:gd name="T9" fmla="*/ 367 h 422"/>
                  <a:gd name="T10" fmla="*/ 426 w 429"/>
                  <a:gd name="T11" fmla="*/ 200 h 422"/>
                  <a:gd name="T12" fmla="*/ 328 w 429"/>
                  <a:gd name="T13" fmla="*/ 337 h 422"/>
                  <a:gd name="T14" fmla="*/ 214 w 429"/>
                  <a:gd name="T15" fmla="*/ 398 h 422"/>
                  <a:gd name="T16" fmla="*/ 73 w 429"/>
                  <a:gd name="T17" fmla="*/ 273 h 422"/>
                  <a:gd name="T18" fmla="*/ 67 w 429"/>
                  <a:gd name="T19" fmla="*/ 208 h 422"/>
                  <a:gd name="T20" fmla="*/ 150 w 429"/>
                  <a:gd name="T21" fmla="*/ 38 h 422"/>
                  <a:gd name="T22" fmla="*/ 212 w 429"/>
                  <a:gd name="T23" fmla="*/ 24 h 422"/>
                  <a:gd name="T24" fmla="*/ 323 w 429"/>
                  <a:gd name="T25" fmla="*/ 79 h 422"/>
                  <a:gd name="T26" fmla="*/ 359 w 429"/>
                  <a:gd name="T27" fmla="*/ 203 h 422"/>
                  <a:gd name="T28" fmla="*/ 328 w 429"/>
                  <a:gd name="T29" fmla="*/ 337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9" h="422">
                    <a:moveTo>
                      <a:pt x="426" y="200"/>
                    </a:moveTo>
                    <a:cubicBezTo>
                      <a:pt x="421" y="101"/>
                      <a:pt x="354" y="0"/>
                      <a:pt x="215" y="0"/>
                    </a:cubicBezTo>
                    <a:cubicBezTo>
                      <a:pt x="86" y="0"/>
                      <a:pt x="0" y="85"/>
                      <a:pt x="0" y="212"/>
                    </a:cubicBezTo>
                    <a:cubicBezTo>
                      <a:pt x="0" y="357"/>
                      <a:pt x="107" y="422"/>
                      <a:pt x="213" y="422"/>
                    </a:cubicBezTo>
                    <a:cubicBezTo>
                      <a:pt x="272" y="422"/>
                      <a:pt x="324" y="403"/>
                      <a:pt x="363" y="367"/>
                    </a:cubicBezTo>
                    <a:cubicBezTo>
                      <a:pt x="407" y="326"/>
                      <a:pt x="429" y="267"/>
                      <a:pt x="426" y="200"/>
                    </a:cubicBezTo>
                    <a:close/>
                    <a:moveTo>
                      <a:pt x="328" y="337"/>
                    </a:moveTo>
                    <a:cubicBezTo>
                      <a:pt x="291" y="393"/>
                      <a:pt x="236" y="398"/>
                      <a:pt x="214" y="398"/>
                    </a:cubicBezTo>
                    <a:cubicBezTo>
                      <a:pt x="195" y="398"/>
                      <a:pt x="98" y="392"/>
                      <a:pt x="73" y="273"/>
                    </a:cubicBezTo>
                    <a:cubicBezTo>
                      <a:pt x="69" y="254"/>
                      <a:pt x="67" y="232"/>
                      <a:pt x="67" y="208"/>
                    </a:cubicBezTo>
                    <a:cubicBezTo>
                      <a:pt x="67" y="123"/>
                      <a:pt x="95" y="66"/>
                      <a:pt x="150" y="38"/>
                    </a:cubicBezTo>
                    <a:cubicBezTo>
                      <a:pt x="168" y="29"/>
                      <a:pt x="190" y="24"/>
                      <a:pt x="212" y="24"/>
                    </a:cubicBezTo>
                    <a:cubicBezTo>
                      <a:pt x="269" y="24"/>
                      <a:pt x="304" y="54"/>
                      <a:pt x="323" y="79"/>
                    </a:cubicBezTo>
                    <a:cubicBezTo>
                      <a:pt x="353" y="120"/>
                      <a:pt x="358" y="170"/>
                      <a:pt x="359" y="203"/>
                    </a:cubicBezTo>
                    <a:cubicBezTo>
                      <a:pt x="360" y="259"/>
                      <a:pt x="349" y="304"/>
                      <a:pt x="328" y="337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9">
                <a:extLst>
                  <a:ext uri="{FF2B5EF4-FFF2-40B4-BE49-F238E27FC236}">
                    <a16:creationId xmlns:a16="http://schemas.microsoft.com/office/drawing/2014/main" id="{D9A6E5B7-B19B-FE63-1393-9EE873B1A01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67428" y="2618497"/>
                <a:ext cx="108919" cy="149961"/>
              </a:xfrm>
              <a:custGeom>
                <a:avLst/>
                <a:gdLst>
                  <a:gd name="T0" fmla="*/ 0 w 305"/>
                  <a:gd name="T1" fmla="*/ 414 h 414"/>
                  <a:gd name="T2" fmla="*/ 0 w 305"/>
                  <a:gd name="T3" fmla="*/ 0 h 414"/>
                  <a:gd name="T4" fmla="*/ 118 w 305"/>
                  <a:gd name="T5" fmla="*/ 0 h 414"/>
                  <a:gd name="T6" fmla="*/ 305 w 305"/>
                  <a:gd name="T7" fmla="*/ 113 h 414"/>
                  <a:gd name="T8" fmla="*/ 120 w 305"/>
                  <a:gd name="T9" fmla="*/ 227 h 414"/>
                  <a:gd name="T10" fmla="*/ 60 w 305"/>
                  <a:gd name="T11" fmla="*/ 227 h 414"/>
                  <a:gd name="T12" fmla="*/ 60 w 305"/>
                  <a:gd name="T13" fmla="*/ 414 h 414"/>
                  <a:gd name="T14" fmla="*/ 0 w 305"/>
                  <a:gd name="T15" fmla="*/ 414 h 414"/>
                  <a:gd name="T16" fmla="*/ 112 w 305"/>
                  <a:gd name="T17" fmla="*/ 20 h 414"/>
                  <a:gd name="T18" fmla="*/ 60 w 305"/>
                  <a:gd name="T19" fmla="*/ 24 h 414"/>
                  <a:gd name="T20" fmla="*/ 60 w 305"/>
                  <a:gd name="T21" fmla="*/ 203 h 414"/>
                  <a:gd name="T22" fmla="*/ 107 w 305"/>
                  <a:gd name="T23" fmla="*/ 203 h 414"/>
                  <a:gd name="T24" fmla="*/ 240 w 305"/>
                  <a:gd name="T25" fmla="*/ 114 h 414"/>
                  <a:gd name="T26" fmla="*/ 112 w 305"/>
                  <a:gd name="T27" fmla="*/ 20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5" h="414">
                    <a:moveTo>
                      <a:pt x="0" y="414"/>
                    </a:moveTo>
                    <a:lnTo>
                      <a:pt x="0" y="0"/>
                    </a:lnTo>
                    <a:lnTo>
                      <a:pt x="118" y="0"/>
                    </a:lnTo>
                    <a:cubicBezTo>
                      <a:pt x="244" y="0"/>
                      <a:pt x="305" y="38"/>
                      <a:pt x="305" y="113"/>
                    </a:cubicBezTo>
                    <a:cubicBezTo>
                      <a:pt x="305" y="220"/>
                      <a:pt x="175" y="227"/>
                      <a:pt x="120" y="227"/>
                    </a:cubicBezTo>
                    <a:lnTo>
                      <a:pt x="60" y="227"/>
                    </a:lnTo>
                    <a:lnTo>
                      <a:pt x="60" y="414"/>
                    </a:lnTo>
                    <a:lnTo>
                      <a:pt x="0" y="414"/>
                    </a:lnTo>
                    <a:close/>
                    <a:moveTo>
                      <a:pt x="112" y="20"/>
                    </a:moveTo>
                    <a:cubicBezTo>
                      <a:pt x="81" y="20"/>
                      <a:pt x="60" y="24"/>
                      <a:pt x="60" y="24"/>
                    </a:cubicBezTo>
                    <a:lnTo>
                      <a:pt x="60" y="203"/>
                    </a:lnTo>
                    <a:lnTo>
                      <a:pt x="107" y="203"/>
                    </a:lnTo>
                    <a:cubicBezTo>
                      <a:pt x="195" y="203"/>
                      <a:pt x="240" y="181"/>
                      <a:pt x="240" y="114"/>
                    </a:cubicBezTo>
                    <a:cubicBezTo>
                      <a:pt x="240" y="69"/>
                      <a:pt x="218" y="20"/>
                      <a:pt x="112" y="20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10">
                <a:extLst>
                  <a:ext uri="{FF2B5EF4-FFF2-40B4-BE49-F238E27FC236}">
                    <a16:creationId xmlns:a16="http://schemas.microsoft.com/office/drawing/2014/main" id="{A6FAF154-6700-EB02-796D-11FFDAD36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7468" y="2618497"/>
                <a:ext cx="110497" cy="149961"/>
              </a:xfrm>
              <a:custGeom>
                <a:avLst/>
                <a:gdLst>
                  <a:gd name="T0" fmla="*/ 166 w 311"/>
                  <a:gd name="T1" fmla="*/ 418 h 418"/>
                  <a:gd name="T2" fmla="*/ 15 w 311"/>
                  <a:gd name="T3" fmla="*/ 360 h 418"/>
                  <a:gd name="T4" fmla="*/ 0 w 311"/>
                  <a:gd name="T5" fmla="*/ 292 h 418"/>
                  <a:gd name="T6" fmla="*/ 0 w 311"/>
                  <a:gd name="T7" fmla="*/ 0 h 418"/>
                  <a:gd name="T8" fmla="*/ 60 w 311"/>
                  <a:gd name="T9" fmla="*/ 0 h 418"/>
                  <a:gd name="T10" fmla="*/ 60 w 311"/>
                  <a:gd name="T11" fmla="*/ 290 h 418"/>
                  <a:gd name="T12" fmla="*/ 166 w 311"/>
                  <a:gd name="T13" fmla="*/ 394 h 418"/>
                  <a:gd name="T14" fmla="*/ 269 w 311"/>
                  <a:gd name="T15" fmla="*/ 296 h 418"/>
                  <a:gd name="T16" fmla="*/ 269 w 311"/>
                  <a:gd name="T17" fmla="*/ 0 h 418"/>
                  <a:gd name="T18" fmla="*/ 311 w 311"/>
                  <a:gd name="T19" fmla="*/ 0 h 418"/>
                  <a:gd name="T20" fmla="*/ 311 w 311"/>
                  <a:gd name="T21" fmla="*/ 300 h 418"/>
                  <a:gd name="T22" fmla="*/ 298 w 311"/>
                  <a:gd name="T23" fmla="*/ 358 h 418"/>
                  <a:gd name="T24" fmla="*/ 166 w 311"/>
                  <a:gd name="T25" fmla="*/ 418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11" h="418">
                    <a:moveTo>
                      <a:pt x="166" y="418"/>
                    </a:moveTo>
                    <a:cubicBezTo>
                      <a:pt x="117" y="418"/>
                      <a:pt x="43" y="412"/>
                      <a:pt x="15" y="360"/>
                    </a:cubicBezTo>
                    <a:cubicBezTo>
                      <a:pt x="5" y="344"/>
                      <a:pt x="0" y="321"/>
                      <a:pt x="0" y="292"/>
                    </a:cubicBezTo>
                    <a:lnTo>
                      <a:pt x="0" y="0"/>
                    </a:lnTo>
                    <a:lnTo>
                      <a:pt x="60" y="0"/>
                    </a:lnTo>
                    <a:lnTo>
                      <a:pt x="60" y="290"/>
                    </a:lnTo>
                    <a:cubicBezTo>
                      <a:pt x="61" y="316"/>
                      <a:pt x="63" y="394"/>
                      <a:pt x="166" y="394"/>
                    </a:cubicBezTo>
                    <a:cubicBezTo>
                      <a:pt x="197" y="394"/>
                      <a:pt x="269" y="385"/>
                      <a:pt x="269" y="296"/>
                    </a:cubicBezTo>
                    <a:lnTo>
                      <a:pt x="269" y="0"/>
                    </a:lnTo>
                    <a:lnTo>
                      <a:pt x="311" y="0"/>
                    </a:lnTo>
                    <a:lnTo>
                      <a:pt x="311" y="300"/>
                    </a:lnTo>
                    <a:cubicBezTo>
                      <a:pt x="310" y="318"/>
                      <a:pt x="310" y="338"/>
                      <a:pt x="298" y="358"/>
                    </a:cubicBezTo>
                    <a:cubicBezTo>
                      <a:pt x="285" y="380"/>
                      <a:pt x="261" y="418"/>
                      <a:pt x="166" y="418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 11">
                <a:extLst>
                  <a:ext uri="{FF2B5EF4-FFF2-40B4-BE49-F238E27FC236}">
                    <a16:creationId xmlns:a16="http://schemas.microsoft.com/office/drawing/2014/main" id="{4CC18C42-4202-DBAF-C6DC-9EAFB2EEE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3916" y="2616918"/>
                <a:ext cx="135754" cy="151539"/>
              </a:xfrm>
              <a:custGeom>
                <a:avLst/>
                <a:gdLst>
                  <a:gd name="T0" fmla="*/ 225 w 378"/>
                  <a:gd name="T1" fmla="*/ 422 h 422"/>
                  <a:gd name="T2" fmla="*/ 0 w 378"/>
                  <a:gd name="T3" fmla="*/ 211 h 422"/>
                  <a:gd name="T4" fmla="*/ 218 w 378"/>
                  <a:gd name="T5" fmla="*/ 0 h 422"/>
                  <a:gd name="T6" fmla="*/ 378 w 378"/>
                  <a:gd name="T7" fmla="*/ 77 h 422"/>
                  <a:gd name="T8" fmla="*/ 353 w 378"/>
                  <a:gd name="T9" fmla="*/ 103 h 422"/>
                  <a:gd name="T10" fmla="*/ 321 w 378"/>
                  <a:gd name="T11" fmla="*/ 80 h 422"/>
                  <a:gd name="T12" fmla="*/ 217 w 378"/>
                  <a:gd name="T13" fmla="*/ 24 h 422"/>
                  <a:gd name="T14" fmla="*/ 70 w 378"/>
                  <a:gd name="T15" fmla="*/ 201 h 422"/>
                  <a:gd name="T16" fmla="*/ 232 w 378"/>
                  <a:gd name="T17" fmla="*/ 399 h 422"/>
                  <a:gd name="T18" fmla="*/ 295 w 378"/>
                  <a:gd name="T19" fmla="*/ 384 h 422"/>
                  <a:gd name="T20" fmla="*/ 320 w 378"/>
                  <a:gd name="T21" fmla="*/ 330 h 422"/>
                  <a:gd name="T22" fmla="*/ 320 w 378"/>
                  <a:gd name="T23" fmla="*/ 231 h 422"/>
                  <a:gd name="T24" fmla="*/ 267 w 378"/>
                  <a:gd name="T25" fmla="*/ 231 h 422"/>
                  <a:gd name="T26" fmla="*/ 288 w 378"/>
                  <a:gd name="T27" fmla="*/ 207 h 422"/>
                  <a:gd name="T28" fmla="*/ 377 w 378"/>
                  <a:gd name="T29" fmla="*/ 207 h 422"/>
                  <a:gd name="T30" fmla="*/ 377 w 378"/>
                  <a:gd name="T31" fmla="*/ 368 h 422"/>
                  <a:gd name="T32" fmla="*/ 355 w 378"/>
                  <a:gd name="T33" fmla="*/ 389 h 422"/>
                  <a:gd name="T34" fmla="*/ 225 w 378"/>
                  <a:gd name="T35" fmla="*/ 422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78" h="422">
                    <a:moveTo>
                      <a:pt x="225" y="422"/>
                    </a:moveTo>
                    <a:cubicBezTo>
                      <a:pt x="16" y="422"/>
                      <a:pt x="0" y="261"/>
                      <a:pt x="0" y="211"/>
                    </a:cubicBezTo>
                    <a:cubicBezTo>
                      <a:pt x="0" y="85"/>
                      <a:pt x="88" y="0"/>
                      <a:pt x="218" y="0"/>
                    </a:cubicBezTo>
                    <a:cubicBezTo>
                      <a:pt x="330" y="0"/>
                      <a:pt x="378" y="55"/>
                      <a:pt x="378" y="77"/>
                    </a:cubicBezTo>
                    <a:cubicBezTo>
                      <a:pt x="378" y="90"/>
                      <a:pt x="365" y="103"/>
                      <a:pt x="353" y="103"/>
                    </a:cubicBezTo>
                    <a:cubicBezTo>
                      <a:pt x="338" y="103"/>
                      <a:pt x="332" y="95"/>
                      <a:pt x="321" y="80"/>
                    </a:cubicBezTo>
                    <a:cubicBezTo>
                      <a:pt x="305" y="59"/>
                      <a:pt x="278" y="24"/>
                      <a:pt x="217" y="24"/>
                    </a:cubicBezTo>
                    <a:cubicBezTo>
                      <a:pt x="127" y="24"/>
                      <a:pt x="70" y="90"/>
                      <a:pt x="70" y="201"/>
                    </a:cubicBezTo>
                    <a:cubicBezTo>
                      <a:pt x="70" y="323"/>
                      <a:pt x="132" y="399"/>
                      <a:pt x="232" y="399"/>
                    </a:cubicBezTo>
                    <a:cubicBezTo>
                      <a:pt x="257" y="399"/>
                      <a:pt x="280" y="393"/>
                      <a:pt x="295" y="384"/>
                    </a:cubicBezTo>
                    <a:cubicBezTo>
                      <a:pt x="320" y="369"/>
                      <a:pt x="320" y="348"/>
                      <a:pt x="320" y="330"/>
                    </a:cubicBezTo>
                    <a:lnTo>
                      <a:pt x="320" y="231"/>
                    </a:lnTo>
                    <a:lnTo>
                      <a:pt x="267" y="231"/>
                    </a:lnTo>
                    <a:lnTo>
                      <a:pt x="288" y="207"/>
                    </a:lnTo>
                    <a:lnTo>
                      <a:pt x="377" y="207"/>
                    </a:lnTo>
                    <a:lnTo>
                      <a:pt x="377" y="368"/>
                    </a:lnTo>
                    <a:cubicBezTo>
                      <a:pt x="372" y="374"/>
                      <a:pt x="365" y="382"/>
                      <a:pt x="355" y="389"/>
                    </a:cubicBezTo>
                    <a:cubicBezTo>
                      <a:pt x="336" y="403"/>
                      <a:pt x="302" y="422"/>
                      <a:pt x="225" y="422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 12">
                <a:extLst>
                  <a:ext uri="{FF2B5EF4-FFF2-40B4-BE49-F238E27FC236}">
                    <a16:creationId xmlns:a16="http://schemas.microsoft.com/office/drawing/2014/main" id="{F19183B0-392B-D9BE-38DB-A770B9FF8B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93868" y="2618497"/>
                <a:ext cx="113654" cy="149961"/>
              </a:xfrm>
              <a:custGeom>
                <a:avLst/>
                <a:gdLst>
                  <a:gd name="T0" fmla="*/ 318 w 318"/>
                  <a:gd name="T1" fmla="*/ 414 h 414"/>
                  <a:gd name="T2" fmla="*/ 176 w 318"/>
                  <a:gd name="T3" fmla="*/ 222 h 414"/>
                  <a:gd name="T4" fmla="*/ 202 w 318"/>
                  <a:gd name="T5" fmla="*/ 217 h 414"/>
                  <a:gd name="T6" fmla="*/ 296 w 318"/>
                  <a:gd name="T7" fmla="*/ 113 h 414"/>
                  <a:gd name="T8" fmla="*/ 253 w 318"/>
                  <a:gd name="T9" fmla="*/ 29 h 414"/>
                  <a:gd name="T10" fmla="*/ 114 w 318"/>
                  <a:gd name="T11" fmla="*/ 0 h 414"/>
                  <a:gd name="T12" fmla="*/ 0 w 318"/>
                  <a:gd name="T13" fmla="*/ 0 h 414"/>
                  <a:gd name="T14" fmla="*/ 0 w 318"/>
                  <a:gd name="T15" fmla="*/ 414 h 414"/>
                  <a:gd name="T16" fmla="*/ 59 w 318"/>
                  <a:gd name="T17" fmla="*/ 414 h 414"/>
                  <a:gd name="T18" fmla="*/ 59 w 318"/>
                  <a:gd name="T19" fmla="*/ 260 h 414"/>
                  <a:gd name="T20" fmla="*/ 96 w 318"/>
                  <a:gd name="T21" fmla="*/ 227 h 414"/>
                  <a:gd name="T22" fmla="*/ 137 w 318"/>
                  <a:gd name="T23" fmla="*/ 251 h 414"/>
                  <a:gd name="T24" fmla="*/ 252 w 318"/>
                  <a:gd name="T25" fmla="*/ 414 h 414"/>
                  <a:gd name="T26" fmla="*/ 318 w 318"/>
                  <a:gd name="T27" fmla="*/ 414 h 414"/>
                  <a:gd name="T28" fmla="*/ 127 w 318"/>
                  <a:gd name="T29" fmla="*/ 202 h 414"/>
                  <a:gd name="T30" fmla="*/ 103 w 318"/>
                  <a:gd name="T31" fmla="*/ 203 h 414"/>
                  <a:gd name="T32" fmla="*/ 59 w 318"/>
                  <a:gd name="T33" fmla="*/ 203 h 414"/>
                  <a:gd name="T34" fmla="*/ 59 w 318"/>
                  <a:gd name="T35" fmla="*/ 24 h 414"/>
                  <a:gd name="T36" fmla="*/ 110 w 318"/>
                  <a:gd name="T37" fmla="*/ 20 h 414"/>
                  <a:gd name="T38" fmla="*/ 231 w 318"/>
                  <a:gd name="T39" fmla="*/ 115 h 414"/>
                  <a:gd name="T40" fmla="*/ 127 w 318"/>
                  <a:gd name="T41" fmla="*/ 202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18" h="414">
                    <a:moveTo>
                      <a:pt x="318" y="414"/>
                    </a:moveTo>
                    <a:lnTo>
                      <a:pt x="176" y="222"/>
                    </a:lnTo>
                    <a:cubicBezTo>
                      <a:pt x="176" y="222"/>
                      <a:pt x="196" y="219"/>
                      <a:pt x="202" y="217"/>
                    </a:cubicBezTo>
                    <a:cubicBezTo>
                      <a:pt x="226" y="211"/>
                      <a:pt x="296" y="192"/>
                      <a:pt x="296" y="113"/>
                    </a:cubicBezTo>
                    <a:cubicBezTo>
                      <a:pt x="296" y="75"/>
                      <a:pt x="279" y="46"/>
                      <a:pt x="253" y="29"/>
                    </a:cubicBezTo>
                    <a:cubicBezTo>
                      <a:pt x="217" y="4"/>
                      <a:pt x="162" y="0"/>
                      <a:pt x="114" y="0"/>
                    </a:cubicBezTo>
                    <a:lnTo>
                      <a:pt x="0" y="0"/>
                    </a:lnTo>
                    <a:lnTo>
                      <a:pt x="0" y="414"/>
                    </a:lnTo>
                    <a:lnTo>
                      <a:pt x="59" y="414"/>
                    </a:lnTo>
                    <a:lnTo>
                      <a:pt x="59" y="260"/>
                    </a:lnTo>
                    <a:cubicBezTo>
                      <a:pt x="59" y="234"/>
                      <a:pt x="75" y="227"/>
                      <a:pt x="96" y="227"/>
                    </a:cubicBezTo>
                    <a:cubicBezTo>
                      <a:pt x="108" y="227"/>
                      <a:pt x="125" y="231"/>
                      <a:pt x="137" y="251"/>
                    </a:cubicBezTo>
                    <a:lnTo>
                      <a:pt x="252" y="414"/>
                    </a:lnTo>
                    <a:lnTo>
                      <a:pt x="318" y="414"/>
                    </a:lnTo>
                    <a:close/>
                    <a:moveTo>
                      <a:pt x="127" y="202"/>
                    </a:moveTo>
                    <a:cubicBezTo>
                      <a:pt x="119" y="203"/>
                      <a:pt x="112" y="203"/>
                      <a:pt x="103" y="203"/>
                    </a:cubicBezTo>
                    <a:lnTo>
                      <a:pt x="59" y="203"/>
                    </a:lnTo>
                    <a:lnTo>
                      <a:pt x="59" y="24"/>
                    </a:lnTo>
                    <a:cubicBezTo>
                      <a:pt x="59" y="24"/>
                      <a:pt x="80" y="20"/>
                      <a:pt x="110" y="20"/>
                    </a:cubicBezTo>
                    <a:cubicBezTo>
                      <a:pt x="190" y="20"/>
                      <a:pt x="231" y="54"/>
                      <a:pt x="231" y="115"/>
                    </a:cubicBezTo>
                    <a:cubicBezTo>
                      <a:pt x="231" y="177"/>
                      <a:pt x="192" y="196"/>
                      <a:pt x="127" y="202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13">
                <a:extLst>
                  <a:ext uri="{FF2B5EF4-FFF2-40B4-BE49-F238E27FC236}">
                    <a16:creationId xmlns:a16="http://schemas.microsoft.com/office/drawing/2014/main" id="{045E8902-218A-4BDD-9708-44692F0AA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166" y="2249121"/>
                <a:ext cx="612470" cy="262036"/>
              </a:xfrm>
              <a:custGeom>
                <a:avLst/>
                <a:gdLst>
                  <a:gd name="T0" fmla="*/ 1661 w 1702"/>
                  <a:gd name="T1" fmla="*/ 563 h 731"/>
                  <a:gd name="T2" fmla="*/ 1632 w 1702"/>
                  <a:gd name="T3" fmla="*/ 559 h 731"/>
                  <a:gd name="T4" fmla="*/ 1591 w 1702"/>
                  <a:gd name="T5" fmla="*/ 564 h 731"/>
                  <a:gd name="T6" fmla="*/ 1602 w 1702"/>
                  <a:gd name="T7" fmla="*/ 646 h 731"/>
                  <a:gd name="T8" fmla="*/ 1341 w 1702"/>
                  <a:gd name="T9" fmla="*/ 639 h 731"/>
                  <a:gd name="T10" fmla="*/ 944 w 1702"/>
                  <a:gd name="T11" fmla="*/ 167 h 731"/>
                  <a:gd name="T12" fmla="*/ 454 w 1702"/>
                  <a:gd name="T13" fmla="*/ 65 h 731"/>
                  <a:gd name="T14" fmla="*/ 310 w 1702"/>
                  <a:gd name="T15" fmla="*/ 562 h 731"/>
                  <a:gd name="T16" fmla="*/ 235 w 1702"/>
                  <a:gd name="T17" fmla="*/ 297 h 731"/>
                  <a:gd name="T18" fmla="*/ 213 w 1702"/>
                  <a:gd name="T19" fmla="*/ 303 h 731"/>
                  <a:gd name="T20" fmla="*/ 0 w 1702"/>
                  <a:gd name="T21" fmla="*/ 248 h 731"/>
                  <a:gd name="T22" fmla="*/ 0 w 1702"/>
                  <a:gd name="T23" fmla="*/ 251 h 731"/>
                  <a:gd name="T24" fmla="*/ 156 w 1702"/>
                  <a:gd name="T25" fmla="*/ 350 h 731"/>
                  <a:gd name="T26" fmla="*/ 386 w 1702"/>
                  <a:gd name="T27" fmla="*/ 604 h 731"/>
                  <a:gd name="T28" fmla="*/ 355 w 1702"/>
                  <a:gd name="T29" fmla="*/ 354 h 731"/>
                  <a:gd name="T30" fmla="*/ 642 w 1702"/>
                  <a:gd name="T31" fmla="*/ 77 h 731"/>
                  <a:gd name="T32" fmla="*/ 1016 w 1702"/>
                  <a:gd name="T33" fmla="*/ 365 h 731"/>
                  <a:gd name="T34" fmla="*/ 1396 w 1702"/>
                  <a:gd name="T35" fmla="*/ 699 h 731"/>
                  <a:gd name="T36" fmla="*/ 1643 w 1702"/>
                  <a:gd name="T37" fmla="*/ 692 h 731"/>
                  <a:gd name="T38" fmla="*/ 1661 w 1702"/>
                  <a:gd name="T39" fmla="*/ 563 h 7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02" h="731">
                    <a:moveTo>
                      <a:pt x="1661" y="563"/>
                    </a:moveTo>
                    <a:cubicBezTo>
                      <a:pt x="1654" y="561"/>
                      <a:pt x="1639" y="560"/>
                      <a:pt x="1632" y="559"/>
                    </a:cubicBezTo>
                    <a:cubicBezTo>
                      <a:pt x="1617" y="559"/>
                      <a:pt x="1604" y="560"/>
                      <a:pt x="1591" y="564"/>
                    </a:cubicBezTo>
                    <a:cubicBezTo>
                      <a:pt x="1617" y="586"/>
                      <a:pt x="1616" y="620"/>
                      <a:pt x="1602" y="646"/>
                    </a:cubicBezTo>
                    <a:cubicBezTo>
                      <a:pt x="1561" y="728"/>
                      <a:pt x="1401" y="679"/>
                      <a:pt x="1341" y="639"/>
                    </a:cubicBezTo>
                    <a:cubicBezTo>
                      <a:pt x="1157" y="517"/>
                      <a:pt x="1048" y="285"/>
                      <a:pt x="944" y="167"/>
                    </a:cubicBezTo>
                    <a:cubicBezTo>
                      <a:pt x="798" y="4"/>
                      <a:pt x="584" y="0"/>
                      <a:pt x="454" y="65"/>
                    </a:cubicBezTo>
                    <a:cubicBezTo>
                      <a:pt x="291" y="146"/>
                      <a:pt x="251" y="372"/>
                      <a:pt x="310" y="562"/>
                    </a:cubicBezTo>
                    <a:cubicBezTo>
                      <a:pt x="231" y="539"/>
                      <a:pt x="197" y="386"/>
                      <a:pt x="235" y="297"/>
                    </a:cubicBezTo>
                    <a:cubicBezTo>
                      <a:pt x="228" y="299"/>
                      <a:pt x="220" y="301"/>
                      <a:pt x="213" y="303"/>
                    </a:cubicBezTo>
                    <a:cubicBezTo>
                      <a:pt x="129" y="322"/>
                      <a:pt x="47" y="299"/>
                      <a:pt x="0" y="248"/>
                    </a:cubicBezTo>
                    <a:cubicBezTo>
                      <a:pt x="0" y="249"/>
                      <a:pt x="0" y="250"/>
                      <a:pt x="0" y="251"/>
                    </a:cubicBezTo>
                    <a:cubicBezTo>
                      <a:pt x="26" y="310"/>
                      <a:pt x="80" y="348"/>
                      <a:pt x="156" y="350"/>
                    </a:cubicBezTo>
                    <a:cubicBezTo>
                      <a:pt x="152" y="552"/>
                      <a:pt x="265" y="614"/>
                      <a:pt x="386" y="604"/>
                    </a:cubicBezTo>
                    <a:cubicBezTo>
                      <a:pt x="353" y="543"/>
                      <a:pt x="344" y="434"/>
                      <a:pt x="355" y="354"/>
                    </a:cubicBezTo>
                    <a:cubicBezTo>
                      <a:pt x="366" y="278"/>
                      <a:pt x="433" y="83"/>
                      <a:pt x="642" y="77"/>
                    </a:cubicBezTo>
                    <a:cubicBezTo>
                      <a:pt x="843" y="71"/>
                      <a:pt x="918" y="243"/>
                      <a:pt x="1016" y="365"/>
                    </a:cubicBezTo>
                    <a:cubicBezTo>
                      <a:pt x="1100" y="470"/>
                      <a:pt x="1233" y="645"/>
                      <a:pt x="1396" y="699"/>
                    </a:cubicBezTo>
                    <a:cubicBezTo>
                      <a:pt x="1471" y="724"/>
                      <a:pt x="1576" y="731"/>
                      <a:pt x="1643" y="692"/>
                    </a:cubicBezTo>
                    <a:cubicBezTo>
                      <a:pt x="1685" y="668"/>
                      <a:pt x="1702" y="600"/>
                      <a:pt x="1661" y="563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Freeform 14">
                <a:extLst>
                  <a:ext uri="{FF2B5EF4-FFF2-40B4-BE49-F238E27FC236}">
                    <a16:creationId xmlns:a16="http://schemas.microsoft.com/office/drawing/2014/main" id="{FC7BDB19-1BD1-65CC-2BDE-211DA1BC16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6616" y="2454330"/>
                <a:ext cx="243094" cy="134176"/>
              </a:xfrm>
              <a:custGeom>
                <a:avLst/>
                <a:gdLst>
                  <a:gd name="T0" fmla="*/ 621 w 676"/>
                  <a:gd name="T1" fmla="*/ 348 h 372"/>
                  <a:gd name="T2" fmla="*/ 494 w 676"/>
                  <a:gd name="T3" fmla="*/ 263 h 372"/>
                  <a:gd name="T4" fmla="*/ 450 w 676"/>
                  <a:gd name="T5" fmla="*/ 143 h 372"/>
                  <a:gd name="T6" fmla="*/ 452 w 676"/>
                  <a:gd name="T7" fmla="*/ 125 h 372"/>
                  <a:gd name="T8" fmla="*/ 419 w 676"/>
                  <a:gd name="T9" fmla="*/ 122 h 372"/>
                  <a:gd name="T10" fmla="*/ 377 w 676"/>
                  <a:gd name="T11" fmla="*/ 126 h 372"/>
                  <a:gd name="T12" fmla="*/ 208 w 676"/>
                  <a:gd name="T13" fmla="*/ 174 h 372"/>
                  <a:gd name="T14" fmla="*/ 67 w 676"/>
                  <a:gd name="T15" fmla="*/ 10 h 372"/>
                  <a:gd name="T16" fmla="*/ 57 w 676"/>
                  <a:gd name="T17" fmla="*/ 0 h 372"/>
                  <a:gd name="T18" fmla="*/ 0 w 676"/>
                  <a:gd name="T19" fmla="*/ 18 h 372"/>
                  <a:gd name="T20" fmla="*/ 42 w 676"/>
                  <a:gd name="T21" fmla="*/ 83 h 372"/>
                  <a:gd name="T22" fmla="*/ 188 w 676"/>
                  <a:gd name="T23" fmla="*/ 192 h 372"/>
                  <a:gd name="T24" fmla="*/ 379 w 676"/>
                  <a:gd name="T25" fmla="*/ 176 h 372"/>
                  <a:gd name="T26" fmla="*/ 433 w 676"/>
                  <a:gd name="T27" fmla="*/ 279 h 372"/>
                  <a:gd name="T28" fmla="*/ 572 w 676"/>
                  <a:gd name="T29" fmla="*/ 360 h 372"/>
                  <a:gd name="T30" fmla="*/ 676 w 676"/>
                  <a:gd name="T31" fmla="*/ 362 h 372"/>
                  <a:gd name="T32" fmla="*/ 621 w 676"/>
                  <a:gd name="T33" fmla="*/ 348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76" h="372">
                    <a:moveTo>
                      <a:pt x="621" y="348"/>
                    </a:moveTo>
                    <a:cubicBezTo>
                      <a:pt x="567" y="330"/>
                      <a:pt x="524" y="300"/>
                      <a:pt x="494" y="263"/>
                    </a:cubicBezTo>
                    <a:cubicBezTo>
                      <a:pt x="466" y="229"/>
                      <a:pt x="450" y="184"/>
                      <a:pt x="450" y="143"/>
                    </a:cubicBezTo>
                    <a:cubicBezTo>
                      <a:pt x="450" y="137"/>
                      <a:pt x="452" y="125"/>
                      <a:pt x="452" y="125"/>
                    </a:cubicBezTo>
                    <a:cubicBezTo>
                      <a:pt x="452" y="125"/>
                      <a:pt x="436" y="122"/>
                      <a:pt x="419" y="122"/>
                    </a:cubicBezTo>
                    <a:cubicBezTo>
                      <a:pt x="391" y="122"/>
                      <a:pt x="377" y="126"/>
                      <a:pt x="377" y="126"/>
                    </a:cubicBezTo>
                    <a:cubicBezTo>
                      <a:pt x="377" y="126"/>
                      <a:pt x="312" y="200"/>
                      <a:pt x="208" y="174"/>
                    </a:cubicBezTo>
                    <a:cubicBezTo>
                      <a:pt x="109" y="149"/>
                      <a:pt x="111" y="62"/>
                      <a:pt x="67" y="10"/>
                    </a:cubicBezTo>
                    <a:cubicBezTo>
                      <a:pt x="64" y="6"/>
                      <a:pt x="61" y="3"/>
                      <a:pt x="57" y="0"/>
                    </a:cubicBezTo>
                    <a:lnTo>
                      <a:pt x="0" y="18"/>
                    </a:lnTo>
                    <a:cubicBezTo>
                      <a:pt x="14" y="33"/>
                      <a:pt x="29" y="54"/>
                      <a:pt x="42" y="83"/>
                    </a:cubicBezTo>
                    <a:cubicBezTo>
                      <a:pt x="61" y="125"/>
                      <a:pt x="106" y="174"/>
                      <a:pt x="188" y="192"/>
                    </a:cubicBezTo>
                    <a:cubicBezTo>
                      <a:pt x="249" y="206"/>
                      <a:pt x="315" y="202"/>
                      <a:pt x="379" y="176"/>
                    </a:cubicBezTo>
                    <a:cubicBezTo>
                      <a:pt x="386" y="213"/>
                      <a:pt x="405" y="249"/>
                      <a:pt x="433" y="279"/>
                    </a:cubicBezTo>
                    <a:cubicBezTo>
                      <a:pt x="465" y="314"/>
                      <a:pt x="517" y="344"/>
                      <a:pt x="572" y="360"/>
                    </a:cubicBezTo>
                    <a:cubicBezTo>
                      <a:pt x="611" y="372"/>
                      <a:pt x="656" y="371"/>
                      <a:pt x="676" y="362"/>
                    </a:cubicBezTo>
                    <a:cubicBezTo>
                      <a:pt x="657" y="359"/>
                      <a:pt x="638" y="354"/>
                      <a:pt x="621" y="348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 15">
                <a:extLst>
                  <a:ext uri="{FF2B5EF4-FFF2-40B4-BE49-F238E27FC236}">
                    <a16:creationId xmlns:a16="http://schemas.microsoft.com/office/drawing/2014/main" id="{2F06A9E5-65A2-6438-B61F-036720027E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9283" y="2362775"/>
                <a:ext cx="172060" cy="162589"/>
              </a:xfrm>
              <a:custGeom>
                <a:avLst/>
                <a:gdLst>
                  <a:gd name="T0" fmla="*/ 351 w 479"/>
                  <a:gd name="T1" fmla="*/ 21 h 453"/>
                  <a:gd name="T2" fmla="*/ 120 w 479"/>
                  <a:gd name="T3" fmla="*/ 74 h 453"/>
                  <a:gd name="T4" fmla="*/ 102 w 479"/>
                  <a:gd name="T5" fmla="*/ 433 h 453"/>
                  <a:gd name="T6" fmla="*/ 118 w 479"/>
                  <a:gd name="T7" fmla="*/ 450 h 453"/>
                  <a:gd name="T8" fmla="*/ 154 w 479"/>
                  <a:gd name="T9" fmla="*/ 450 h 453"/>
                  <a:gd name="T10" fmla="*/ 195 w 479"/>
                  <a:gd name="T11" fmla="*/ 433 h 453"/>
                  <a:gd name="T12" fmla="*/ 103 w 479"/>
                  <a:gd name="T13" fmla="*/ 283 h 453"/>
                  <a:gd name="T14" fmla="*/ 339 w 479"/>
                  <a:gd name="T15" fmla="*/ 48 h 453"/>
                  <a:gd name="T16" fmla="*/ 380 w 479"/>
                  <a:gd name="T17" fmla="*/ 158 h 453"/>
                  <a:gd name="T18" fmla="*/ 285 w 479"/>
                  <a:gd name="T19" fmla="*/ 183 h 453"/>
                  <a:gd name="T20" fmla="*/ 336 w 479"/>
                  <a:gd name="T21" fmla="*/ 233 h 453"/>
                  <a:gd name="T22" fmla="*/ 442 w 479"/>
                  <a:gd name="T23" fmla="*/ 172 h 453"/>
                  <a:gd name="T24" fmla="*/ 351 w 479"/>
                  <a:gd name="T25" fmla="*/ 21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79" h="453">
                    <a:moveTo>
                      <a:pt x="351" y="21"/>
                    </a:moveTo>
                    <a:cubicBezTo>
                      <a:pt x="253" y="0"/>
                      <a:pt x="170" y="35"/>
                      <a:pt x="120" y="74"/>
                    </a:cubicBezTo>
                    <a:cubicBezTo>
                      <a:pt x="0" y="172"/>
                      <a:pt x="12" y="325"/>
                      <a:pt x="102" y="433"/>
                    </a:cubicBezTo>
                    <a:cubicBezTo>
                      <a:pt x="107" y="438"/>
                      <a:pt x="118" y="450"/>
                      <a:pt x="118" y="450"/>
                    </a:cubicBezTo>
                    <a:cubicBezTo>
                      <a:pt x="118" y="450"/>
                      <a:pt x="130" y="453"/>
                      <a:pt x="154" y="450"/>
                    </a:cubicBezTo>
                    <a:cubicBezTo>
                      <a:pt x="171" y="447"/>
                      <a:pt x="195" y="433"/>
                      <a:pt x="195" y="433"/>
                    </a:cubicBezTo>
                    <a:cubicBezTo>
                      <a:pt x="195" y="433"/>
                      <a:pt x="120" y="375"/>
                      <a:pt x="103" y="283"/>
                    </a:cubicBezTo>
                    <a:cubicBezTo>
                      <a:pt x="71" y="120"/>
                      <a:pt x="215" y="26"/>
                      <a:pt x="339" y="48"/>
                    </a:cubicBezTo>
                    <a:cubicBezTo>
                      <a:pt x="409" y="61"/>
                      <a:pt x="415" y="127"/>
                      <a:pt x="380" y="158"/>
                    </a:cubicBezTo>
                    <a:cubicBezTo>
                      <a:pt x="348" y="186"/>
                      <a:pt x="306" y="185"/>
                      <a:pt x="285" y="183"/>
                    </a:cubicBezTo>
                    <a:cubicBezTo>
                      <a:pt x="303" y="193"/>
                      <a:pt x="321" y="211"/>
                      <a:pt x="336" y="233"/>
                    </a:cubicBezTo>
                    <a:cubicBezTo>
                      <a:pt x="336" y="233"/>
                      <a:pt x="403" y="226"/>
                      <a:pt x="442" y="172"/>
                    </a:cubicBezTo>
                    <a:cubicBezTo>
                      <a:pt x="479" y="121"/>
                      <a:pt x="450" y="43"/>
                      <a:pt x="351" y="21"/>
                    </a:cubicBez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Rectangle 16">
                <a:extLst>
                  <a:ext uri="{FF2B5EF4-FFF2-40B4-BE49-F238E27FC236}">
                    <a16:creationId xmlns:a16="http://schemas.microsoft.com/office/drawing/2014/main" id="{C2B5152E-53AF-5A38-8C48-31AF9562AB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0341" y="2618497"/>
                <a:ext cx="29993" cy="149961"/>
              </a:xfrm>
              <a:prstGeom prst="rect">
                <a:avLst/>
              </a:pr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 17">
                <a:extLst>
                  <a:ext uri="{FF2B5EF4-FFF2-40B4-BE49-F238E27FC236}">
                    <a16:creationId xmlns:a16="http://schemas.microsoft.com/office/drawing/2014/main" id="{7E51CDB2-84FE-8B9E-FD53-916CAE50E3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2906" y="2618497"/>
                <a:ext cx="99448" cy="149961"/>
              </a:xfrm>
              <a:custGeom>
                <a:avLst/>
                <a:gdLst>
                  <a:gd name="T0" fmla="*/ 0 w 277"/>
                  <a:gd name="T1" fmla="*/ 414 h 414"/>
                  <a:gd name="T2" fmla="*/ 0 w 277"/>
                  <a:gd name="T3" fmla="*/ 0 h 414"/>
                  <a:gd name="T4" fmla="*/ 81 w 277"/>
                  <a:gd name="T5" fmla="*/ 0 h 414"/>
                  <a:gd name="T6" fmla="*/ 81 w 277"/>
                  <a:gd name="T7" fmla="*/ 373 h 414"/>
                  <a:gd name="T8" fmla="*/ 239 w 277"/>
                  <a:gd name="T9" fmla="*/ 373 h 414"/>
                  <a:gd name="T10" fmla="*/ 277 w 277"/>
                  <a:gd name="T11" fmla="*/ 414 h 414"/>
                  <a:gd name="T12" fmla="*/ 0 w 277"/>
                  <a:gd name="T13" fmla="*/ 41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7" h="414">
                    <a:moveTo>
                      <a:pt x="0" y="414"/>
                    </a:moveTo>
                    <a:lnTo>
                      <a:pt x="0" y="0"/>
                    </a:lnTo>
                    <a:lnTo>
                      <a:pt x="81" y="0"/>
                    </a:lnTo>
                    <a:lnTo>
                      <a:pt x="81" y="373"/>
                    </a:lnTo>
                    <a:lnTo>
                      <a:pt x="239" y="373"/>
                    </a:lnTo>
                    <a:lnTo>
                      <a:pt x="277" y="414"/>
                    </a:lnTo>
                    <a:lnTo>
                      <a:pt x="0" y="414"/>
                    </a:ln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 18">
                <a:extLst>
                  <a:ext uri="{FF2B5EF4-FFF2-40B4-BE49-F238E27FC236}">
                    <a16:creationId xmlns:a16="http://schemas.microsoft.com/office/drawing/2014/main" id="{851027C1-8A07-9B89-2A74-79AF437F95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34595" y="2616918"/>
                <a:ext cx="124704" cy="151539"/>
              </a:xfrm>
              <a:custGeom>
                <a:avLst/>
                <a:gdLst>
                  <a:gd name="T0" fmla="*/ 0 w 344"/>
                  <a:gd name="T1" fmla="*/ 422 h 422"/>
                  <a:gd name="T2" fmla="*/ 0 w 344"/>
                  <a:gd name="T3" fmla="*/ 0 h 422"/>
                  <a:gd name="T4" fmla="*/ 123 w 344"/>
                  <a:gd name="T5" fmla="*/ 0 h 422"/>
                  <a:gd name="T6" fmla="*/ 264 w 344"/>
                  <a:gd name="T7" fmla="*/ 22 h 422"/>
                  <a:gd name="T8" fmla="*/ 316 w 344"/>
                  <a:gd name="T9" fmla="*/ 97 h 422"/>
                  <a:gd name="T10" fmla="*/ 240 w 344"/>
                  <a:gd name="T11" fmla="*/ 187 h 422"/>
                  <a:gd name="T12" fmla="*/ 218 w 344"/>
                  <a:gd name="T13" fmla="*/ 195 h 422"/>
                  <a:gd name="T14" fmla="*/ 247 w 344"/>
                  <a:gd name="T15" fmla="*/ 204 h 422"/>
                  <a:gd name="T16" fmla="*/ 344 w 344"/>
                  <a:gd name="T17" fmla="*/ 311 h 422"/>
                  <a:gd name="T18" fmla="*/ 266 w 344"/>
                  <a:gd name="T19" fmla="*/ 405 h 422"/>
                  <a:gd name="T20" fmla="*/ 123 w 344"/>
                  <a:gd name="T21" fmla="*/ 422 h 422"/>
                  <a:gd name="T22" fmla="*/ 0 w 344"/>
                  <a:gd name="T23" fmla="*/ 422 h 422"/>
                  <a:gd name="T24" fmla="*/ 79 w 344"/>
                  <a:gd name="T25" fmla="*/ 351 h 422"/>
                  <a:gd name="T26" fmla="*/ 87 w 344"/>
                  <a:gd name="T27" fmla="*/ 376 h 422"/>
                  <a:gd name="T28" fmla="*/ 136 w 344"/>
                  <a:gd name="T29" fmla="*/ 387 h 422"/>
                  <a:gd name="T30" fmla="*/ 260 w 344"/>
                  <a:gd name="T31" fmla="*/ 305 h 422"/>
                  <a:gd name="T32" fmla="*/ 131 w 344"/>
                  <a:gd name="T33" fmla="*/ 215 h 422"/>
                  <a:gd name="T34" fmla="*/ 123 w 344"/>
                  <a:gd name="T35" fmla="*/ 215 h 422"/>
                  <a:gd name="T36" fmla="*/ 79 w 344"/>
                  <a:gd name="T37" fmla="*/ 215 h 422"/>
                  <a:gd name="T38" fmla="*/ 79 w 344"/>
                  <a:gd name="T39" fmla="*/ 351 h 422"/>
                  <a:gd name="T40" fmla="*/ 145 w 344"/>
                  <a:gd name="T41" fmla="*/ 184 h 422"/>
                  <a:gd name="T42" fmla="*/ 236 w 344"/>
                  <a:gd name="T43" fmla="*/ 109 h 422"/>
                  <a:gd name="T44" fmla="*/ 128 w 344"/>
                  <a:gd name="T45" fmla="*/ 32 h 422"/>
                  <a:gd name="T46" fmla="*/ 87 w 344"/>
                  <a:gd name="T47" fmla="*/ 35 h 422"/>
                  <a:gd name="T48" fmla="*/ 79 w 344"/>
                  <a:gd name="T49" fmla="*/ 36 h 422"/>
                  <a:gd name="T50" fmla="*/ 79 w 344"/>
                  <a:gd name="T51" fmla="*/ 184 h 422"/>
                  <a:gd name="T52" fmla="*/ 145 w 344"/>
                  <a:gd name="T53" fmla="*/ 184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44" h="422">
                    <a:moveTo>
                      <a:pt x="0" y="422"/>
                    </a:moveTo>
                    <a:lnTo>
                      <a:pt x="0" y="0"/>
                    </a:lnTo>
                    <a:lnTo>
                      <a:pt x="123" y="0"/>
                    </a:lnTo>
                    <a:cubicBezTo>
                      <a:pt x="168" y="0"/>
                      <a:pt x="225" y="3"/>
                      <a:pt x="264" y="22"/>
                    </a:cubicBezTo>
                    <a:cubicBezTo>
                      <a:pt x="298" y="39"/>
                      <a:pt x="316" y="65"/>
                      <a:pt x="316" y="97"/>
                    </a:cubicBezTo>
                    <a:cubicBezTo>
                      <a:pt x="316" y="143"/>
                      <a:pt x="277" y="173"/>
                      <a:pt x="240" y="187"/>
                    </a:cubicBezTo>
                    <a:cubicBezTo>
                      <a:pt x="230" y="191"/>
                      <a:pt x="223" y="193"/>
                      <a:pt x="218" y="195"/>
                    </a:cubicBezTo>
                    <a:cubicBezTo>
                      <a:pt x="226" y="197"/>
                      <a:pt x="236" y="200"/>
                      <a:pt x="247" y="204"/>
                    </a:cubicBezTo>
                    <a:cubicBezTo>
                      <a:pt x="331" y="237"/>
                      <a:pt x="344" y="285"/>
                      <a:pt x="344" y="311"/>
                    </a:cubicBezTo>
                    <a:cubicBezTo>
                      <a:pt x="344" y="365"/>
                      <a:pt x="301" y="392"/>
                      <a:pt x="266" y="405"/>
                    </a:cubicBezTo>
                    <a:cubicBezTo>
                      <a:pt x="232" y="417"/>
                      <a:pt x="188" y="422"/>
                      <a:pt x="123" y="422"/>
                    </a:cubicBezTo>
                    <a:lnTo>
                      <a:pt x="0" y="422"/>
                    </a:lnTo>
                    <a:close/>
                    <a:moveTo>
                      <a:pt x="79" y="351"/>
                    </a:moveTo>
                    <a:cubicBezTo>
                      <a:pt x="79" y="359"/>
                      <a:pt x="78" y="369"/>
                      <a:pt x="87" y="376"/>
                    </a:cubicBezTo>
                    <a:cubicBezTo>
                      <a:pt x="95" y="384"/>
                      <a:pt x="111" y="387"/>
                      <a:pt x="136" y="387"/>
                    </a:cubicBezTo>
                    <a:cubicBezTo>
                      <a:pt x="216" y="387"/>
                      <a:pt x="260" y="358"/>
                      <a:pt x="260" y="305"/>
                    </a:cubicBezTo>
                    <a:cubicBezTo>
                      <a:pt x="260" y="249"/>
                      <a:pt x="217" y="218"/>
                      <a:pt x="131" y="215"/>
                    </a:cubicBezTo>
                    <a:cubicBezTo>
                      <a:pt x="130" y="215"/>
                      <a:pt x="124" y="215"/>
                      <a:pt x="123" y="215"/>
                    </a:cubicBezTo>
                    <a:lnTo>
                      <a:pt x="79" y="215"/>
                    </a:lnTo>
                    <a:lnTo>
                      <a:pt x="79" y="351"/>
                    </a:lnTo>
                    <a:close/>
                    <a:moveTo>
                      <a:pt x="145" y="184"/>
                    </a:moveTo>
                    <a:cubicBezTo>
                      <a:pt x="209" y="184"/>
                      <a:pt x="236" y="131"/>
                      <a:pt x="236" y="109"/>
                    </a:cubicBezTo>
                    <a:cubicBezTo>
                      <a:pt x="236" y="60"/>
                      <a:pt x="196" y="32"/>
                      <a:pt x="128" y="32"/>
                    </a:cubicBezTo>
                    <a:cubicBezTo>
                      <a:pt x="112" y="32"/>
                      <a:pt x="102" y="33"/>
                      <a:pt x="87" y="35"/>
                    </a:cubicBezTo>
                    <a:lnTo>
                      <a:pt x="79" y="36"/>
                    </a:lnTo>
                    <a:lnTo>
                      <a:pt x="79" y="184"/>
                    </a:lnTo>
                    <a:lnTo>
                      <a:pt x="145" y="184"/>
                    </a:ln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 19">
                <a:extLst>
                  <a:ext uri="{FF2B5EF4-FFF2-40B4-BE49-F238E27FC236}">
                    <a16:creationId xmlns:a16="http://schemas.microsoft.com/office/drawing/2014/main" id="{B58EEEFA-1203-E10D-4D5C-8AB6F9B846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7689" y="2618497"/>
                <a:ext cx="127862" cy="149961"/>
              </a:xfrm>
              <a:custGeom>
                <a:avLst/>
                <a:gdLst>
                  <a:gd name="T0" fmla="*/ 275 w 356"/>
                  <a:gd name="T1" fmla="*/ 0 h 414"/>
                  <a:gd name="T2" fmla="*/ 275 w 356"/>
                  <a:gd name="T3" fmla="*/ 180 h 414"/>
                  <a:gd name="T4" fmla="*/ 81 w 356"/>
                  <a:gd name="T5" fmla="*/ 180 h 414"/>
                  <a:gd name="T6" fmla="*/ 81 w 356"/>
                  <a:gd name="T7" fmla="*/ 0 h 414"/>
                  <a:gd name="T8" fmla="*/ 0 w 356"/>
                  <a:gd name="T9" fmla="*/ 0 h 414"/>
                  <a:gd name="T10" fmla="*/ 0 w 356"/>
                  <a:gd name="T11" fmla="*/ 414 h 414"/>
                  <a:gd name="T12" fmla="*/ 81 w 356"/>
                  <a:gd name="T13" fmla="*/ 414 h 414"/>
                  <a:gd name="T14" fmla="*/ 81 w 356"/>
                  <a:gd name="T15" fmla="*/ 237 h 414"/>
                  <a:gd name="T16" fmla="*/ 104 w 356"/>
                  <a:gd name="T17" fmla="*/ 218 h 414"/>
                  <a:gd name="T18" fmla="*/ 252 w 356"/>
                  <a:gd name="T19" fmla="*/ 218 h 414"/>
                  <a:gd name="T20" fmla="*/ 275 w 356"/>
                  <a:gd name="T21" fmla="*/ 237 h 414"/>
                  <a:gd name="T22" fmla="*/ 275 w 356"/>
                  <a:gd name="T23" fmla="*/ 414 h 414"/>
                  <a:gd name="T24" fmla="*/ 356 w 356"/>
                  <a:gd name="T25" fmla="*/ 414 h 414"/>
                  <a:gd name="T26" fmla="*/ 356 w 356"/>
                  <a:gd name="T27" fmla="*/ 0 h 414"/>
                  <a:gd name="T28" fmla="*/ 275 w 356"/>
                  <a:gd name="T29" fmla="*/ 0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56" h="414">
                    <a:moveTo>
                      <a:pt x="275" y="0"/>
                    </a:moveTo>
                    <a:lnTo>
                      <a:pt x="275" y="180"/>
                    </a:lnTo>
                    <a:lnTo>
                      <a:pt x="81" y="180"/>
                    </a:lnTo>
                    <a:lnTo>
                      <a:pt x="81" y="0"/>
                    </a:lnTo>
                    <a:lnTo>
                      <a:pt x="0" y="0"/>
                    </a:lnTo>
                    <a:lnTo>
                      <a:pt x="0" y="414"/>
                    </a:lnTo>
                    <a:lnTo>
                      <a:pt x="81" y="414"/>
                    </a:lnTo>
                    <a:lnTo>
                      <a:pt x="81" y="237"/>
                    </a:lnTo>
                    <a:cubicBezTo>
                      <a:pt x="81" y="224"/>
                      <a:pt x="93" y="218"/>
                      <a:pt x="104" y="218"/>
                    </a:cubicBezTo>
                    <a:lnTo>
                      <a:pt x="252" y="218"/>
                    </a:lnTo>
                    <a:cubicBezTo>
                      <a:pt x="263" y="218"/>
                      <a:pt x="275" y="224"/>
                      <a:pt x="275" y="237"/>
                    </a:cubicBezTo>
                    <a:lnTo>
                      <a:pt x="275" y="414"/>
                    </a:lnTo>
                    <a:lnTo>
                      <a:pt x="356" y="414"/>
                    </a:lnTo>
                    <a:lnTo>
                      <a:pt x="356" y="0"/>
                    </a:lnTo>
                    <a:lnTo>
                      <a:pt x="275" y="0"/>
                    </a:ln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21F2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aphicFrame>
        <p:nvGraphicFramePr>
          <p:cNvPr id="41" name="Table 21">
            <a:extLst>
              <a:ext uri="{FF2B5EF4-FFF2-40B4-BE49-F238E27FC236}">
                <a16:creationId xmlns:a16="http://schemas.microsoft.com/office/drawing/2014/main" id="{EB675776-4E54-16B7-681E-A0A6CCFF70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3714243"/>
              </p:ext>
            </p:extLst>
          </p:nvPr>
        </p:nvGraphicFramePr>
        <p:xfrm>
          <a:off x="338891" y="3012448"/>
          <a:ext cx="4365568" cy="34645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65568">
                  <a:extLst>
                    <a:ext uri="{9D8B030D-6E8A-4147-A177-3AD203B41FA5}">
                      <a16:colId xmlns:a16="http://schemas.microsoft.com/office/drawing/2014/main" val="927036601"/>
                    </a:ext>
                  </a:extLst>
                </a:gridCol>
              </a:tblGrid>
              <a:tr h="4949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ong top line growth </a:t>
                      </a: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om group business line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3193578"/>
                  </a:ext>
                </a:extLst>
              </a:tr>
              <a:tr h="4949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mproved but lagging retail sales growth </a:t>
                      </a: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 a challenging marke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2458057"/>
                  </a:ext>
                </a:extLst>
              </a:tr>
              <a:tr h="4949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levated Group business claims </a:t>
                      </a: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gatively</a:t>
                      </a:r>
                      <a:r>
                        <a:rPr kumimoji="0" lang="en-US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mpacting performance</a:t>
                      </a: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8842893"/>
                  </a:ext>
                </a:extLst>
              </a:tr>
              <a:tr h="4949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Investment service result </a:t>
                      </a: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impacted adversely by interest rate movements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7424307"/>
                  </a:ext>
                </a:extLst>
              </a:tr>
              <a:tr h="4949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le size has stabilised</a:t>
                      </a: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supported by increased retention focus, but remains slightly below expectation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9841180"/>
                  </a:ext>
                </a:extLst>
              </a:tr>
              <a:tr h="4949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ositive AUM and operating profit </a:t>
                      </a:r>
                      <a:r>
                        <a:rPr kumimoji="0" lang="en-GB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 the asset management busines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4016915"/>
                  </a:ext>
                </a:extLst>
              </a:tr>
              <a:tr h="4949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ong positive net inflows </a:t>
                      </a:r>
                      <a:r>
                        <a:rPr kumimoji="0" lang="en-GB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 BIFM and BIFM U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4973845"/>
                  </a:ext>
                </a:extLst>
              </a:tr>
            </a:tbl>
          </a:graphicData>
        </a:graphic>
      </p:graphicFrame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89A88A19-900A-4675-C634-063EF0EF57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1577082"/>
              </p:ext>
            </p:extLst>
          </p:nvPr>
        </p:nvGraphicFramePr>
        <p:xfrm>
          <a:off x="7494510" y="3012839"/>
          <a:ext cx="4365568" cy="34560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65568">
                  <a:extLst>
                    <a:ext uri="{9D8B030D-6E8A-4147-A177-3AD203B41FA5}">
                      <a16:colId xmlns:a16="http://schemas.microsoft.com/office/drawing/2014/main" val="1813034699"/>
                    </a:ext>
                  </a:extLst>
                </a:gridCol>
              </a:tblGrid>
              <a:tr h="4937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ong operating profit </a:t>
                      </a: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sults from NICO Holding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9874964"/>
                  </a:ext>
                </a:extLst>
              </a:tr>
              <a:tr h="4937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BIC, Insure Guard, and GrandRe (Tanzania) operating profit </a:t>
                      </a: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in line with expectation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1183102"/>
                  </a:ext>
                </a:extLst>
              </a:tr>
              <a:tr h="4937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LAHL significantly </a:t>
                      </a: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underperforming</a:t>
                      </a: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2426815"/>
                  </a:ext>
                </a:extLst>
              </a:tr>
              <a:tr h="4937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BW" sz="14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5231159"/>
                  </a:ext>
                </a:extLst>
              </a:tr>
              <a:tr h="4937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BW" sz="14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9100507"/>
                  </a:ext>
                </a:extLst>
              </a:tr>
              <a:tr h="4937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BW" sz="14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6008801"/>
                  </a:ext>
                </a:extLst>
              </a:tr>
              <a:tr h="4937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BW" sz="1400" b="0" i="0" u="none" strike="noStrike" kern="1200" cap="none" spc="0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32987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44311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Group 92">
            <a:extLst>
              <a:ext uri="{FF2B5EF4-FFF2-40B4-BE49-F238E27FC236}">
                <a16:creationId xmlns:a16="http://schemas.microsoft.com/office/drawing/2014/main" id="{A0E4696D-5C5F-5E3E-66DF-FB7F3D91C57C}"/>
              </a:ext>
            </a:extLst>
          </p:cNvPr>
          <p:cNvGrpSpPr/>
          <p:nvPr/>
        </p:nvGrpSpPr>
        <p:grpSpPr>
          <a:xfrm>
            <a:off x="1244882" y="1483531"/>
            <a:ext cx="10718518" cy="4729138"/>
            <a:chOff x="919261" y="1635931"/>
            <a:chExt cx="10718518" cy="4729138"/>
          </a:xfrm>
        </p:grpSpPr>
        <p:sp>
          <p:nvSpPr>
            <p:cNvPr id="89" name="object 18">
              <a:extLst>
                <a:ext uri="{FF2B5EF4-FFF2-40B4-BE49-F238E27FC236}">
                  <a16:creationId xmlns:a16="http://schemas.microsoft.com/office/drawing/2014/main" id="{E99E0B41-6191-BF7D-DA22-2C7D7F941E7E}"/>
                </a:ext>
              </a:extLst>
            </p:cNvPr>
            <p:cNvSpPr/>
            <p:nvPr/>
          </p:nvSpPr>
          <p:spPr>
            <a:xfrm>
              <a:off x="927128" y="1635931"/>
              <a:ext cx="10710651" cy="1077449"/>
            </a:xfrm>
            <a:custGeom>
              <a:avLst/>
              <a:gdLst/>
              <a:ahLst/>
              <a:cxnLst/>
              <a:rect l="l" t="t" r="r" b="b"/>
              <a:pathLst>
                <a:path w="9277985" h="936625">
                  <a:moveTo>
                    <a:pt x="9025928" y="0"/>
                  </a:moveTo>
                  <a:lnTo>
                    <a:pt x="0" y="0"/>
                  </a:lnTo>
                  <a:lnTo>
                    <a:pt x="0" y="936002"/>
                  </a:lnTo>
                  <a:lnTo>
                    <a:pt x="9277921" y="936002"/>
                  </a:lnTo>
                  <a:lnTo>
                    <a:pt x="9277921" y="218401"/>
                  </a:lnTo>
                  <a:lnTo>
                    <a:pt x="9272801" y="174384"/>
                  </a:lnTo>
                  <a:lnTo>
                    <a:pt x="9258117" y="133388"/>
                  </a:lnTo>
                  <a:lnTo>
                    <a:pt x="9234883" y="96289"/>
                  </a:lnTo>
                  <a:lnTo>
                    <a:pt x="9204112" y="63966"/>
                  </a:lnTo>
                  <a:lnTo>
                    <a:pt x="9166817" y="37298"/>
                  </a:lnTo>
                  <a:lnTo>
                    <a:pt x="9124012" y="17162"/>
                  </a:lnTo>
                  <a:lnTo>
                    <a:pt x="9076711" y="4436"/>
                  </a:lnTo>
                  <a:lnTo>
                    <a:pt x="9025928" y="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936000" tIns="0" rIns="0" bIns="0" rtlCol="0" anchor="ctr"/>
            <a:lstStyle/>
            <a:p>
              <a:endParaRPr lang="en-GB" sz="1400" b="1"/>
            </a:p>
          </p:txBody>
        </p:sp>
        <p:sp>
          <p:nvSpPr>
            <p:cNvPr id="90" name="object 18">
              <a:extLst>
                <a:ext uri="{FF2B5EF4-FFF2-40B4-BE49-F238E27FC236}">
                  <a16:creationId xmlns:a16="http://schemas.microsoft.com/office/drawing/2014/main" id="{C16E179E-193C-0F1D-898F-34FA45D7377E}"/>
                </a:ext>
              </a:extLst>
            </p:cNvPr>
            <p:cNvSpPr/>
            <p:nvPr/>
          </p:nvSpPr>
          <p:spPr>
            <a:xfrm>
              <a:off x="927128" y="2853161"/>
              <a:ext cx="10710651" cy="1077449"/>
            </a:xfrm>
            <a:custGeom>
              <a:avLst/>
              <a:gdLst/>
              <a:ahLst/>
              <a:cxnLst/>
              <a:rect l="l" t="t" r="r" b="b"/>
              <a:pathLst>
                <a:path w="9277985" h="936625">
                  <a:moveTo>
                    <a:pt x="9025928" y="0"/>
                  </a:moveTo>
                  <a:lnTo>
                    <a:pt x="0" y="0"/>
                  </a:lnTo>
                  <a:lnTo>
                    <a:pt x="0" y="936002"/>
                  </a:lnTo>
                  <a:lnTo>
                    <a:pt x="9277921" y="936002"/>
                  </a:lnTo>
                  <a:lnTo>
                    <a:pt x="9277921" y="218401"/>
                  </a:lnTo>
                  <a:lnTo>
                    <a:pt x="9272801" y="174384"/>
                  </a:lnTo>
                  <a:lnTo>
                    <a:pt x="9258117" y="133388"/>
                  </a:lnTo>
                  <a:lnTo>
                    <a:pt x="9234883" y="96289"/>
                  </a:lnTo>
                  <a:lnTo>
                    <a:pt x="9204112" y="63966"/>
                  </a:lnTo>
                  <a:lnTo>
                    <a:pt x="9166817" y="37298"/>
                  </a:lnTo>
                  <a:lnTo>
                    <a:pt x="9124012" y="17162"/>
                  </a:lnTo>
                  <a:lnTo>
                    <a:pt x="9076711" y="4436"/>
                  </a:lnTo>
                  <a:lnTo>
                    <a:pt x="9025928" y="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936000" tIns="0" rIns="0" bIns="0" rtlCol="0" anchor="ctr"/>
            <a:lstStyle/>
            <a:p>
              <a:endParaRPr lang="en-GB" sz="1400" b="1"/>
            </a:p>
          </p:txBody>
        </p:sp>
        <p:sp>
          <p:nvSpPr>
            <p:cNvPr id="91" name="object 18">
              <a:extLst>
                <a:ext uri="{FF2B5EF4-FFF2-40B4-BE49-F238E27FC236}">
                  <a16:creationId xmlns:a16="http://schemas.microsoft.com/office/drawing/2014/main" id="{4A370AE2-036F-1465-55D0-DFD34A124742}"/>
                </a:ext>
              </a:extLst>
            </p:cNvPr>
            <p:cNvSpPr/>
            <p:nvPr/>
          </p:nvSpPr>
          <p:spPr>
            <a:xfrm>
              <a:off x="919261" y="4070391"/>
              <a:ext cx="10710651" cy="1077449"/>
            </a:xfrm>
            <a:custGeom>
              <a:avLst/>
              <a:gdLst/>
              <a:ahLst/>
              <a:cxnLst/>
              <a:rect l="l" t="t" r="r" b="b"/>
              <a:pathLst>
                <a:path w="9277985" h="936625">
                  <a:moveTo>
                    <a:pt x="9025928" y="0"/>
                  </a:moveTo>
                  <a:lnTo>
                    <a:pt x="0" y="0"/>
                  </a:lnTo>
                  <a:lnTo>
                    <a:pt x="0" y="936002"/>
                  </a:lnTo>
                  <a:lnTo>
                    <a:pt x="9277921" y="936002"/>
                  </a:lnTo>
                  <a:lnTo>
                    <a:pt x="9277921" y="218401"/>
                  </a:lnTo>
                  <a:lnTo>
                    <a:pt x="9272801" y="174384"/>
                  </a:lnTo>
                  <a:lnTo>
                    <a:pt x="9258117" y="133388"/>
                  </a:lnTo>
                  <a:lnTo>
                    <a:pt x="9234883" y="96289"/>
                  </a:lnTo>
                  <a:lnTo>
                    <a:pt x="9204112" y="63966"/>
                  </a:lnTo>
                  <a:lnTo>
                    <a:pt x="9166817" y="37298"/>
                  </a:lnTo>
                  <a:lnTo>
                    <a:pt x="9124012" y="17162"/>
                  </a:lnTo>
                  <a:lnTo>
                    <a:pt x="9076711" y="4436"/>
                  </a:lnTo>
                  <a:lnTo>
                    <a:pt x="9025928" y="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936000" tIns="0" rIns="0" bIns="0" rtlCol="0" anchor="ctr"/>
            <a:lstStyle/>
            <a:p>
              <a:endParaRPr lang="en-GB" sz="1400" b="1"/>
            </a:p>
          </p:txBody>
        </p:sp>
        <p:sp>
          <p:nvSpPr>
            <p:cNvPr id="92" name="object 18">
              <a:extLst>
                <a:ext uri="{FF2B5EF4-FFF2-40B4-BE49-F238E27FC236}">
                  <a16:creationId xmlns:a16="http://schemas.microsoft.com/office/drawing/2014/main" id="{53C4FF68-4BDC-C7CE-518E-0EA538DBB4EF}"/>
                </a:ext>
              </a:extLst>
            </p:cNvPr>
            <p:cNvSpPr/>
            <p:nvPr/>
          </p:nvSpPr>
          <p:spPr>
            <a:xfrm>
              <a:off x="919261" y="5287620"/>
              <a:ext cx="10710651" cy="1077449"/>
            </a:xfrm>
            <a:custGeom>
              <a:avLst/>
              <a:gdLst/>
              <a:ahLst/>
              <a:cxnLst/>
              <a:rect l="l" t="t" r="r" b="b"/>
              <a:pathLst>
                <a:path w="9277985" h="936625">
                  <a:moveTo>
                    <a:pt x="9025928" y="0"/>
                  </a:moveTo>
                  <a:lnTo>
                    <a:pt x="0" y="0"/>
                  </a:lnTo>
                  <a:lnTo>
                    <a:pt x="0" y="936002"/>
                  </a:lnTo>
                  <a:lnTo>
                    <a:pt x="9277921" y="936002"/>
                  </a:lnTo>
                  <a:lnTo>
                    <a:pt x="9277921" y="218401"/>
                  </a:lnTo>
                  <a:lnTo>
                    <a:pt x="9272801" y="174384"/>
                  </a:lnTo>
                  <a:lnTo>
                    <a:pt x="9258117" y="133388"/>
                  </a:lnTo>
                  <a:lnTo>
                    <a:pt x="9234883" y="96289"/>
                  </a:lnTo>
                  <a:lnTo>
                    <a:pt x="9204112" y="63966"/>
                  </a:lnTo>
                  <a:lnTo>
                    <a:pt x="9166817" y="37298"/>
                  </a:lnTo>
                  <a:lnTo>
                    <a:pt x="9124012" y="17162"/>
                  </a:lnTo>
                  <a:lnTo>
                    <a:pt x="9076711" y="4436"/>
                  </a:lnTo>
                  <a:lnTo>
                    <a:pt x="9025928" y="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936000" tIns="0" rIns="0" bIns="0" rtlCol="0" anchor="ctr"/>
            <a:lstStyle/>
            <a:p>
              <a:endParaRPr lang="en-GB" sz="1400" b="1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1725F94-9B5F-7067-C2FD-66B9AC14B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BALANCED Performance ON KEY FINANCIAL METRICS</a:t>
            </a:r>
          </a:p>
        </p:txBody>
      </p:sp>
      <p:sp>
        <p:nvSpPr>
          <p:cNvPr id="13" name="object 18">
            <a:extLst>
              <a:ext uri="{FF2B5EF4-FFF2-40B4-BE49-F238E27FC236}">
                <a16:creationId xmlns:a16="http://schemas.microsoft.com/office/drawing/2014/main" id="{5E6D51AD-7116-3A67-DEFA-8EE04918F1F5}"/>
              </a:ext>
            </a:extLst>
          </p:cNvPr>
          <p:cNvSpPr/>
          <p:nvPr/>
        </p:nvSpPr>
        <p:spPr>
          <a:xfrm>
            <a:off x="774728" y="1483531"/>
            <a:ext cx="10710651" cy="1077449"/>
          </a:xfrm>
          <a:custGeom>
            <a:avLst/>
            <a:gdLst/>
            <a:ahLst/>
            <a:cxnLst/>
            <a:rect l="l" t="t" r="r" b="b"/>
            <a:pathLst>
              <a:path w="9277985" h="936625">
                <a:moveTo>
                  <a:pt x="9025928" y="0"/>
                </a:moveTo>
                <a:lnTo>
                  <a:pt x="0" y="0"/>
                </a:lnTo>
                <a:lnTo>
                  <a:pt x="0" y="936002"/>
                </a:lnTo>
                <a:lnTo>
                  <a:pt x="9277921" y="936002"/>
                </a:lnTo>
                <a:lnTo>
                  <a:pt x="9277921" y="218401"/>
                </a:lnTo>
                <a:lnTo>
                  <a:pt x="9272801" y="174384"/>
                </a:lnTo>
                <a:lnTo>
                  <a:pt x="9258117" y="133388"/>
                </a:lnTo>
                <a:lnTo>
                  <a:pt x="9234883" y="96289"/>
                </a:lnTo>
                <a:lnTo>
                  <a:pt x="9204112" y="63966"/>
                </a:lnTo>
                <a:lnTo>
                  <a:pt x="9166817" y="37298"/>
                </a:lnTo>
                <a:lnTo>
                  <a:pt x="9124012" y="17162"/>
                </a:lnTo>
                <a:lnTo>
                  <a:pt x="9076711" y="4436"/>
                </a:lnTo>
                <a:lnTo>
                  <a:pt x="9025928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936000" tIns="0" rIns="0" bIns="0" rtlCol="0" anchor="ctr"/>
          <a:lstStyle/>
          <a:p>
            <a:r>
              <a:rPr lang="en-GB" sz="1400" b="1"/>
              <a:t>REVENUE GROWTH</a:t>
            </a:r>
          </a:p>
        </p:txBody>
      </p:sp>
      <p:sp>
        <p:nvSpPr>
          <p:cNvPr id="36" name="object 25">
            <a:extLst>
              <a:ext uri="{FF2B5EF4-FFF2-40B4-BE49-F238E27FC236}">
                <a16:creationId xmlns:a16="http://schemas.microsoft.com/office/drawing/2014/main" id="{CB880D1E-7D3E-9373-4BDF-7D633ED029F3}"/>
              </a:ext>
            </a:extLst>
          </p:cNvPr>
          <p:cNvSpPr/>
          <p:nvPr/>
        </p:nvSpPr>
        <p:spPr>
          <a:xfrm>
            <a:off x="236467" y="1483531"/>
            <a:ext cx="1077449" cy="1077449"/>
          </a:xfrm>
          <a:custGeom>
            <a:avLst/>
            <a:gdLst/>
            <a:ahLst/>
            <a:cxnLst/>
            <a:rect l="l" t="t" r="r" b="b"/>
            <a:pathLst>
              <a:path w="933450" h="933450">
                <a:moveTo>
                  <a:pt x="466559" y="0"/>
                </a:moveTo>
                <a:lnTo>
                  <a:pt x="418857" y="2408"/>
                </a:lnTo>
                <a:lnTo>
                  <a:pt x="372532" y="9478"/>
                </a:lnTo>
                <a:lnTo>
                  <a:pt x="327820" y="20975"/>
                </a:lnTo>
                <a:lnTo>
                  <a:pt x="284955" y="36665"/>
                </a:lnTo>
                <a:lnTo>
                  <a:pt x="244171" y="56311"/>
                </a:lnTo>
                <a:lnTo>
                  <a:pt x="205703" y="79682"/>
                </a:lnTo>
                <a:lnTo>
                  <a:pt x="169785" y="106540"/>
                </a:lnTo>
                <a:lnTo>
                  <a:pt x="136653" y="136653"/>
                </a:lnTo>
                <a:lnTo>
                  <a:pt x="106540" y="169785"/>
                </a:lnTo>
                <a:lnTo>
                  <a:pt x="79682" y="205703"/>
                </a:lnTo>
                <a:lnTo>
                  <a:pt x="56311" y="244171"/>
                </a:lnTo>
                <a:lnTo>
                  <a:pt x="36665" y="284955"/>
                </a:lnTo>
                <a:lnTo>
                  <a:pt x="20975" y="327820"/>
                </a:lnTo>
                <a:lnTo>
                  <a:pt x="9478" y="372532"/>
                </a:lnTo>
                <a:lnTo>
                  <a:pt x="2408" y="418857"/>
                </a:lnTo>
                <a:lnTo>
                  <a:pt x="0" y="466559"/>
                </a:lnTo>
                <a:lnTo>
                  <a:pt x="2408" y="514262"/>
                </a:lnTo>
                <a:lnTo>
                  <a:pt x="9478" y="560586"/>
                </a:lnTo>
                <a:lnTo>
                  <a:pt x="20975" y="605299"/>
                </a:lnTo>
                <a:lnTo>
                  <a:pt x="36665" y="648164"/>
                </a:lnTo>
                <a:lnTo>
                  <a:pt x="56311" y="688948"/>
                </a:lnTo>
                <a:lnTo>
                  <a:pt x="79682" y="727416"/>
                </a:lnTo>
                <a:lnTo>
                  <a:pt x="106540" y="763333"/>
                </a:lnTo>
                <a:lnTo>
                  <a:pt x="136653" y="796466"/>
                </a:lnTo>
                <a:lnTo>
                  <a:pt x="169785" y="826579"/>
                </a:lnTo>
                <a:lnTo>
                  <a:pt x="205703" y="853437"/>
                </a:lnTo>
                <a:lnTo>
                  <a:pt x="244171" y="876807"/>
                </a:lnTo>
                <a:lnTo>
                  <a:pt x="284955" y="896454"/>
                </a:lnTo>
                <a:lnTo>
                  <a:pt x="327820" y="912143"/>
                </a:lnTo>
                <a:lnTo>
                  <a:pt x="372532" y="923640"/>
                </a:lnTo>
                <a:lnTo>
                  <a:pt x="418857" y="930710"/>
                </a:lnTo>
                <a:lnTo>
                  <a:pt x="466559" y="933119"/>
                </a:lnTo>
                <a:lnTo>
                  <a:pt x="514262" y="930710"/>
                </a:lnTo>
                <a:lnTo>
                  <a:pt x="560586" y="923640"/>
                </a:lnTo>
                <a:lnTo>
                  <a:pt x="605299" y="912143"/>
                </a:lnTo>
                <a:lnTo>
                  <a:pt x="648164" y="896454"/>
                </a:lnTo>
                <a:lnTo>
                  <a:pt x="688948" y="876807"/>
                </a:lnTo>
                <a:lnTo>
                  <a:pt x="727416" y="853437"/>
                </a:lnTo>
                <a:lnTo>
                  <a:pt x="763333" y="826579"/>
                </a:lnTo>
                <a:lnTo>
                  <a:pt x="796466" y="796466"/>
                </a:lnTo>
                <a:lnTo>
                  <a:pt x="826579" y="763333"/>
                </a:lnTo>
                <a:lnTo>
                  <a:pt x="853437" y="727416"/>
                </a:lnTo>
                <a:lnTo>
                  <a:pt x="876807" y="688948"/>
                </a:lnTo>
                <a:lnTo>
                  <a:pt x="896454" y="648164"/>
                </a:lnTo>
                <a:lnTo>
                  <a:pt x="912143" y="605299"/>
                </a:lnTo>
                <a:lnTo>
                  <a:pt x="923640" y="560586"/>
                </a:lnTo>
                <a:lnTo>
                  <a:pt x="930710" y="514262"/>
                </a:lnTo>
                <a:lnTo>
                  <a:pt x="933119" y="466559"/>
                </a:lnTo>
                <a:lnTo>
                  <a:pt x="930710" y="418857"/>
                </a:lnTo>
                <a:lnTo>
                  <a:pt x="923640" y="372532"/>
                </a:lnTo>
                <a:lnTo>
                  <a:pt x="912143" y="327820"/>
                </a:lnTo>
                <a:lnTo>
                  <a:pt x="896454" y="284955"/>
                </a:lnTo>
                <a:lnTo>
                  <a:pt x="876807" y="244171"/>
                </a:lnTo>
                <a:lnTo>
                  <a:pt x="853437" y="205703"/>
                </a:lnTo>
                <a:lnTo>
                  <a:pt x="826579" y="169785"/>
                </a:lnTo>
                <a:lnTo>
                  <a:pt x="796466" y="136653"/>
                </a:lnTo>
                <a:lnTo>
                  <a:pt x="763333" y="106540"/>
                </a:lnTo>
                <a:lnTo>
                  <a:pt x="727416" y="79682"/>
                </a:lnTo>
                <a:lnTo>
                  <a:pt x="688948" y="56311"/>
                </a:lnTo>
                <a:lnTo>
                  <a:pt x="648164" y="36665"/>
                </a:lnTo>
                <a:lnTo>
                  <a:pt x="605299" y="20975"/>
                </a:lnTo>
                <a:lnTo>
                  <a:pt x="560586" y="9478"/>
                </a:lnTo>
                <a:lnTo>
                  <a:pt x="514262" y="2408"/>
                </a:lnTo>
                <a:lnTo>
                  <a:pt x="466559" y="0"/>
                </a:lnTo>
                <a:close/>
              </a:path>
            </a:pathLst>
          </a:custGeom>
          <a:solidFill>
            <a:srgbClr val="18303A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26">
            <a:extLst>
              <a:ext uri="{FF2B5EF4-FFF2-40B4-BE49-F238E27FC236}">
                <a16:creationId xmlns:a16="http://schemas.microsoft.com/office/drawing/2014/main" id="{3FE0EFAB-5C5C-BC07-2FF0-56F84B883E3F}"/>
              </a:ext>
            </a:extLst>
          </p:cNvPr>
          <p:cNvSpPr/>
          <p:nvPr/>
        </p:nvSpPr>
        <p:spPr>
          <a:xfrm>
            <a:off x="511105" y="1807977"/>
            <a:ext cx="528462" cy="428781"/>
          </a:xfrm>
          <a:custGeom>
            <a:avLst/>
            <a:gdLst/>
            <a:ahLst/>
            <a:cxnLst/>
            <a:rect l="l" t="t" r="r" b="b"/>
            <a:pathLst>
              <a:path w="457834" h="371475">
                <a:moveTo>
                  <a:pt x="404799" y="7874"/>
                </a:moveTo>
                <a:lnTo>
                  <a:pt x="404723" y="6019"/>
                </a:lnTo>
                <a:lnTo>
                  <a:pt x="404507" y="5372"/>
                </a:lnTo>
                <a:lnTo>
                  <a:pt x="404431" y="5092"/>
                </a:lnTo>
                <a:lnTo>
                  <a:pt x="404368" y="4724"/>
                </a:lnTo>
                <a:lnTo>
                  <a:pt x="404075" y="3797"/>
                </a:lnTo>
                <a:lnTo>
                  <a:pt x="403072" y="2438"/>
                </a:lnTo>
                <a:lnTo>
                  <a:pt x="403009" y="2146"/>
                </a:lnTo>
                <a:lnTo>
                  <a:pt x="402793" y="2006"/>
                </a:lnTo>
                <a:lnTo>
                  <a:pt x="402577" y="1790"/>
                </a:lnTo>
                <a:lnTo>
                  <a:pt x="402437" y="1790"/>
                </a:lnTo>
                <a:lnTo>
                  <a:pt x="401002" y="571"/>
                </a:lnTo>
                <a:lnTo>
                  <a:pt x="399478" y="0"/>
                </a:lnTo>
                <a:lnTo>
                  <a:pt x="396913" y="0"/>
                </a:lnTo>
                <a:lnTo>
                  <a:pt x="343547" y="7454"/>
                </a:lnTo>
                <a:lnTo>
                  <a:pt x="340906" y="10960"/>
                </a:lnTo>
                <a:lnTo>
                  <a:pt x="341477" y="14757"/>
                </a:lnTo>
                <a:lnTo>
                  <a:pt x="341972" y="18554"/>
                </a:lnTo>
                <a:lnTo>
                  <a:pt x="345478" y="21209"/>
                </a:lnTo>
                <a:lnTo>
                  <a:pt x="349275" y="20624"/>
                </a:lnTo>
                <a:lnTo>
                  <a:pt x="379933" y="16332"/>
                </a:lnTo>
                <a:lnTo>
                  <a:pt x="308089" y="95465"/>
                </a:lnTo>
                <a:lnTo>
                  <a:pt x="308089" y="131013"/>
                </a:lnTo>
                <a:lnTo>
                  <a:pt x="306324" y="139763"/>
                </a:lnTo>
                <a:lnTo>
                  <a:pt x="306285" y="139954"/>
                </a:lnTo>
                <a:lnTo>
                  <a:pt x="301358" y="147269"/>
                </a:lnTo>
                <a:lnTo>
                  <a:pt x="294043" y="152196"/>
                </a:lnTo>
                <a:lnTo>
                  <a:pt x="285102" y="154012"/>
                </a:lnTo>
                <a:lnTo>
                  <a:pt x="276161" y="152196"/>
                </a:lnTo>
                <a:lnTo>
                  <a:pt x="268846" y="147269"/>
                </a:lnTo>
                <a:lnTo>
                  <a:pt x="263918" y="139954"/>
                </a:lnTo>
                <a:lnTo>
                  <a:pt x="262102" y="131013"/>
                </a:lnTo>
                <a:lnTo>
                  <a:pt x="263918" y="122072"/>
                </a:lnTo>
                <a:lnTo>
                  <a:pt x="268846" y="114757"/>
                </a:lnTo>
                <a:lnTo>
                  <a:pt x="276161" y="109829"/>
                </a:lnTo>
                <a:lnTo>
                  <a:pt x="285102" y="108026"/>
                </a:lnTo>
                <a:lnTo>
                  <a:pt x="294043" y="109829"/>
                </a:lnTo>
                <a:lnTo>
                  <a:pt x="301358" y="114757"/>
                </a:lnTo>
                <a:lnTo>
                  <a:pt x="306285" y="122072"/>
                </a:lnTo>
                <a:lnTo>
                  <a:pt x="308089" y="131013"/>
                </a:lnTo>
                <a:lnTo>
                  <a:pt x="308089" y="95465"/>
                </a:lnTo>
                <a:lnTo>
                  <a:pt x="304228" y="99707"/>
                </a:lnTo>
                <a:lnTo>
                  <a:pt x="298640" y="96278"/>
                </a:lnTo>
                <a:lnTo>
                  <a:pt x="292112" y="94195"/>
                </a:lnTo>
                <a:lnTo>
                  <a:pt x="285102" y="94195"/>
                </a:lnTo>
                <a:lnTo>
                  <a:pt x="278104" y="94881"/>
                </a:lnTo>
                <a:lnTo>
                  <a:pt x="271551" y="96837"/>
                </a:lnTo>
                <a:lnTo>
                  <a:pt x="265582" y="99936"/>
                </a:lnTo>
                <a:lnTo>
                  <a:pt x="260311" y="104013"/>
                </a:lnTo>
                <a:lnTo>
                  <a:pt x="220243" y="74282"/>
                </a:lnTo>
                <a:lnTo>
                  <a:pt x="214845" y="70269"/>
                </a:lnTo>
                <a:lnTo>
                  <a:pt x="205574" y="63398"/>
                </a:lnTo>
                <a:lnTo>
                  <a:pt x="205295" y="63398"/>
                </a:lnTo>
                <a:lnTo>
                  <a:pt x="207733" y="58458"/>
                </a:lnTo>
                <a:lnTo>
                  <a:pt x="209092" y="53086"/>
                </a:lnTo>
                <a:lnTo>
                  <a:pt x="209092" y="47345"/>
                </a:lnTo>
                <a:lnTo>
                  <a:pt x="206197" y="33032"/>
                </a:lnTo>
                <a:lnTo>
                  <a:pt x="200304" y="24282"/>
                </a:lnTo>
                <a:lnTo>
                  <a:pt x="198310" y="21336"/>
                </a:lnTo>
                <a:lnTo>
                  <a:pt x="195186" y="19227"/>
                </a:lnTo>
                <a:lnTo>
                  <a:pt x="195186" y="47345"/>
                </a:lnTo>
                <a:lnTo>
                  <a:pt x="193395" y="56222"/>
                </a:lnTo>
                <a:lnTo>
                  <a:pt x="188544" y="63398"/>
                </a:lnTo>
                <a:lnTo>
                  <a:pt x="188468" y="63525"/>
                </a:lnTo>
                <a:lnTo>
                  <a:pt x="181152" y="68453"/>
                </a:lnTo>
                <a:lnTo>
                  <a:pt x="172212" y="70269"/>
                </a:lnTo>
                <a:lnTo>
                  <a:pt x="163271" y="68453"/>
                </a:lnTo>
                <a:lnTo>
                  <a:pt x="155956" y="63525"/>
                </a:lnTo>
                <a:lnTo>
                  <a:pt x="151028" y="56222"/>
                </a:lnTo>
                <a:lnTo>
                  <a:pt x="149225" y="47345"/>
                </a:lnTo>
                <a:lnTo>
                  <a:pt x="151028" y="38328"/>
                </a:lnTo>
                <a:lnTo>
                  <a:pt x="155956" y="31026"/>
                </a:lnTo>
                <a:lnTo>
                  <a:pt x="163271" y="26085"/>
                </a:lnTo>
                <a:lnTo>
                  <a:pt x="172212" y="24282"/>
                </a:lnTo>
                <a:lnTo>
                  <a:pt x="181152" y="26085"/>
                </a:lnTo>
                <a:lnTo>
                  <a:pt x="188468" y="31026"/>
                </a:lnTo>
                <a:lnTo>
                  <a:pt x="193395" y="38328"/>
                </a:lnTo>
                <a:lnTo>
                  <a:pt x="195186" y="47345"/>
                </a:lnTo>
                <a:lnTo>
                  <a:pt x="195186" y="19227"/>
                </a:lnTo>
                <a:lnTo>
                  <a:pt x="186601" y="13423"/>
                </a:lnTo>
                <a:lnTo>
                  <a:pt x="172275" y="10528"/>
                </a:lnTo>
                <a:lnTo>
                  <a:pt x="157975" y="13423"/>
                </a:lnTo>
                <a:lnTo>
                  <a:pt x="146265" y="21336"/>
                </a:lnTo>
                <a:lnTo>
                  <a:pt x="138366" y="33032"/>
                </a:lnTo>
                <a:lnTo>
                  <a:pt x="135458" y="47345"/>
                </a:lnTo>
                <a:lnTo>
                  <a:pt x="135458" y="55016"/>
                </a:lnTo>
                <a:lnTo>
                  <a:pt x="137820" y="62103"/>
                </a:lnTo>
                <a:lnTo>
                  <a:pt x="141833" y="68046"/>
                </a:lnTo>
                <a:lnTo>
                  <a:pt x="82384" y="127647"/>
                </a:lnTo>
                <a:lnTo>
                  <a:pt x="82384" y="160959"/>
                </a:lnTo>
                <a:lnTo>
                  <a:pt x="80581" y="169900"/>
                </a:lnTo>
                <a:lnTo>
                  <a:pt x="75641" y="177203"/>
                </a:lnTo>
                <a:lnTo>
                  <a:pt x="68326" y="182130"/>
                </a:lnTo>
                <a:lnTo>
                  <a:pt x="59385" y="183946"/>
                </a:lnTo>
                <a:lnTo>
                  <a:pt x="50444" y="182130"/>
                </a:lnTo>
                <a:lnTo>
                  <a:pt x="43141" y="177203"/>
                </a:lnTo>
                <a:lnTo>
                  <a:pt x="38201" y="169900"/>
                </a:lnTo>
                <a:lnTo>
                  <a:pt x="36385" y="160959"/>
                </a:lnTo>
                <a:lnTo>
                  <a:pt x="38163" y="152196"/>
                </a:lnTo>
                <a:lnTo>
                  <a:pt x="75641" y="144703"/>
                </a:lnTo>
                <a:lnTo>
                  <a:pt x="82384" y="160959"/>
                </a:lnTo>
                <a:lnTo>
                  <a:pt x="82384" y="127647"/>
                </a:lnTo>
                <a:lnTo>
                  <a:pt x="79730" y="130302"/>
                </a:lnTo>
                <a:lnTo>
                  <a:pt x="73926" y="126428"/>
                </a:lnTo>
                <a:lnTo>
                  <a:pt x="66903" y="124142"/>
                </a:lnTo>
                <a:lnTo>
                  <a:pt x="59461" y="124142"/>
                </a:lnTo>
                <a:lnTo>
                  <a:pt x="45123" y="127038"/>
                </a:lnTo>
                <a:lnTo>
                  <a:pt x="33426" y="134950"/>
                </a:lnTo>
                <a:lnTo>
                  <a:pt x="25527" y="146646"/>
                </a:lnTo>
                <a:lnTo>
                  <a:pt x="22631" y="160959"/>
                </a:lnTo>
                <a:lnTo>
                  <a:pt x="25488" y="175298"/>
                </a:lnTo>
                <a:lnTo>
                  <a:pt x="33362" y="186994"/>
                </a:lnTo>
                <a:lnTo>
                  <a:pt x="45059" y="194881"/>
                </a:lnTo>
                <a:lnTo>
                  <a:pt x="59385" y="197777"/>
                </a:lnTo>
                <a:lnTo>
                  <a:pt x="73672" y="194881"/>
                </a:lnTo>
                <a:lnTo>
                  <a:pt x="85382" y="186994"/>
                </a:lnTo>
                <a:lnTo>
                  <a:pt x="87464" y="183946"/>
                </a:lnTo>
                <a:lnTo>
                  <a:pt x="93294" y="175298"/>
                </a:lnTo>
                <a:lnTo>
                  <a:pt x="96202" y="160959"/>
                </a:lnTo>
                <a:lnTo>
                  <a:pt x="96202" y="153149"/>
                </a:lnTo>
                <a:lnTo>
                  <a:pt x="93700" y="145910"/>
                </a:lnTo>
                <a:lnTo>
                  <a:pt x="89585" y="139954"/>
                </a:lnTo>
                <a:lnTo>
                  <a:pt x="89687" y="139763"/>
                </a:lnTo>
                <a:lnTo>
                  <a:pt x="91490" y="137960"/>
                </a:lnTo>
                <a:lnTo>
                  <a:pt x="99123" y="130302"/>
                </a:lnTo>
                <a:lnTo>
                  <a:pt x="151498" y="77724"/>
                </a:lnTo>
                <a:lnTo>
                  <a:pt x="157378" y="81737"/>
                </a:lnTo>
                <a:lnTo>
                  <a:pt x="164541" y="84099"/>
                </a:lnTo>
                <a:lnTo>
                  <a:pt x="172212" y="84099"/>
                </a:lnTo>
                <a:lnTo>
                  <a:pt x="197065" y="74282"/>
                </a:lnTo>
                <a:lnTo>
                  <a:pt x="252006" y="115036"/>
                </a:lnTo>
                <a:lnTo>
                  <a:pt x="249643" y="119913"/>
                </a:lnTo>
                <a:lnTo>
                  <a:pt x="248208" y="125285"/>
                </a:lnTo>
                <a:lnTo>
                  <a:pt x="248208" y="131013"/>
                </a:lnTo>
                <a:lnTo>
                  <a:pt x="251117" y="145351"/>
                </a:lnTo>
                <a:lnTo>
                  <a:pt x="259016" y="157048"/>
                </a:lnTo>
                <a:lnTo>
                  <a:pt x="270725" y="164934"/>
                </a:lnTo>
                <a:lnTo>
                  <a:pt x="285026" y="167830"/>
                </a:lnTo>
                <a:lnTo>
                  <a:pt x="299313" y="164934"/>
                </a:lnTo>
                <a:lnTo>
                  <a:pt x="321843" y="131013"/>
                </a:lnTo>
                <a:lnTo>
                  <a:pt x="321843" y="122707"/>
                </a:lnTo>
                <a:lnTo>
                  <a:pt x="318985" y="115189"/>
                </a:lnTo>
                <a:lnTo>
                  <a:pt x="314401" y="109029"/>
                </a:lnTo>
                <a:lnTo>
                  <a:pt x="315315" y="108026"/>
                </a:lnTo>
                <a:lnTo>
                  <a:pt x="318960" y="104013"/>
                </a:lnTo>
                <a:lnTo>
                  <a:pt x="322872" y="99707"/>
                </a:lnTo>
                <a:lnTo>
                  <a:pt x="387896" y="28155"/>
                </a:lnTo>
                <a:lnTo>
                  <a:pt x="384175" y="55016"/>
                </a:lnTo>
                <a:lnTo>
                  <a:pt x="383705" y="58458"/>
                </a:lnTo>
                <a:lnTo>
                  <a:pt x="383590" y="59309"/>
                </a:lnTo>
                <a:lnTo>
                  <a:pt x="386168" y="62826"/>
                </a:lnTo>
                <a:lnTo>
                  <a:pt x="390550" y="63398"/>
                </a:lnTo>
                <a:lnTo>
                  <a:pt x="394335" y="63398"/>
                </a:lnTo>
                <a:lnTo>
                  <a:pt x="397344" y="60883"/>
                </a:lnTo>
                <a:lnTo>
                  <a:pt x="398030" y="56222"/>
                </a:lnTo>
                <a:lnTo>
                  <a:pt x="401967" y="28155"/>
                </a:lnTo>
                <a:lnTo>
                  <a:pt x="403618" y="16332"/>
                </a:lnTo>
                <a:lnTo>
                  <a:pt x="404799" y="7874"/>
                </a:lnTo>
                <a:close/>
              </a:path>
              <a:path w="457834" h="371475">
                <a:moveTo>
                  <a:pt x="457225" y="360172"/>
                </a:moveTo>
                <a:lnTo>
                  <a:pt x="454152" y="357085"/>
                </a:lnTo>
                <a:lnTo>
                  <a:pt x="437311" y="357085"/>
                </a:lnTo>
                <a:lnTo>
                  <a:pt x="437311" y="125717"/>
                </a:lnTo>
                <a:lnTo>
                  <a:pt x="435914" y="118770"/>
                </a:lnTo>
                <a:lnTo>
                  <a:pt x="435686" y="117627"/>
                </a:lnTo>
                <a:lnTo>
                  <a:pt x="431228" y="111023"/>
                </a:lnTo>
                <a:lnTo>
                  <a:pt x="424624" y="106565"/>
                </a:lnTo>
                <a:lnTo>
                  <a:pt x="423418" y="106324"/>
                </a:lnTo>
                <a:lnTo>
                  <a:pt x="423418" y="121920"/>
                </a:lnTo>
                <a:lnTo>
                  <a:pt x="423418" y="357085"/>
                </a:lnTo>
                <a:lnTo>
                  <a:pt x="372414" y="357085"/>
                </a:lnTo>
                <a:lnTo>
                  <a:pt x="372414" y="121920"/>
                </a:lnTo>
                <a:lnTo>
                  <a:pt x="375500" y="118770"/>
                </a:lnTo>
                <a:lnTo>
                  <a:pt x="420268" y="118770"/>
                </a:lnTo>
                <a:lnTo>
                  <a:pt x="423418" y="121920"/>
                </a:lnTo>
                <a:lnTo>
                  <a:pt x="423418" y="106324"/>
                </a:lnTo>
                <a:lnTo>
                  <a:pt x="416547" y="104940"/>
                </a:lnTo>
                <a:lnTo>
                  <a:pt x="379437" y="104940"/>
                </a:lnTo>
                <a:lnTo>
                  <a:pt x="371360" y="106565"/>
                </a:lnTo>
                <a:lnTo>
                  <a:pt x="364756" y="111023"/>
                </a:lnTo>
                <a:lnTo>
                  <a:pt x="360299" y="117627"/>
                </a:lnTo>
                <a:lnTo>
                  <a:pt x="358660" y="125717"/>
                </a:lnTo>
                <a:lnTo>
                  <a:pt x="358660" y="357085"/>
                </a:lnTo>
                <a:lnTo>
                  <a:pt x="324497" y="357085"/>
                </a:lnTo>
                <a:lnTo>
                  <a:pt x="324497" y="229577"/>
                </a:lnTo>
                <a:lnTo>
                  <a:pt x="323100" y="222631"/>
                </a:lnTo>
                <a:lnTo>
                  <a:pt x="322872" y="221500"/>
                </a:lnTo>
                <a:lnTo>
                  <a:pt x="318414" y="214896"/>
                </a:lnTo>
                <a:lnTo>
                  <a:pt x="311810" y="210439"/>
                </a:lnTo>
                <a:lnTo>
                  <a:pt x="310603" y="210197"/>
                </a:lnTo>
                <a:lnTo>
                  <a:pt x="310603" y="225780"/>
                </a:lnTo>
                <a:lnTo>
                  <a:pt x="310603" y="357085"/>
                </a:lnTo>
                <a:lnTo>
                  <a:pt x="259600" y="357085"/>
                </a:lnTo>
                <a:lnTo>
                  <a:pt x="259600" y="225780"/>
                </a:lnTo>
                <a:lnTo>
                  <a:pt x="262674" y="222631"/>
                </a:lnTo>
                <a:lnTo>
                  <a:pt x="307454" y="222631"/>
                </a:lnTo>
                <a:lnTo>
                  <a:pt x="310603" y="225780"/>
                </a:lnTo>
                <a:lnTo>
                  <a:pt x="310603" y="210197"/>
                </a:lnTo>
                <a:lnTo>
                  <a:pt x="303720" y="208800"/>
                </a:lnTo>
                <a:lnTo>
                  <a:pt x="266623" y="208800"/>
                </a:lnTo>
                <a:lnTo>
                  <a:pt x="258546" y="210439"/>
                </a:lnTo>
                <a:lnTo>
                  <a:pt x="251942" y="214896"/>
                </a:lnTo>
                <a:lnTo>
                  <a:pt x="247484" y="221500"/>
                </a:lnTo>
                <a:lnTo>
                  <a:pt x="245846" y="229577"/>
                </a:lnTo>
                <a:lnTo>
                  <a:pt x="245846" y="357085"/>
                </a:lnTo>
                <a:lnTo>
                  <a:pt x="211670" y="357085"/>
                </a:lnTo>
                <a:lnTo>
                  <a:pt x="211670" y="174205"/>
                </a:lnTo>
                <a:lnTo>
                  <a:pt x="210273" y="167259"/>
                </a:lnTo>
                <a:lnTo>
                  <a:pt x="210045" y="166128"/>
                </a:lnTo>
                <a:lnTo>
                  <a:pt x="205587" y="159524"/>
                </a:lnTo>
                <a:lnTo>
                  <a:pt x="198983" y="155067"/>
                </a:lnTo>
                <a:lnTo>
                  <a:pt x="197713" y="154813"/>
                </a:lnTo>
                <a:lnTo>
                  <a:pt x="197713" y="170408"/>
                </a:lnTo>
                <a:lnTo>
                  <a:pt x="197713" y="357085"/>
                </a:lnTo>
                <a:lnTo>
                  <a:pt x="146710" y="357085"/>
                </a:lnTo>
                <a:lnTo>
                  <a:pt x="146710" y="170408"/>
                </a:lnTo>
                <a:lnTo>
                  <a:pt x="149783" y="167259"/>
                </a:lnTo>
                <a:lnTo>
                  <a:pt x="194551" y="167259"/>
                </a:lnTo>
                <a:lnTo>
                  <a:pt x="197713" y="170408"/>
                </a:lnTo>
                <a:lnTo>
                  <a:pt x="197713" y="154813"/>
                </a:lnTo>
                <a:lnTo>
                  <a:pt x="190906" y="153441"/>
                </a:lnTo>
                <a:lnTo>
                  <a:pt x="153797" y="153441"/>
                </a:lnTo>
                <a:lnTo>
                  <a:pt x="145719" y="155067"/>
                </a:lnTo>
                <a:lnTo>
                  <a:pt x="139115" y="159524"/>
                </a:lnTo>
                <a:lnTo>
                  <a:pt x="134658" y="166128"/>
                </a:lnTo>
                <a:lnTo>
                  <a:pt x="133019" y="174205"/>
                </a:lnTo>
                <a:lnTo>
                  <a:pt x="133019" y="357085"/>
                </a:lnTo>
                <a:lnTo>
                  <a:pt x="98856" y="357085"/>
                </a:lnTo>
                <a:lnTo>
                  <a:pt x="98856" y="291973"/>
                </a:lnTo>
                <a:lnTo>
                  <a:pt x="97459" y="285026"/>
                </a:lnTo>
                <a:lnTo>
                  <a:pt x="97231" y="283883"/>
                </a:lnTo>
                <a:lnTo>
                  <a:pt x="92773" y="277279"/>
                </a:lnTo>
                <a:lnTo>
                  <a:pt x="86169" y="272821"/>
                </a:lnTo>
                <a:lnTo>
                  <a:pt x="84886" y="272567"/>
                </a:lnTo>
                <a:lnTo>
                  <a:pt x="84886" y="288175"/>
                </a:lnTo>
                <a:lnTo>
                  <a:pt x="84886" y="357085"/>
                </a:lnTo>
                <a:lnTo>
                  <a:pt x="33883" y="357085"/>
                </a:lnTo>
                <a:lnTo>
                  <a:pt x="33883" y="288175"/>
                </a:lnTo>
                <a:lnTo>
                  <a:pt x="36969" y="285026"/>
                </a:lnTo>
                <a:lnTo>
                  <a:pt x="81737" y="285026"/>
                </a:lnTo>
                <a:lnTo>
                  <a:pt x="84886" y="288175"/>
                </a:lnTo>
                <a:lnTo>
                  <a:pt x="84886" y="272567"/>
                </a:lnTo>
                <a:lnTo>
                  <a:pt x="78079" y="271195"/>
                </a:lnTo>
                <a:lnTo>
                  <a:pt x="40830" y="271195"/>
                </a:lnTo>
                <a:lnTo>
                  <a:pt x="32753" y="272821"/>
                </a:lnTo>
                <a:lnTo>
                  <a:pt x="26149" y="277279"/>
                </a:lnTo>
                <a:lnTo>
                  <a:pt x="21691" y="283883"/>
                </a:lnTo>
                <a:lnTo>
                  <a:pt x="20053" y="291973"/>
                </a:lnTo>
                <a:lnTo>
                  <a:pt x="20053" y="357085"/>
                </a:lnTo>
                <a:lnTo>
                  <a:pt x="3149" y="357085"/>
                </a:lnTo>
                <a:lnTo>
                  <a:pt x="0" y="360172"/>
                </a:lnTo>
                <a:lnTo>
                  <a:pt x="0" y="367906"/>
                </a:lnTo>
                <a:lnTo>
                  <a:pt x="3086" y="370979"/>
                </a:lnTo>
                <a:lnTo>
                  <a:pt x="454075" y="370979"/>
                </a:lnTo>
                <a:lnTo>
                  <a:pt x="457225" y="367906"/>
                </a:lnTo>
                <a:lnTo>
                  <a:pt x="457225" y="3601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F0D4743-6F66-ED3B-D5EE-BB63BF9DB09C}"/>
              </a:ext>
            </a:extLst>
          </p:cNvPr>
          <p:cNvSpPr txBox="1"/>
          <p:nvPr/>
        </p:nvSpPr>
        <p:spPr>
          <a:xfrm>
            <a:off x="3640591" y="1483531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urance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rvice resul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87 m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</a:t>
            </a:r>
            <a:r>
              <a:rPr kumimoji="0" lang="en-BW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  <a:r>
              <a:rPr kumimoji="0" lang="en-BW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 3" panose="05040102010807070707" pitchFamily="18" charset="2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 3" panose="05040102010807070707" pitchFamily="18" charset="2"/>
              </a:rPr>
              <a:t></a:t>
            </a:r>
            <a:endParaRPr kumimoji="0" lang="en-BW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02F83DD-82BD-171F-2810-72A8F565778B}"/>
              </a:ext>
            </a:extLst>
          </p:cNvPr>
          <p:cNvSpPr txBox="1"/>
          <p:nvPr/>
        </p:nvSpPr>
        <p:spPr>
          <a:xfrm>
            <a:off x="5278780" y="1447800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vestment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rvice resul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63 m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or year: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0 million</a:t>
            </a:r>
            <a:endParaRPr kumimoji="0" lang="en-BW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1F81996-70C8-2F5F-98A3-CD37BE3AC363}"/>
              </a:ext>
            </a:extLst>
          </p:cNvPr>
          <p:cNvSpPr txBox="1"/>
          <p:nvPr/>
        </p:nvSpPr>
        <p:spPr>
          <a:xfrm>
            <a:off x="6916970" y="1483531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ts under manage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48.2 b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%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 3" panose="05040102010807070707" pitchFamily="18" charset="2"/>
              </a:rPr>
              <a:t></a:t>
            </a:r>
            <a:endParaRPr kumimoji="0" lang="en-BW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841DDCF-6628-6430-B013-02E5B051E7D8}"/>
              </a:ext>
            </a:extLst>
          </p:cNvPr>
          <p:cNvSpPr txBox="1"/>
          <p:nvPr/>
        </p:nvSpPr>
        <p:spPr>
          <a:xfrm>
            <a:off x="8555159" y="1483531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FM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e revenu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86 mill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%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 3" panose="05040102010807070707" pitchFamily="18" charset="2"/>
              </a:rPr>
              <a:t>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12BDFA9-8CC5-A742-696B-C3119729C910}"/>
              </a:ext>
            </a:extLst>
          </p:cNvPr>
          <p:cNvSpPr txBox="1"/>
          <p:nvPr/>
        </p:nvSpPr>
        <p:spPr>
          <a:xfrm>
            <a:off x="10193349" y="1483531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re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rning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299 m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% </a:t>
            </a:r>
            <a:r>
              <a:rPr kumimoji="0" lang="en-BW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 3" panose="05040102010807070707" pitchFamily="18" charset="2"/>
              </a:rPr>
              <a:t></a:t>
            </a: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object 18">
            <a:extLst>
              <a:ext uri="{FF2B5EF4-FFF2-40B4-BE49-F238E27FC236}">
                <a16:creationId xmlns:a16="http://schemas.microsoft.com/office/drawing/2014/main" id="{EA2940BD-C95B-5EB4-F158-18BE3BC1DB70}"/>
              </a:ext>
            </a:extLst>
          </p:cNvPr>
          <p:cNvSpPr/>
          <p:nvPr/>
        </p:nvSpPr>
        <p:spPr>
          <a:xfrm>
            <a:off x="774728" y="2700761"/>
            <a:ext cx="10710651" cy="1077449"/>
          </a:xfrm>
          <a:custGeom>
            <a:avLst/>
            <a:gdLst/>
            <a:ahLst/>
            <a:cxnLst/>
            <a:rect l="l" t="t" r="r" b="b"/>
            <a:pathLst>
              <a:path w="9277985" h="936625">
                <a:moveTo>
                  <a:pt x="9025928" y="0"/>
                </a:moveTo>
                <a:lnTo>
                  <a:pt x="0" y="0"/>
                </a:lnTo>
                <a:lnTo>
                  <a:pt x="0" y="936002"/>
                </a:lnTo>
                <a:lnTo>
                  <a:pt x="9277921" y="936002"/>
                </a:lnTo>
                <a:lnTo>
                  <a:pt x="9277921" y="218401"/>
                </a:lnTo>
                <a:lnTo>
                  <a:pt x="9272801" y="174384"/>
                </a:lnTo>
                <a:lnTo>
                  <a:pt x="9258117" y="133388"/>
                </a:lnTo>
                <a:lnTo>
                  <a:pt x="9234883" y="96289"/>
                </a:lnTo>
                <a:lnTo>
                  <a:pt x="9204112" y="63966"/>
                </a:lnTo>
                <a:lnTo>
                  <a:pt x="9166817" y="37298"/>
                </a:lnTo>
                <a:lnTo>
                  <a:pt x="9124012" y="17162"/>
                </a:lnTo>
                <a:lnTo>
                  <a:pt x="9076711" y="4436"/>
                </a:lnTo>
                <a:lnTo>
                  <a:pt x="9025928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936000" tIns="0" rIns="0" bIns="0" rtlCol="0" anchor="ctr"/>
          <a:lstStyle/>
          <a:p>
            <a:r>
              <a:rPr lang="en-GB" sz="1400" b="1"/>
              <a:t>PROFITABILITY</a:t>
            </a:r>
          </a:p>
        </p:txBody>
      </p:sp>
      <p:sp>
        <p:nvSpPr>
          <p:cNvPr id="61" name="object 25">
            <a:extLst>
              <a:ext uri="{FF2B5EF4-FFF2-40B4-BE49-F238E27FC236}">
                <a16:creationId xmlns:a16="http://schemas.microsoft.com/office/drawing/2014/main" id="{30CA878E-13A9-4C48-57CF-4504054E50D8}"/>
              </a:ext>
            </a:extLst>
          </p:cNvPr>
          <p:cNvSpPr/>
          <p:nvPr/>
        </p:nvSpPr>
        <p:spPr>
          <a:xfrm>
            <a:off x="236467" y="2700761"/>
            <a:ext cx="1077449" cy="1077449"/>
          </a:xfrm>
          <a:custGeom>
            <a:avLst/>
            <a:gdLst/>
            <a:ahLst/>
            <a:cxnLst/>
            <a:rect l="l" t="t" r="r" b="b"/>
            <a:pathLst>
              <a:path w="933450" h="933450">
                <a:moveTo>
                  <a:pt x="466559" y="0"/>
                </a:moveTo>
                <a:lnTo>
                  <a:pt x="418857" y="2408"/>
                </a:lnTo>
                <a:lnTo>
                  <a:pt x="372532" y="9478"/>
                </a:lnTo>
                <a:lnTo>
                  <a:pt x="327820" y="20975"/>
                </a:lnTo>
                <a:lnTo>
                  <a:pt x="284955" y="36665"/>
                </a:lnTo>
                <a:lnTo>
                  <a:pt x="244171" y="56311"/>
                </a:lnTo>
                <a:lnTo>
                  <a:pt x="205703" y="79682"/>
                </a:lnTo>
                <a:lnTo>
                  <a:pt x="169785" y="106540"/>
                </a:lnTo>
                <a:lnTo>
                  <a:pt x="136653" y="136653"/>
                </a:lnTo>
                <a:lnTo>
                  <a:pt x="106540" y="169785"/>
                </a:lnTo>
                <a:lnTo>
                  <a:pt x="79682" y="205703"/>
                </a:lnTo>
                <a:lnTo>
                  <a:pt x="56311" y="244171"/>
                </a:lnTo>
                <a:lnTo>
                  <a:pt x="36665" y="284955"/>
                </a:lnTo>
                <a:lnTo>
                  <a:pt x="20975" y="327820"/>
                </a:lnTo>
                <a:lnTo>
                  <a:pt x="9478" y="372532"/>
                </a:lnTo>
                <a:lnTo>
                  <a:pt x="2408" y="418857"/>
                </a:lnTo>
                <a:lnTo>
                  <a:pt x="0" y="466559"/>
                </a:lnTo>
                <a:lnTo>
                  <a:pt x="2408" y="514262"/>
                </a:lnTo>
                <a:lnTo>
                  <a:pt x="9478" y="560586"/>
                </a:lnTo>
                <a:lnTo>
                  <a:pt x="20975" y="605299"/>
                </a:lnTo>
                <a:lnTo>
                  <a:pt x="36665" y="648164"/>
                </a:lnTo>
                <a:lnTo>
                  <a:pt x="56311" y="688948"/>
                </a:lnTo>
                <a:lnTo>
                  <a:pt x="79682" y="727416"/>
                </a:lnTo>
                <a:lnTo>
                  <a:pt x="106540" y="763333"/>
                </a:lnTo>
                <a:lnTo>
                  <a:pt x="136653" y="796466"/>
                </a:lnTo>
                <a:lnTo>
                  <a:pt x="169785" y="826579"/>
                </a:lnTo>
                <a:lnTo>
                  <a:pt x="205703" y="853437"/>
                </a:lnTo>
                <a:lnTo>
                  <a:pt x="244171" y="876807"/>
                </a:lnTo>
                <a:lnTo>
                  <a:pt x="284955" y="896454"/>
                </a:lnTo>
                <a:lnTo>
                  <a:pt x="327820" y="912143"/>
                </a:lnTo>
                <a:lnTo>
                  <a:pt x="372532" y="923640"/>
                </a:lnTo>
                <a:lnTo>
                  <a:pt x="418857" y="930710"/>
                </a:lnTo>
                <a:lnTo>
                  <a:pt x="466559" y="933119"/>
                </a:lnTo>
                <a:lnTo>
                  <a:pt x="514262" y="930710"/>
                </a:lnTo>
                <a:lnTo>
                  <a:pt x="560586" y="923640"/>
                </a:lnTo>
                <a:lnTo>
                  <a:pt x="605299" y="912143"/>
                </a:lnTo>
                <a:lnTo>
                  <a:pt x="648164" y="896454"/>
                </a:lnTo>
                <a:lnTo>
                  <a:pt x="688948" y="876807"/>
                </a:lnTo>
                <a:lnTo>
                  <a:pt x="727416" y="853437"/>
                </a:lnTo>
                <a:lnTo>
                  <a:pt x="763333" y="826579"/>
                </a:lnTo>
                <a:lnTo>
                  <a:pt x="796466" y="796466"/>
                </a:lnTo>
                <a:lnTo>
                  <a:pt x="826579" y="763333"/>
                </a:lnTo>
                <a:lnTo>
                  <a:pt x="853437" y="727416"/>
                </a:lnTo>
                <a:lnTo>
                  <a:pt x="876807" y="688948"/>
                </a:lnTo>
                <a:lnTo>
                  <a:pt x="896454" y="648164"/>
                </a:lnTo>
                <a:lnTo>
                  <a:pt x="912143" y="605299"/>
                </a:lnTo>
                <a:lnTo>
                  <a:pt x="923640" y="560586"/>
                </a:lnTo>
                <a:lnTo>
                  <a:pt x="930710" y="514262"/>
                </a:lnTo>
                <a:lnTo>
                  <a:pt x="933119" y="466559"/>
                </a:lnTo>
                <a:lnTo>
                  <a:pt x="930710" y="418857"/>
                </a:lnTo>
                <a:lnTo>
                  <a:pt x="923640" y="372532"/>
                </a:lnTo>
                <a:lnTo>
                  <a:pt x="912143" y="327820"/>
                </a:lnTo>
                <a:lnTo>
                  <a:pt x="896454" y="284955"/>
                </a:lnTo>
                <a:lnTo>
                  <a:pt x="876807" y="244171"/>
                </a:lnTo>
                <a:lnTo>
                  <a:pt x="853437" y="205703"/>
                </a:lnTo>
                <a:lnTo>
                  <a:pt x="826579" y="169785"/>
                </a:lnTo>
                <a:lnTo>
                  <a:pt x="796466" y="136653"/>
                </a:lnTo>
                <a:lnTo>
                  <a:pt x="763333" y="106540"/>
                </a:lnTo>
                <a:lnTo>
                  <a:pt x="727416" y="79682"/>
                </a:lnTo>
                <a:lnTo>
                  <a:pt x="688948" y="56311"/>
                </a:lnTo>
                <a:lnTo>
                  <a:pt x="648164" y="36665"/>
                </a:lnTo>
                <a:lnTo>
                  <a:pt x="605299" y="20975"/>
                </a:lnTo>
                <a:lnTo>
                  <a:pt x="560586" y="9478"/>
                </a:lnTo>
                <a:lnTo>
                  <a:pt x="514262" y="2408"/>
                </a:lnTo>
                <a:lnTo>
                  <a:pt x="466559" y="0"/>
                </a:lnTo>
                <a:close/>
              </a:path>
            </a:pathLst>
          </a:custGeom>
          <a:solidFill>
            <a:srgbClr val="18303A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CB8A351-CDCE-7FEC-661C-DAA336569A25}"/>
              </a:ext>
            </a:extLst>
          </p:cNvPr>
          <p:cNvSpPr txBox="1"/>
          <p:nvPr/>
        </p:nvSpPr>
        <p:spPr>
          <a:xfrm>
            <a:off x="3640591" y="2700761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 of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busin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56 m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% </a:t>
            </a:r>
            <a:r>
              <a:rPr kumimoji="0" lang="en-BW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 3" panose="05040102010807070707" pitchFamily="18" charset="2"/>
              </a:rPr>
              <a:t>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4A2C67C-44C0-94D8-3C43-B2691785F77F}"/>
              </a:ext>
            </a:extLst>
          </p:cNvPr>
          <p:cNvSpPr txBox="1"/>
          <p:nvPr/>
        </p:nvSpPr>
        <p:spPr>
          <a:xfrm>
            <a:off x="5278780" y="2700761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re of profit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associat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79 m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9%</a:t>
            </a:r>
            <a:r>
              <a:rPr kumimoji="0" lang="en-BW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 3" panose="05040102010807070707" pitchFamily="18" charset="2"/>
              </a:rPr>
              <a:t> </a:t>
            </a:r>
            <a:r>
              <a:rPr kumimoji="0" lang="en-BW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 3" panose="05040102010807070707" pitchFamily="18" charset="2"/>
              </a:rPr>
              <a:t>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BW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906C1DD-3114-DFE9-1435-D08A7B81FD2D}"/>
              </a:ext>
            </a:extLst>
          </p:cNvPr>
          <p:cNvSpPr txBox="1"/>
          <p:nvPr/>
        </p:nvSpPr>
        <p:spPr>
          <a:xfrm>
            <a:off x="6916970" y="2700761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W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55D2CC9-B405-C1BD-47B8-063A3F4B32F6}"/>
              </a:ext>
            </a:extLst>
          </p:cNvPr>
          <p:cNvSpPr txBox="1"/>
          <p:nvPr/>
        </p:nvSpPr>
        <p:spPr>
          <a:xfrm>
            <a:off x="8555159" y="2700761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8E899D5F-19A6-C5BD-D9F9-78E0717695EC}"/>
              </a:ext>
            </a:extLst>
          </p:cNvPr>
          <p:cNvSpPr txBox="1"/>
          <p:nvPr/>
        </p:nvSpPr>
        <p:spPr>
          <a:xfrm>
            <a:off x="10193349" y="2700761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object 18">
            <a:extLst>
              <a:ext uri="{FF2B5EF4-FFF2-40B4-BE49-F238E27FC236}">
                <a16:creationId xmlns:a16="http://schemas.microsoft.com/office/drawing/2014/main" id="{8C93D5C6-1298-DAA5-BE7F-D714552E7749}"/>
              </a:ext>
            </a:extLst>
          </p:cNvPr>
          <p:cNvSpPr/>
          <p:nvPr/>
        </p:nvSpPr>
        <p:spPr>
          <a:xfrm>
            <a:off x="766861" y="3917991"/>
            <a:ext cx="10710651" cy="1077449"/>
          </a:xfrm>
          <a:custGeom>
            <a:avLst/>
            <a:gdLst/>
            <a:ahLst/>
            <a:cxnLst/>
            <a:rect l="l" t="t" r="r" b="b"/>
            <a:pathLst>
              <a:path w="9277985" h="936625">
                <a:moveTo>
                  <a:pt x="9025928" y="0"/>
                </a:moveTo>
                <a:lnTo>
                  <a:pt x="0" y="0"/>
                </a:lnTo>
                <a:lnTo>
                  <a:pt x="0" y="936002"/>
                </a:lnTo>
                <a:lnTo>
                  <a:pt x="9277921" y="936002"/>
                </a:lnTo>
                <a:lnTo>
                  <a:pt x="9277921" y="218401"/>
                </a:lnTo>
                <a:lnTo>
                  <a:pt x="9272801" y="174384"/>
                </a:lnTo>
                <a:lnTo>
                  <a:pt x="9258117" y="133388"/>
                </a:lnTo>
                <a:lnTo>
                  <a:pt x="9234883" y="96289"/>
                </a:lnTo>
                <a:lnTo>
                  <a:pt x="9204112" y="63966"/>
                </a:lnTo>
                <a:lnTo>
                  <a:pt x="9166817" y="37298"/>
                </a:lnTo>
                <a:lnTo>
                  <a:pt x="9124012" y="17162"/>
                </a:lnTo>
                <a:lnTo>
                  <a:pt x="9076711" y="4436"/>
                </a:lnTo>
                <a:lnTo>
                  <a:pt x="9025928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936000" tIns="0" rIns="0" bIns="0" rtlCol="0" anchor="ctr"/>
          <a:lstStyle/>
          <a:p>
            <a:r>
              <a:rPr lang="en-GB" sz="1400" b="1"/>
              <a:t>VALUE CREATION</a:t>
            </a:r>
          </a:p>
        </p:txBody>
      </p:sp>
      <p:sp>
        <p:nvSpPr>
          <p:cNvPr id="70" name="object 25">
            <a:extLst>
              <a:ext uri="{FF2B5EF4-FFF2-40B4-BE49-F238E27FC236}">
                <a16:creationId xmlns:a16="http://schemas.microsoft.com/office/drawing/2014/main" id="{40A71CB5-E778-0C6E-64B5-9486E7B454FA}"/>
              </a:ext>
            </a:extLst>
          </p:cNvPr>
          <p:cNvSpPr/>
          <p:nvPr/>
        </p:nvSpPr>
        <p:spPr>
          <a:xfrm>
            <a:off x="228600" y="3917991"/>
            <a:ext cx="1077449" cy="1077449"/>
          </a:xfrm>
          <a:custGeom>
            <a:avLst/>
            <a:gdLst/>
            <a:ahLst/>
            <a:cxnLst/>
            <a:rect l="l" t="t" r="r" b="b"/>
            <a:pathLst>
              <a:path w="933450" h="933450">
                <a:moveTo>
                  <a:pt x="466559" y="0"/>
                </a:moveTo>
                <a:lnTo>
                  <a:pt x="418857" y="2408"/>
                </a:lnTo>
                <a:lnTo>
                  <a:pt x="372532" y="9478"/>
                </a:lnTo>
                <a:lnTo>
                  <a:pt x="327820" y="20975"/>
                </a:lnTo>
                <a:lnTo>
                  <a:pt x="284955" y="36665"/>
                </a:lnTo>
                <a:lnTo>
                  <a:pt x="244171" y="56311"/>
                </a:lnTo>
                <a:lnTo>
                  <a:pt x="205703" y="79682"/>
                </a:lnTo>
                <a:lnTo>
                  <a:pt x="169785" y="106540"/>
                </a:lnTo>
                <a:lnTo>
                  <a:pt x="136653" y="136653"/>
                </a:lnTo>
                <a:lnTo>
                  <a:pt x="106540" y="169785"/>
                </a:lnTo>
                <a:lnTo>
                  <a:pt x="79682" y="205703"/>
                </a:lnTo>
                <a:lnTo>
                  <a:pt x="56311" y="244171"/>
                </a:lnTo>
                <a:lnTo>
                  <a:pt x="36665" y="284955"/>
                </a:lnTo>
                <a:lnTo>
                  <a:pt x="20975" y="327820"/>
                </a:lnTo>
                <a:lnTo>
                  <a:pt x="9478" y="372532"/>
                </a:lnTo>
                <a:lnTo>
                  <a:pt x="2408" y="418857"/>
                </a:lnTo>
                <a:lnTo>
                  <a:pt x="0" y="466559"/>
                </a:lnTo>
                <a:lnTo>
                  <a:pt x="2408" y="514262"/>
                </a:lnTo>
                <a:lnTo>
                  <a:pt x="9478" y="560586"/>
                </a:lnTo>
                <a:lnTo>
                  <a:pt x="20975" y="605299"/>
                </a:lnTo>
                <a:lnTo>
                  <a:pt x="36665" y="648164"/>
                </a:lnTo>
                <a:lnTo>
                  <a:pt x="56311" y="688948"/>
                </a:lnTo>
                <a:lnTo>
                  <a:pt x="79682" y="727416"/>
                </a:lnTo>
                <a:lnTo>
                  <a:pt x="106540" y="763333"/>
                </a:lnTo>
                <a:lnTo>
                  <a:pt x="136653" y="796466"/>
                </a:lnTo>
                <a:lnTo>
                  <a:pt x="169785" y="826579"/>
                </a:lnTo>
                <a:lnTo>
                  <a:pt x="205703" y="853437"/>
                </a:lnTo>
                <a:lnTo>
                  <a:pt x="244171" y="876807"/>
                </a:lnTo>
                <a:lnTo>
                  <a:pt x="284955" y="896454"/>
                </a:lnTo>
                <a:lnTo>
                  <a:pt x="327820" y="912143"/>
                </a:lnTo>
                <a:lnTo>
                  <a:pt x="372532" y="923640"/>
                </a:lnTo>
                <a:lnTo>
                  <a:pt x="418857" y="930710"/>
                </a:lnTo>
                <a:lnTo>
                  <a:pt x="466559" y="933119"/>
                </a:lnTo>
                <a:lnTo>
                  <a:pt x="514262" y="930710"/>
                </a:lnTo>
                <a:lnTo>
                  <a:pt x="560586" y="923640"/>
                </a:lnTo>
                <a:lnTo>
                  <a:pt x="605299" y="912143"/>
                </a:lnTo>
                <a:lnTo>
                  <a:pt x="648164" y="896454"/>
                </a:lnTo>
                <a:lnTo>
                  <a:pt x="688948" y="876807"/>
                </a:lnTo>
                <a:lnTo>
                  <a:pt x="727416" y="853437"/>
                </a:lnTo>
                <a:lnTo>
                  <a:pt x="763333" y="826579"/>
                </a:lnTo>
                <a:lnTo>
                  <a:pt x="796466" y="796466"/>
                </a:lnTo>
                <a:lnTo>
                  <a:pt x="826579" y="763333"/>
                </a:lnTo>
                <a:lnTo>
                  <a:pt x="853437" y="727416"/>
                </a:lnTo>
                <a:lnTo>
                  <a:pt x="876807" y="688948"/>
                </a:lnTo>
                <a:lnTo>
                  <a:pt x="896454" y="648164"/>
                </a:lnTo>
                <a:lnTo>
                  <a:pt x="912143" y="605299"/>
                </a:lnTo>
                <a:lnTo>
                  <a:pt x="923640" y="560586"/>
                </a:lnTo>
                <a:lnTo>
                  <a:pt x="930710" y="514262"/>
                </a:lnTo>
                <a:lnTo>
                  <a:pt x="933119" y="466559"/>
                </a:lnTo>
                <a:lnTo>
                  <a:pt x="930710" y="418857"/>
                </a:lnTo>
                <a:lnTo>
                  <a:pt x="923640" y="372532"/>
                </a:lnTo>
                <a:lnTo>
                  <a:pt x="912143" y="327820"/>
                </a:lnTo>
                <a:lnTo>
                  <a:pt x="896454" y="284955"/>
                </a:lnTo>
                <a:lnTo>
                  <a:pt x="876807" y="244171"/>
                </a:lnTo>
                <a:lnTo>
                  <a:pt x="853437" y="205703"/>
                </a:lnTo>
                <a:lnTo>
                  <a:pt x="826579" y="169785"/>
                </a:lnTo>
                <a:lnTo>
                  <a:pt x="796466" y="136653"/>
                </a:lnTo>
                <a:lnTo>
                  <a:pt x="763333" y="106540"/>
                </a:lnTo>
                <a:lnTo>
                  <a:pt x="727416" y="79682"/>
                </a:lnTo>
                <a:lnTo>
                  <a:pt x="688948" y="56311"/>
                </a:lnTo>
                <a:lnTo>
                  <a:pt x="648164" y="36665"/>
                </a:lnTo>
                <a:lnTo>
                  <a:pt x="605299" y="20975"/>
                </a:lnTo>
                <a:lnTo>
                  <a:pt x="560586" y="9478"/>
                </a:lnTo>
                <a:lnTo>
                  <a:pt x="514262" y="2408"/>
                </a:lnTo>
                <a:lnTo>
                  <a:pt x="466559" y="0"/>
                </a:lnTo>
                <a:close/>
              </a:path>
            </a:pathLst>
          </a:custGeom>
          <a:solidFill>
            <a:srgbClr val="18303A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052901F-0280-E2B1-D852-CA41FC9A49E3}"/>
              </a:ext>
            </a:extLst>
          </p:cNvPr>
          <p:cNvSpPr txBox="1"/>
          <p:nvPr/>
        </p:nvSpPr>
        <p:spPr>
          <a:xfrm>
            <a:off x="3632724" y="3917991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GEV</a:t>
            </a:r>
            <a:b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.4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 3" panose="05040102010807070707" pitchFamily="18" charset="2"/>
              </a:rPr>
              <a:t>Target 14.5%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C8EA653C-CBDC-E361-EA79-E439BE5E70FF}"/>
              </a:ext>
            </a:extLst>
          </p:cNvPr>
          <p:cNvSpPr txBox="1"/>
          <p:nvPr/>
        </p:nvSpPr>
        <p:spPr>
          <a:xfrm>
            <a:off x="5270913" y="3917991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oup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ty valu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5.27 b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% </a:t>
            </a:r>
            <a:r>
              <a:rPr kumimoji="0" lang="en-BW" sz="12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 3" panose="05040102010807070707" pitchFamily="18" charset="2"/>
              </a:rPr>
              <a:t>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C4AB2AB-16DA-8D5C-CE98-14DEEE3B1138}"/>
              </a:ext>
            </a:extLst>
          </p:cNvPr>
          <p:cNvSpPr txBox="1"/>
          <p:nvPr/>
        </p:nvSpPr>
        <p:spPr>
          <a:xfrm>
            <a:off x="8547292" y="3917991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D6CE1EE7-992B-6BD1-D85F-CBB8E831F7D5}"/>
              </a:ext>
            </a:extLst>
          </p:cNvPr>
          <p:cNvSpPr txBox="1"/>
          <p:nvPr/>
        </p:nvSpPr>
        <p:spPr>
          <a:xfrm>
            <a:off x="10185482" y="3917991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object 18">
            <a:extLst>
              <a:ext uri="{FF2B5EF4-FFF2-40B4-BE49-F238E27FC236}">
                <a16:creationId xmlns:a16="http://schemas.microsoft.com/office/drawing/2014/main" id="{5CAAA712-CFCD-1091-19DE-EB26F56A447A}"/>
              </a:ext>
            </a:extLst>
          </p:cNvPr>
          <p:cNvSpPr/>
          <p:nvPr/>
        </p:nvSpPr>
        <p:spPr>
          <a:xfrm>
            <a:off x="766861" y="5135220"/>
            <a:ext cx="10710651" cy="1077449"/>
          </a:xfrm>
          <a:custGeom>
            <a:avLst/>
            <a:gdLst/>
            <a:ahLst/>
            <a:cxnLst/>
            <a:rect l="l" t="t" r="r" b="b"/>
            <a:pathLst>
              <a:path w="9277985" h="936625">
                <a:moveTo>
                  <a:pt x="9025928" y="0"/>
                </a:moveTo>
                <a:lnTo>
                  <a:pt x="0" y="0"/>
                </a:lnTo>
                <a:lnTo>
                  <a:pt x="0" y="936002"/>
                </a:lnTo>
                <a:lnTo>
                  <a:pt x="9277921" y="936002"/>
                </a:lnTo>
                <a:lnTo>
                  <a:pt x="9277921" y="218401"/>
                </a:lnTo>
                <a:lnTo>
                  <a:pt x="9272801" y="174384"/>
                </a:lnTo>
                <a:lnTo>
                  <a:pt x="9258117" y="133388"/>
                </a:lnTo>
                <a:lnTo>
                  <a:pt x="9234883" y="96289"/>
                </a:lnTo>
                <a:lnTo>
                  <a:pt x="9204112" y="63966"/>
                </a:lnTo>
                <a:lnTo>
                  <a:pt x="9166817" y="37298"/>
                </a:lnTo>
                <a:lnTo>
                  <a:pt x="9124012" y="17162"/>
                </a:lnTo>
                <a:lnTo>
                  <a:pt x="9076711" y="4436"/>
                </a:lnTo>
                <a:lnTo>
                  <a:pt x="9025928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936000" tIns="0" rIns="0" bIns="0" rtlCol="0" anchor="ctr"/>
          <a:lstStyle/>
          <a:p>
            <a:r>
              <a:rPr lang="en-GB" sz="1400" b="1"/>
              <a:t>SUSTAINABILITY</a:t>
            </a:r>
          </a:p>
        </p:txBody>
      </p:sp>
      <p:sp>
        <p:nvSpPr>
          <p:cNvPr id="81" name="object 25">
            <a:extLst>
              <a:ext uri="{FF2B5EF4-FFF2-40B4-BE49-F238E27FC236}">
                <a16:creationId xmlns:a16="http://schemas.microsoft.com/office/drawing/2014/main" id="{BAF9FA07-236B-A32F-D368-B2A9F21CED92}"/>
              </a:ext>
            </a:extLst>
          </p:cNvPr>
          <p:cNvSpPr/>
          <p:nvPr/>
        </p:nvSpPr>
        <p:spPr>
          <a:xfrm>
            <a:off x="228600" y="5135220"/>
            <a:ext cx="1077449" cy="1077449"/>
          </a:xfrm>
          <a:custGeom>
            <a:avLst/>
            <a:gdLst/>
            <a:ahLst/>
            <a:cxnLst/>
            <a:rect l="l" t="t" r="r" b="b"/>
            <a:pathLst>
              <a:path w="933450" h="933450">
                <a:moveTo>
                  <a:pt x="466559" y="0"/>
                </a:moveTo>
                <a:lnTo>
                  <a:pt x="418857" y="2408"/>
                </a:lnTo>
                <a:lnTo>
                  <a:pt x="372532" y="9478"/>
                </a:lnTo>
                <a:lnTo>
                  <a:pt x="327820" y="20975"/>
                </a:lnTo>
                <a:lnTo>
                  <a:pt x="284955" y="36665"/>
                </a:lnTo>
                <a:lnTo>
                  <a:pt x="244171" y="56311"/>
                </a:lnTo>
                <a:lnTo>
                  <a:pt x="205703" y="79682"/>
                </a:lnTo>
                <a:lnTo>
                  <a:pt x="169785" y="106540"/>
                </a:lnTo>
                <a:lnTo>
                  <a:pt x="136653" y="136653"/>
                </a:lnTo>
                <a:lnTo>
                  <a:pt x="106540" y="169785"/>
                </a:lnTo>
                <a:lnTo>
                  <a:pt x="79682" y="205703"/>
                </a:lnTo>
                <a:lnTo>
                  <a:pt x="56311" y="244171"/>
                </a:lnTo>
                <a:lnTo>
                  <a:pt x="36665" y="284955"/>
                </a:lnTo>
                <a:lnTo>
                  <a:pt x="20975" y="327820"/>
                </a:lnTo>
                <a:lnTo>
                  <a:pt x="9478" y="372532"/>
                </a:lnTo>
                <a:lnTo>
                  <a:pt x="2408" y="418857"/>
                </a:lnTo>
                <a:lnTo>
                  <a:pt x="0" y="466559"/>
                </a:lnTo>
                <a:lnTo>
                  <a:pt x="2408" y="514262"/>
                </a:lnTo>
                <a:lnTo>
                  <a:pt x="9478" y="560586"/>
                </a:lnTo>
                <a:lnTo>
                  <a:pt x="20975" y="605299"/>
                </a:lnTo>
                <a:lnTo>
                  <a:pt x="36665" y="648164"/>
                </a:lnTo>
                <a:lnTo>
                  <a:pt x="56311" y="688948"/>
                </a:lnTo>
                <a:lnTo>
                  <a:pt x="79682" y="727416"/>
                </a:lnTo>
                <a:lnTo>
                  <a:pt x="106540" y="763333"/>
                </a:lnTo>
                <a:lnTo>
                  <a:pt x="136653" y="796466"/>
                </a:lnTo>
                <a:lnTo>
                  <a:pt x="169785" y="826579"/>
                </a:lnTo>
                <a:lnTo>
                  <a:pt x="205703" y="853437"/>
                </a:lnTo>
                <a:lnTo>
                  <a:pt x="244171" y="876807"/>
                </a:lnTo>
                <a:lnTo>
                  <a:pt x="284955" y="896454"/>
                </a:lnTo>
                <a:lnTo>
                  <a:pt x="327820" y="912143"/>
                </a:lnTo>
                <a:lnTo>
                  <a:pt x="372532" y="923640"/>
                </a:lnTo>
                <a:lnTo>
                  <a:pt x="418857" y="930710"/>
                </a:lnTo>
                <a:lnTo>
                  <a:pt x="466559" y="933119"/>
                </a:lnTo>
                <a:lnTo>
                  <a:pt x="514262" y="930710"/>
                </a:lnTo>
                <a:lnTo>
                  <a:pt x="560586" y="923640"/>
                </a:lnTo>
                <a:lnTo>
                  <a:pt x="605299" y="912143"/>
                </a:lnTo>
                <a:lnTo>
                  <a:pt x="648164" y="896454"/>
                </a:lnTo>
                <a:lnTo>
                  <a:pt x="688948" y="876807"/>
                </a:lnTo>
                <a:lnTo>
                  <a:pt x="727416" y="853437"/>
                </a:lnTo>
                <a:lnTo>
                  <a:pt x="763333" y="826579"/>
                </a:lnTo>
                <a:lnTo>
                  <a:pt x="796466" y="796466"/>
                </a:lnTo>
                <a:lnTo>
                  <a:pt x="826579" y="763333"/>
                </a:lnTo>
                <a:lnTo>
                  <a:pt x="853437" y="727416"/>
                </a:lnTo>
                <a:lnTo>
                  <a:pt x="876807" y="688948"/>
                </a:lnTo>
                <a:lnTo>
                  <a:pt x="896454" y="648164"/>
                </a:lnTo>
                <a:lnTo>
                  <a:pt x="912143" y="605299"/>
                </a:lnTo>
                <a:lnTo>
                  <a:pt x="923640" y="560586"/>
                </a:lnTo>
                <a:lnTo>
                  <a:pt x="930710" y="514262"/>
                </a:lnTo>
                <a:lnTo>
                  <a:pt x="933119" y="466559"/>
                </a:lnTo>
                <a:lnTo>
                  <a:pt x="930710" y="418857"/>
                </a:lnTo>
                <a:lnTo>
                  <a:pt x="923640" y="372532"/>
                </a:lnTo>
                <a:lnTo>
                  <a:pt x="912143" y="327820"/>
                </a:lnTo>
                <a:lnTo>
                  <a:pt x="896454" y="284955"/>
                </a:lnTo>
                <a:lnTo>
                  <a:pt x="876807" y="244171"/>
                </a:lnTo>
                <a:lnTo>
                  <a:pt x="853437" y="205703"/>
                </a:lnTo>
                <a:lnTo>
                  <a:pt x="826579" y="169785"/>
                </a:lnTo>
                <a:lnTo>
                  <a:pt x="796466" y="136653"/>
                </a:lnTo>
                <a:lnTo>
                  <a:pt x="763333" y="106540"/>
                </a:lnTo>
                <a:lnTo>
                  <a:pt x="727416" y="79682"/>
                </a:lnTo>
                <a:lnTo>
                  <a:pt x="688948" y="56311"/>
                </a:lnTo>
                <a:lnTo>
                  <a:pt x="648164" y="36665"/>
                </a:lnTo>
                <a:lnTo>
                  <a:pt x="605299" y="20975"/>
                </a:lnTo>
                <a:lnTo>
                  <a:pt x="560586" y="9478"/>
                </a:lnTo>
                <a:lnTo>
                  <a:pt x="514262" y="2408"/>
                </a:lnTo>
                <a:lnTo>
                  <a:pt x="466559" y="0"/>
                </a:lnTo>
                <a:close/>
              </a:path>
            </a:pathLst>
          </a:custGeom>
          <a:solidFill>
            <a:srgbClr val="18303A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204E6B7-56D6-9F6F-CE23-E54AAAB7AC43}"/>
              </a:ext>
            </a:extLst>
          </p:cNvPr>
          <p:cNvSpPr txBox="1"/>
          <p:nvPr/>
        </p:nvSpPr>
        <p:spPr>
          <a:xfrm>
            <a:off x="3632724" y="5135220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red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ital cov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.8 times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8BC5334-D723-36B0-7559-9F58099894DF}"/>
              </a:ext>
            </a:extLst>
          </p:cNvPr>
          <p:cNvSpPr txBox="1"/>
          <p:nvPr/>
        </p:nvSpPr>
        <p:spPr>
          <a:xfrm>
            <a:off x="5270913" y="5135220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8238A30-C49F-2F52-9D93-AFD9DB35552E}"/>
              </a:ext>
            </a:extLst>
          </p:cNvPr>
          <p:cNvSpPr txBox="1"/>
          <p:nvPr/>
        </p:nvSpPr>
        <p:spPr>
          <a:xfrm>
            <a:off x="8547292" y="5135220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AAE7F784-A7A7-37D8-A75E-9EB38C3C9BD1}"/>
              </a:ext>
            </a:extLst>
          </p:cNvPr>
          <p:cNvSpPr txBox="1"/>
          <p:nvPr/>
        </p:nvSpPr>
        <p:spPr>
          <a:xfrm>
            <a:off x="10185482" y="5135220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506A8463-E274-E99C-FBDD-94B198458506}"/>
              </a:ext>
            </a:extLst>
          </p:cNvPr>
          <p:cNvGrpSpPr/>
          <p:nvPr/>
        </p:nvGrpSpPr>
        <p:grpSpPr>
          <a:xfrm>
            <a:off x="522214" y="4211605"/>
            <a:ext cx="490220" cy="490220"/>
            <a:chOff x="671614" y="6381013"/>
            <a:chExt cx="490220" cy="490220"/>
          </a:xfrm>
        </p:grpSpPr>
        <p:sp>
          <p:nvSpPr>
            <p:cNvPr id="95" name="object 38">
              <a:extLst>
                <a:ext uri="{FF2B5EF4-FFF2-40B4-BE49-F238E27FC236}">
                  <a16:creationId xmlns:a16="http://schemas.microsoft.com/office/drawing/2014/main" id="{12560699-56E1-E606-75D9-935CB632BBD5}"/>
                </a:ext>
              </a:extLst>
            </p:cNvPr>
            <p:cNvSpPr/>
            <p:nvPr/>
          </p:nvSpPr>
          <p:spPr>
            <a:xfrm>
              <a:off x="671614" y="6381013"/>
              <a:ext cx="490220" cy="490220"/>
            </a:xfrm>
            <a:custGeom>
              <a:avLst/>
              <a:gdLst/>
              <a:ahLst/>
              <a:cxnLst/>
              <a:rect l="l" t="t" r="r" b="b"/>
              <a:pathLst>
                <a:path w="490219" h="490220">
                  <a:moveTo>
                    <a:pt x="424726" y="208508"/>
                  </a:moveTo>
                  <a:lnTo>
                    <a:pt x="424561" y="204279"/>
                  </a:lnTo>
                  <a:lnTo>
                    <a:pt x="417563" y="156972"/>
                  </a:lnTo>
                  <a:lnTo>
                    <a:pt x="408419" y="133464"/>
                  </a:lnTo>
                  <a:lnTo>
                    <a:pt x="408419" y="204279"/>
                  </a:lnTo>
                  <a:lnTo>
                    <a:pt x="226225" y="204279"/>
                  </a:lnTo>
                  <a:lnTo>
                    <a:pt x="227012" y="202882"/>
                  </a:lnTo>
                  <a:lnTo>
                    <a:pt x="315201" y="45199"/>
                  </a:lnTo>
                  <a:lnTo>
                    <a:pt x="352920" y="75234"/>
                  </a:lnTo>
                  <a:lnTo>
                    <a:pt x="381749" y="112991"/>
                  </a:lnTo>
                  <a:lnTo>
                    <a:pt x="400621" y="156603"/>
                  </a:lnTo>
                  <a:lnTo>
                    <a:pt x="408419" y="204279"/>
                  </a:lnTo>
                  <a:lnTo>
                    <a:pt x="408419" y="133464"/>
                  </a:lnTo>
                  <a:lnTo>
                    <a:pt x="400761" y="113753"/>
                  </a:lnTo>
                  <a:lnTo>
                    <a:pt x="375373" y="75793"/>
                  </a:lnTo>
                  <a:lnTo>
                    <a:pt x="343585" y="45199"/>
                  </a:lnTo>
                  <a:lnTo>
                    <a:pt x="342620" y="44259"/>
                  </a:lnTo>
                  <a:lnTo>
                    <a:pt x="303720" y="20332"/>
                  </a:lnTo>
                  <a:lnTo>
                    <a:pt x="300926" y="19380"/>
                  </a:lnTo>
                  <a:lnTo>
                    <a:pt x="300926" y="37261"/>
                  </a:lnTo>
                  <a:lnTo>
                    <a:pt x="208292" y="202882"/>
                  </a:lnTo>
                  <a:lnTo>
                    <a:pt x="204482" y="201904"/>
                  </a:lnTo>
                  <a:lnTo>
                    <a:pt x="204482" y="218757"/>
                  </a:lnTo>
                  <a:lnTo>
                    <a:pt x="204177" y="218757"/>
                  </a:lnTo>
                  <a:lnTo>
                    <a:pt x="204177" y="408241"/>
                  </a:lnTo>
                  <a:lnTo>
                    <a:pt x="160642" y="401650"/>
                  </a:lnTo>
                  <a:lnTo>
                    <a:pt x="120878" y="386054"/>
                  </a:lnTo>
                  <a:lnTo>
                    <a:pt x="85966" y="362597"/>
                  </a:lnTo>
                  <a:lnTo>
                    <a:pt x="56984" y="332371"/>
                  </a:lnTo>
                  <a:lnTo>
                    <a:pt x="35001" y="296506"/>
                  </a:lnTo>
                  <a:lnTo>
                    <a:pt x="21082" y="256120"/>
                  </a:lnTo>
                  <a:lnTo>
                    <a:pt x="16357" y="212623"/>
                  </a:lnTo>
                  <a:lnTo>
                    <a:pt x="16421" y="208508"/>
                  </a:lnTo>
                  <a:lnTo>
                    <a:pt x="16535" y="204279"/>
                  </a:lnTo>
                  <a:lnTo>
                    <a:pt x="16586" y="202044"/>
                  </a:lnTo>
                  <a:lnTo>
                    <a:pt x="17399" y="191782"/>
                  </a:lnTo>
                  <a:lnTo>
                    <a:pt x="18732" y="181584"/>
                  </a:lnTo>
                  <a:lnTo>
                    <a:pt x="20599" y="171462"/>
                  </a:lnTo>
                  <a:lnTo>
                    <a:pt x="204482" y="218757"/>
                  </a:lnTo>
                  <a:lnTo>
                    <a:pt x="204482" y="201904"/>
                  </a:lnTo>
                  <a:lnTo>
                    <a:pt x="86156" y="171462"/>
                  </a:lnTo>
                  <a:lnTo>
                    <a:pt x="24587" y="155625"/>
                  </a:lnTo>
                  <a:lnTo>
                    <a:pt x="32969" y="132969"/>
                  </a:lnTo>
                  <a:lnTo>
                    <a:pt x="57670" y="91770"/>
                  </a:lnTo>
                  <a:lnTo>
                    <a:pt x="113106" y="43294"/>
                  </a:lnTo>
                  <a:lnTo>
                    <a:pt x="157810" y="24079"/>
                  </a:lnTo>
                  <a:lnTo>
                    <a:pt x="205524" y="16433"/>
                  </a:lnTo>
                  <a:lnTo>
                    <a:pt x="253987" y="20701"/>
                  </a:lnTo>
                  <a:lnTo>
                    <a:pt x="300926" y="37261"/>
                  </a:lnTo>
                  <a:lnTo>
                    <a:pt x="300926" y="19380"/>
                  </a:lnTo>
                  <a:lnTo>
                    <a:pt x="292417" y="16433"/>
                  </a:lnTo>
                  <a:lnTo>
                    <a:pt x="259880" y="5194"/>
                  </a:lnTo>
                  <a:lnTo>
                    <a:pt x="212344" y="0"/>
                  </a:lnTo>
                  <a:lnTo>
                    <a:pt x="163664" y="5588"/>
                  </a:lnTo>
                  <a:lnTo>
                    <a:pt x="118986" y="21539"/>
                  </a:lnTo>
                  <a:lnTo>
                    <a:pt x="79552" y="46583"/>
                  </a:lnTo>
                  <a:lnTo>
                    <a:pt x="46672" y="79451"/>
                  </a:lnTo>
                  <a:lnTo>
                    <a:pt x="21602" y="118859"/>
                  </a:lnTo>
                  <a:lnTo>
                    <a:pt x="5613" y="163537"/>
                  </a:lnTo>
                  <a:lnTo>
                    <a:pt x="419" y="208508"/>
                  </a:lnTo>
                  <a:lnTo>
                    <a:pt x="0" y="212344"/>
                  </a:lnTo>
                  <a:lnTo>
                    <a:pt x="5181" y="259880"/>
                  </a:lnTo>
                  <a:lnTo>
                    <a:pt x="20332" y="303720"/>
                  </a:lnTo>
                  <a:lnTo>
                    <a:pt x="44259" y="342620"/>
                  </a:lnTo>
                  <a:lnTo>
                    <a:pt x="75780" y="375373"/>
                  </a:lnTo>
                  <a:lnTo>
                    <a:pt x="113753" y="400761"/>
                  </a:lnTo>
                  <a:lnTo>
                    <a:pt x="156972" y="417576"/>
                  </a:lnTo>
                  <a:lnTo>
                    <a:pt x="204279" y="424573"/>
                  </a:lnTo>
                  <a:lnTo>
                    <a:pt x="208889" y="424573"/>
                  </a:lnTo>
                  <a:lnTo>
                    <a:pt x="212763" y="422998"/>
                  </a:lnTo>
                  <a:lnTo>
                    <a:pt x="218757" y="417195"/>
                  </a:lnTo>
                  <a:lnTo>
                    <a:pt x="220510" y="413067"/>
                  </a:lnTo>
                  <a:lnTo>
                    <a:pt x="220510" y="408241"/>
                  </a:lnTo>
                  <a:lnTo>
                    <a:pt x="220510" y="220510"/>
                  </a:lnTo>
                  <a:lnTo>
                    <a:pt x="413080" y="220510"/>
                  </a:lnTo>
                  <a:lnTo>
                    <a:pt x="417207" y="218757"/>
                  </a:lnTo>
                  <a:lnTo>
                    <a:pt x="423151" y="212623"/>
                  </a:lnTo>
                  <a:lnTo>
                    <a:pt x="424726" y="208508"/>
                  </a:lnTo>
                  <a:close/>
                </a:path>
                <a:path w="490219" h="490220">
                  <a:moveTo>
                    <a:pt x="490054" y="249707"/>
                  </a:moveTo>
                  <a:lnTo>
                    <a:pt x="488353" y="245275"/>
                  </a:lnTo>
                  <a:lnTo>
                    <a:pt x="485165" y="242011"/>
                  </a:lnTo>
                  <a:lnTo>
                    <a:pt x="481965" y="238683"/>
                  </a:lnTo>
                  <a:lnTo>
                    <a:pt x="477545" y="236804"/>
                  </a:lnTo>
                  <a:lnTo>
                    <a:pt x="244348" y="236804"/>
                  </a:lnTo>
                  <a:lnTo>
                    <a:pt x="236778" y="244373"/>
                  </a:lnTo>
                  <a:lnTo>
                    <a:pt x="236791" y="477532"/>
                  </a:lnTo>
                  <a:lnTo>
                    <a:pt x="238671" y="481952"/>
                  </a:lnTo>
                  <a:lnTo>
                    <a:pt x="245110" y="488188"/>
                  </a:lnTo>
                  <a:lnTo>
                    <a:pt x="249275" y="489889"/>
                  </a:lnTo>
                  <a:lnTo>
                    <a:pt x="254241" y="489889"/>
                  </a:lnTo>
                  <a:lnTo>
                    <a:pt x="300875" y="483489"/>
                  </a:lnTo>
                  <a:lnTo>
                    <a:pt x="344271" y="468820"/>
                  </a:lnTo>
                  <a:lnTo>
                    <a:pt x="383603" y="446735"/>
                  </a:lnTo>
                  <a:lnTo>
                    <a:pt x="418033" y="418045"/>
                  </a:lnTo>
                  <a:lnTo>
                    <a:pt x="446722" y="383616"/>
                  </a:lnTo>
                  <a:lnTo>
                    <a:pt x="468820" y="344284"/>
                  </a:lnTo>
                  <a:lnTo>
                    <a:pt x="483489" y="300875"/>
                  </a:lnTo>
                  <a:lnTo>
                    <a:pt x="489877" y="254254"/>
                  </a:lnTo>
                  <a:lnTo>
                    <a:pt x="489915" y="253390"/>
                  </a:lnTo>
                  <a:lnTo>
                    <a:pt x="473430" y="253390"/>
                  </a:lnTo>
                  <a:lnTo>
                    <a:pt x="473443" y="254254"/>
                  </a:lnTo>
                  <a:lnTo>
                    <a:pt x="466077" y="303149"/>
                  </a:lnTo>
                  <a:lnTo>
                    <a:pt x="448665" y="348576"/>
                  </a:lnTo>
                  <a:lnTo>
                    <a:pt x="422503" y="388747"/>
                  </a:lnTo>
                  <a:lnTo>
                    <a:pt x="388747" y="422503"/>
                  </a:lnTo>
                  <a:lnTo>
                    <a:pt x="348564" y="448678"/>
                  </a:lnTo>
                  <a:lnTo>
                    <a:pt x="303136" y="466077"/>
                  </a:lnTo>
                  <a:lnTo>
                    <a:pt x="253631" y="473557"/>
                  </a:lnTo>
                  <a:lnTo>
                    <a:pt x="253098" y="472909"/>
                  </a:lnTo>
                  <a:lnTo>
                    <a:pt x="253098" y="253390"/>
                  </a:lnTo>
                  <a:lnTo>
                    <a:pt x="253377" y="253111"/>
                  </a:lnTo>
                  <a:lnTo>
                    <a:pt x="489915" y="253365"/>
                  </a:lnTo>
                  <a:lnTo>
                    <a:pt x="489927" y="253111"/>
                  </a:lnTo>
                  <a:lnTo>
                    <a:pt x="490054" y="249707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6" name="object 39">
              <a:extLst>
                <a:ext uri="{FF2B5EF4-FFF2-40B4-BE49-F238E27FC236}">
                  <a16:creationId xmlns:a16="http://schemas.microsoft.com/office/drawing/2014/main" id="{4FA6F5E8-259B-3DA5-406C-25604737D586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48411" y="6657799"/>
              <a:ext cx="124079" cy="123278"/>
            </a:xfrm>
            <a:prstGeom prst="rect">
              <a:avLst/>
            </a:prstGeom>
          </p:spPr>
        </p:pic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A3A64AB4-577A-8B71-6209-C12DD1BF660E}"/>
              </a:ext>
            </a:extLst>
          </p:cNvPr>
          <p:cNvGrpSpPr/>
          <p:nvPr/>
        </p:nvGrpSpPr>
        <p:grpSpPr>
          <a:xfrm>
            <a:off x="559152" y="2982825"/>
            <a:ext cx="432079" cy="513321"/>
            <a:chOff x="700278" y="2840685"/>
            <a:chExt cx="432079" cy="513321"/>
          </a:xfrm>
        </p:grpSpPr>
        <p:sp>
          <p:nvSpPr>
            <p:cNvPr id="98" name="object 15">
              <a:extLst>
                <a:ext uri="{FF2B5EF4-FFF2-40B4-BE49-F238E27FC236}">
                  <a16:creationId xmlns:a16="http://schemas.microsoft.com/office/drawing/2014/main" id="{A707D872-8E0C-A3F4-F05A-FDBC3ACB0BE4}"/>
                </a:ext>
              </a:extLst>
            </p:cNvPr>
            <p:cNvSpPr/>
            <p:nvPr/>
          </p:nvSpPr>
          <p:spPr>
            <a:xfrm>
              <a:off x="700278" y="2938716"/>
              <a:ext cx="392430" cy="415290"/>
            </a:xfrm>
            <a:custGeom>
              <a:avLst/>
              <a:gdLst/>
              <a:ahLst/>
              <a:cxnLst/>
              <a:rect l="l" t="t" r="r" b="b"/>
              <a:pathLst>
                <a:path w="392430" h="415289">
                  <a:moveTo>
                    <a:pt x="371094" y="259740"/>
                  </a:moveTo>
                  <a:lnTo>
                    <a:pt x="333578" y="232752"/>
                  </a:lnTo>
                  <a:lnTo>
                    <a:pt x="321322" y="233680"/>
                  </a:lnTo>
                  <a:lnTo>
                    <a:pt x="309003" y="238175"/>
                  </a:lnTo>
                  <a:lnTo>
                    <a:pt x="237121" y="276974"/>
                  </a:lnTo>
                  <a:lnTo>
                    <a:pt x="235864" y="281178"/>
                  </a:lnTo>
                  <a:lnTo>
                    <a:pt x="235813" y="281343"/>
                  </a:lnTo>
                  <a:lnTo>
                    <a:pt x="239458" y="288124"/>
                  </a:lnTo>
                  <a:lnTo>
                    <a:pt x="239572" y="288340"/>
                  </a:lnTo>
                  <a:lnTo>
                    <a:pt x="243941" y="289648"/>
                  </a:lnTo>
                  <a:lnTo>
                    <a:pt x="315823" y="250850"/>
                  </a:lnTo>
                  <a:lnTo>
                    <a:pt x="324472" y="247713"/>
                  </a:lnTo>
                  <a:lnTo>
                    <a:pt x="333121" y="247103"/>
                  </a:lnTo>
                  <a:lnTo>
                    <a:pt x="341236" y="248462"/>
                  </a:lnTo>
                  <a:lnTo>
                    <a:pt x="355600" y="256971"/>
                  </a:lnTo>
                  <a:lnTo>
                    <a:pt x="288607" y="308940"/>
                  </a:lnTo>
                  <a:lnTo>
                    <a:pt x="244043" y="336664"/>
                  </a:lnTo>
                  <a:lnTo>
                    <a:pt x="206730" y="349034"/>
                  </a:lnTo>
                  <a:lnTo>
                    <a:pt x="161480" y="354901"/>
                  </a:lnTo>
                  <a:lnTo>
                    <a:pt x="130429" y="358254"/>
                  </a:lnTo>
                  <a:lnTo>
                    <a:pt x="112179" y="360489"/>
                  </a:lnTo>
                  <a:lnTo>
                    <a:pt x="91808" y="363270"/>
                  </a:lnTo>
                  <a:lnTo>
                    <a:pt x="85712" y="350697"/>
                  </a:lnTo>
                  <a:lnTo>
                    <a:pt x="85712" y="383717"/>
                  </a:lnTo>
                  <a:lnTo>
                    <a:pt x="57835" y="397217"/>
                  </a:lnTo>
                  <a:lnTo>
                    <a:pt x="17792" y="314540"/>
                  </a:lnTo>
                  <a:lnTo>
                    <a:pt x="45681" y="301040"/>
                  </a:lnTo>
                  <a:lnTo>
                    <a:pt x="85712" y="383717"/>
                  </a:lnTo>
                  <a:lnTo>
                    <a:pt x="85712" y="350697"/>
                  </a:lnTo>
                  <a:lnTo>
                    <a:pt x="68046" y="314223"/>
                  </a:lnTo>
                  <a:lnTo>
                    <a:pt x="76923" y="307136"/>
                  </a:lnTo>
                  <a:lnTo>
                    <a:pt x="85979" y="301040"/>
                  </a:lnTo>
                  <a:lnTo>
                    <a:pt x="86245" y="300863"/>
                  </a:lnTo>
                  <a:lnTo>
                    <a:pt x="129032" y="284137"/>
                  </a:lnTo>
                  <a:lnTo>
                    <a:pt x="152412" y="282448"/>
                  </a:lnTo>
                  <a:lnTo>
                    <a:pt x="162179" y="283298"/>
                  </a:lnTo>
                  <a:lnTo>
                    <a:pt x="171043" y="284721"/>
                  </a:lnTo>
                  <a:lnTo>
                    <a:pt x="172288" y="284937"/>
                  </a:lnTo>
                  <a:lnTo>
                    <a:pt x="181610" y="286880"/>
                  </a:lnTo>
                  <a:lnTo>
                    <a:pt x="203835" y="292125"/>
                  </a:lnTo>
                  <a:lnTo>
                    <a:pt x="221208" y="294843"/>
                  </a:lnTo>
                  <a:lnTo>
                    <a:pt x="227723" y="297865"/>
                  </a:lnTo>
                  <a:lnTo>
                    <a:pt x="230124" y="301040"/>
                  </a:lnTo>
                  <a:lnTo>
                    <a:pt x="230581" y="301790"/>
                  </a:lnTo>
                  <a:lnTo>
                    <a:pt x="230568" y="302006"/>
                  </a:lnTo>
                  <a:lnTo>
                    <a:pt x="230238" y="302399"/>
                  </a:lnTo>
                  <a:lnTo>
                    <a:pt x="226123" y="306057"/>
                  </a:lnTo>
                  <a:lnTo>
                    <a:pt x="218160" y="308229"/>
                  </a:lnTo>
                  <a:lnTo>
                    <a:pt x="206070" y="307860"/>
                  </a:lnTo>
                  <a:lnTo>
                    <a:pt x="172275" y="306057"/>
                  </a:lnTo>
                  <a:lnTo>
                    <a:pt x="171437" y="306057"/>
                  </a:lnTo>
                  <a:lnTo>
                    <a:pt x="168097" y="309067"/>
                  </a:lnTo>
                  <a:lnTo>
                    <a:pt x="168008" y="310794"/>
                  </a:lnTo>
                  <a:lnTo>
                    <a:pt x="167906" y="312851"/>
                  </a:lnTo>
                  <a:lnTo>
                    <a:pt x="167817" y="314540"/>
                  </a:lnTo>
                  <a:lnTo>
                    <a:pt x="167690" y="317004"/>
                  </a:lnTo>
                  <a:lnTo>
                    <a:pt x="170751" y="320382"/>
                  </a:lnTo>
                  <a:lnTo>
                    <a:pt x="205486" y="322224"/>
                  </a:lnTo>
                  <a:lnTo>
                    <a:pt x="216738" y="321856"/>
                  </a:lnTo>
                  <a:lnTo>
                    <a:pt x="245325" y="299720"/>
                  </a:lnTo>
                  <a:lnTo>
                    <a:pt x="244271" y="295871"/>
                  </a:lnTo>
                  <a:lnTo>
                    <a:pt x="241592" y="292366"/>
                  </a:lnTo>
                  <a:lnTo>
                    <a:pt x="237274" y="288124"/>
                  </a:lnTo>
                  <a:lnTo>
                    <a:pt x="230949" y="284327"/>
                  </a:lnTo>
                  <a:lnTo>
                    <a:pt x="225958" y="282448"/>
                  </a:lnTo>
                  <a:lnTo>
                    <a:pt x="222592" y="281178"/>
                  </a:lnTo>
                  <a:lnTo>
                    <a:pt x="212166" y="278892"/>
                  </a:lnTo>
                  <a:lnTo>
                    <a:pt x="207264" y="278130"/>
                  </a:lnTo>
                  <a:lnTo>
                    <a:pt x="184492" y="272757"/>
                  </a:lnTo>
                  <a:lnTo>
                    <a:pt x="174320" y="270649"/>
                  </a:lnTo>
                  <a:lnTo>
                    <a:pt x="163779" y="268986"/>
                  </a:lnTo>
                  <a:lnTo>
                    <a:pt x="152984" y="268084"/>
                  </a:lnTo>
                  <a:lnTo>
                    <a:pt x="139700" y="268312"/>
                  </a:lnTo>
                  <a:lnTo>
                    <a:pt x="101193" y="277304"/>
                  </a:lnTo>
                  <a:lnTo>
                    <a:pt x="61582" y="300863"/>
                  </a:lnTo>
                  <a:lnTo>
                    <a:pt x="53886" y="284937"/>
                  </a:lnTo>
                  <a:lnTo>
                    <a:pt x="53771" y="284721"/>
                  </a:lnTo>
                  <a:lnTo>
                    <a:pt x="49682" y="283298"/>
                  </a:lnTo>
                  <a:lnTo>
                    <a:pt x="49314" y="283298"/>
                  </a:lnTo>
                  <a:lnTo>
                    <a:pt x="1473" y="306438"/>
                  </a:lnTo>
                  <a:lnTo>
                    <a:pt x="609" y="308940"/>
                  </a:lnTo>
                  <a:lnTo>
                    <a:pt x="0" y="310794"/>
                  </a:lnTo>
                  <a:lnTo>
                    <a:pt x="48018" y="409943"/>
                  </a:lnTo>
                  <a:lnTo>
                    <a:pt x="49733" y="413524"/>
                  </a:lnTo>
                  <a:lnTo>
                    <a:pt x="54038" y="415023"/>
                  </a:lnTo>
                  <a:lnTo>
                    <a:pt x="90843" y="397217"/>
                  </a:lnTo>
                  <a:lnTo>
                    <a:pt x="102019" y="391807"/>
                  </a:lnTo>
                  <a:lnTo>
                    <a:pt x="103517" y="387502"/>
                  </a:lnTo>
                  <a:lnTo>
                    <a:pt x="98399" y="376885"/>
                  </a:lnTo>
                  <a:lnTo>
                    <a:pt x="117246" y="374357"/>
                  </a:lnTo>
                  <a:lnTo>
                    <a:pt x="134150" y="372313"/>
                  </a:lnTo>
                  <a:lnTo>
                    <a:pt x="162941" y="369214"/>
                  </a:lnTo>
                  <a:lnTo>
                    <a:pt x="202247" y="364528"/>
                  </a:lnTo>
                  <a:lnTo>
                    <a:pt x="207365" y="363270"/>
                  </a:lnTo>
                  <a:lnTo>
                    <a:pt x="234035" y="356730"/>
                  </a:lnTo>
                  <a:lnTo>
                    <a:pt x="266446" y="341071"/>
                  </a:lnTo>
                  <a:lnTo>
                    <a:pt x="307606" y="312851"/>
                  </a:lnTo>
                  <a:lnTo>
                    <a:pt x="365658" y="267335"/>
                  </a:lnTo>
                  <a:lnTo>
                    <a:pt x="369760" y="264033"/>
                  </a:lnTo>
                  <a:lnTo>
                    <a:pt x="371094" y="259740"/>
                  </a:lnTo>
                  <a:close/>
                </a:path>
                <a:path w="392430" h="415289">
                  <a:moveTo>
                    <a:pt x="392391" y="21005"/>
                  </a:moveTo>
                  <a:lnTo>
                    <a:pt x="390969" y="13030"/>
                  </a:lnTo>
                  <a:lnTo>
                    <a:pt x="389420" y="10706"/>
                  </a:lnTo>
                  <a:lnTo>
                    <a:pt x="386435" y="6223"/>
                  </a:lnTo>
                  <a:lnTo>
                    <a:pt x="382168" y="3352"/>
                  </a:lnTo>
                  <a:lnTo>
                    <a:pt x="382168" y="15646"/>
                  </a:lnTo>
                  <a:lnTo>
                    <a:pt x="382168" y="167640"/>
                  </a:lnTo>
                  <a:lnTo>
                    <a:pt x="377228" y="172580"/>
                  </a:lnTo>
                  <a:lnTo>
                    <a:pt x="117322" y="172580"/>
                  </a:lnTo>
                  <a:lnTo>
                    <a:pt x="112382" y="167640"/>
                  </a:lnTo>
                  <a:lnTo>
                    <a:pt x="112382" y="15646"/>
                  </a:lnTo>
                  <a:lnTo>
                    <a:pt x="117322" y="10706"/>
                  </a:lnTo>
                  <a:lnTo>
                    <a:pt x="377228" y="10706"/>
                  </a:lnTo>
                  <a:lnTo>
                    <a:pt x="382168" y="15646"/>
                  </a:lnTo>
                  <a:lnTo>
                    <a:pt x="382168" y="3352"/>
                  </a:lnTo>
                  <a:lnTo>
                    <a:pt x="379666" y="1663"/>
                  </a:lnTo>
                  <a:lnTo>
                    <a:pt x="371462" y="0"/>
                  </a:lnTo>
                  <a:lnTo>
                    <a:pt x="123088" y="0"/>
                  </a:lnTo>
                  <a:lnTo>
                    <a:pt x="114922" y="1663"/>
                  </a:lnTo>
                  <a:lnTo>
                    <a:pt x="108216" y="6223"/>
                  </a:lnTo>
                  <a:lnTo>
                    <a:pt x="103733" y="12852"/>
                  </a:lnTo>
                  <a:lnTo>
                    <a:pt x="102082" y="21005"/>
                  </a:lnTo>
                  <a:lnTo>
                    <a:pt x="102158" y="161874"/>
                  </a:lnTo>
                  <a:lnTo>
                    <a:pt x="103733" y="169608"/>
                  </a:lnTo>
                  <a:lnTo>
                    <a:pt x="108254" y="176288"/>
                  </a:lnTo>
                  <a:lnTo>
                    <a:pt x="114935" y="180809"/>
                  </a:lnTo>
                  <a:lnTo>
                    <a:pt x="123088" y="182473"/>
                  </a:lnTo>
                  <a:lnTo>
                    <a:pt x="371462" y="182473"/>
                  </a:lnTo>
                  <a:lnTo>
                    <a:pt x="392379" y="161874"/>
                  </a:lnTo>
                  <a:lnTo>
                    <a:pt x="392391" y="2100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9" name="object 16">
              <a:extLst>
                <a:ext uri="{FF2B5EF4-FFF2-40B4-BE49-F238E27FC236}">
                  <a16:creationId xmlns:a16="http://schemas.microsoft.com/office/drawing/2014/main" id="{C2566F46-D6A1-3E76-6F80-B4C7A6EC06B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29542" y="2962598"/>
              <a:ext cx="236435" cy="135928"/>
            </a:xfrm>
            <a:prstGeom prst="rect">
              <a:avLst/>
            </a:prstGeom>
          </p:spPr>
        </p:pic>
        <p:sp>
          <p:nvSpPr>
            <p:cNvPr id="100" name="object 17">
              <a:extLst>
                <a:ext uri="{FF2B5EF4-FFF2-40B4-BE49-F238E27FC236}">
                  <a16:creationId xmlns:a16="http://schemas.microsoft.com/office/drawing/2014/main" id="{89859E73-ED83-F725-F068-315881A89328}"/>
                </a:ext>
              </a:extLst>
            </p:cNvPr>
            <p:cNvSpPr/>
            <p:nvPr/>
          </p:nvSpPr>
          <p:spPr>
            <a:xfrm>
              <a:off x="855497" y="2840685"/>
              <a:ext cx="276860" cy="222250"/>
            </a:xfrm>
            <a:custGeom>
              <a:avLst/>
              <a:gdLst/>
              <a:ahLst/>
              <a:cxnLst/>
              <a:rect l="l" t="t" r="r" b="b"/>
              <a:pathLst>
                <a:path w="276859" h="222250">
                  <a:moveTo>
                    <a:pt x="116192" y="161886"/>
                  </a:moveTo>
                  <a:lnTo>
                    <a:pt x="112610" y="157378"/>
                  </a:lnTo>
                  <a:lnTo>
                    <a:pt x="110286" y="155232"/>
                  </a:lnTo>
                  <a:lnTo>
                    <a:pt x="105664" y="151206"/>
                  </a:lnTo>
                  <a:lnTo>
                    <a:pt x="105664" y="155232"/>
                  </a:lnTo>
                  <a:lnTo>
                    <a:pt x="105664" y="184416"/>
                  </a:lnTo>
                  <a:lnTo>
                    <a:pt x="93167" y="185635"/>
                  </a:lnTo>
                  <a:lnTo>
                    <a:pt x="84048" y="185635"/>
                  </a:lnTo>
                  <a:lnTo>
                    <a:pt x="82829" y="185432"/>
                  </a:lnTo>
                  <a:lnTo>
                    <a:pt x="81292" y="185229"/>
                  </a:lnTo>
                  <a:lnTo>
                    <a:pt x="81292" y="155536"/>
                  </a:lnTo>
                  <a:lnTo>
                    <a:pt x="83032" y="155232"/>
                  </a:lnTo>
                  <a:lnTo>
                    <a:pt x="105664" y="155232"/>
                  </a:lnTo>
                  <a:lnTo>
                    <a:pt x="105664" y="151206"/>
                  </a:lnTo>
                  <a:lnTo>
                    <a:pt x="103720" y="149504"/>
                  </a:lnTo>
                  <a:lnTo>
                    <a:pt x="94500" y="149199"/>
                  </a:lnTo>
                  <a:lnTo>
                    <a:pt x="82308" y="149199"/>
                  </a:lnTo>
                  <a:lnTo>
                    <a:pt x="72707" y="150126"/>
                  </a:lnTo>
                  <a:lnTo>
                    <a:pt x="71272" y="151853"/>
                  </a:lnTo>
                  <a:lnTo>
                    <a:pt x="71272" y="221957"/>
                  </a:lnTo>
                  <a:lnTo>
                    <a:pt x="71412" y="221957"/>
                  </a:lnTo>
                  <a:lnTo>
                    <a:pt x="71678" y="222161"/>
                  </a:lnTo>
                  <a:lnTo>
                    <a:pt x="80772" y="222161"/>
                  </a:lnTo>
                  <a:lnTo>
                    <a:pt x="81292" y="221957"/>
                  </a:lnTo>
                  <a:lnTo>
                    <a:pt x="81292" y="191147"/>
                  </a:lnTo>
                  <a:lnTo>
                    <a:pt x="84150" y="191465"/>
                  </a:lnTo>
                  <a:lnTo>
                    <a:pt x="97053" y="191465"/>
                  </a:lnTo>
                  <a:lnTo>
                    <a:pt x="98183" y="191147"/>
                  </a:lnTo>
                  <a:lnTo>
                    <a:pt x="105041" y="189217"/>
                  </a:lnTo>
                  <a:lnTo>
                    <a:pt x="108699" y="185635"/>
                  </a:lnTo>
                  <a:lnTo>
                    <a:pt x="110363" y="183997"/>
                  </a:lnTo>
                  <a:lnTo>
                    <a:pt x="115785" y="178777"/>
                  </a:lnTo>
                  <a:lnTo>
                    <a:pt x="116192" y="172631"/>
                  </a:lnTo>
                  <a:lnTo>
                    <a:pt x="116192" y="161886"/>
                  </a:lnTo>
                  <a:close/>
                </a:path>
                <a:path w="276859" h="222250">
                  <a:moveTo>
                    <a:pt x="222415" y="82372"/>
                  </a:moveTo>
                  <a:lnTo>
                    <a:pt x="221183" y="79489"/>
                  </a:lnTo>
                  <a:lnTo>
                    <a:pt x="215138" y="64249"/>
                  </a:lnTo>
                  <a:lnTo>
                    <a:pt x="211709" y="55600"/>
                  </a:lnTo>
                  <a:lnTo>
                    <a:pt x="211709" y="55181"/>
                  </a:lnTo>
                  <a:lnTo>
                    <a:pt x="211188" y="54673"/>
                  </a:lnTo>
                  <a:lnTo>
                    <a:pt x="210058" y="53543"/>
                  </a:lnTo>
                  <a:lnTo>
                    <a:pt x="209651" y="53543"/>
                  </a:lnTo>
                  <a:lnTo>
                    <a:pt x="209232" y="53124"/>
                  </a:lnTo>
                  <a:lnTo>
                    <a:pt x="208407" y="53124"/>
                  </a:lnTo>
                  <a:lnTo>
                    <a:pt x="208102" y="52819"/>
                  </a:lnTo>
                  <a:lnTo>
                    <a:pt x="205016" y="52819"/>
                  </a:lnTo>
                  <a:lnTo>
                    <a:pt x="204711" y="53124"/>
                  </a:lnTo>
                  <a:lnTo>
                    <a:pt x="196215" y="54673"/>
                  </a:lnTo>
                  <a:lnTo>
                    <a:pt x="188074" y="52819"/>
                  </a:lnTo>
                  <a:lnTo>
                    <a:pt x="183222" y="49415"/>
                  </a:lnTo>
                  <a:lnTo>
                    <a:pt x="181241" y="48031"/>
                  </a:lnTo>
                  <a:lnTo>
                    <a:pt x="176695" y="40767"/>
                  </a:lnTo>
                  <a:lnTo>
                    <a:pt x="175463" y="37884"/>
                  </a:lnTo>
                  <a:lnTo>
                    <a:pt x="172580" y="36652"/>
                  </a:lnTo>
                  <a:lnTo>
                    <a:pt x="169697" y="37884"/>
                  </a:lnTo>
                  <a:lnTo>
                    <a:pt x="69189" y="77431"/>
                  </a:lnTo>
                  <a:lnTo>
                    <a:pt x="66306" y="78663"/>
                  </a:lnTo>
                  <a:lnTo>
                    <a:pt x="65074" y="81546"/>
                  </a:lnTo>
                  <a:lnTo>
                    <a:pt x="66306" y="84429"/>
                  </a:lnTo>
                  <a:lnTo>
                    <a:pt x="66509" y="85255"/>
                  </a:lnTo>
                  <a:lnTo>
                    <a:pt x="66624" y="85661"/>
                  </a:lnTo>
                  <a:lnTo>
                    <a:pt x="66725" y="86080"/>
                  </a:lnTo>
                  <a:lnTo>
                    <a:pt x="68783" y="87312"/>
                  </a:lnTo>
                  <a:lnTo>
                    <a:pt x="72072" y="87312"/>
                  </a:lnTo>
                  <a:lnTo>
                    <a:pt x="72898" y="86906"/>
                  </a:lnTo>
                  <a:lnTo>
                    <a:pt x="168871" y="49415"/>
                  </a:lnTo>
                  <a:lnTo>
                    <a:pt x="175323" y="57188"/>
                  </a:lnTo>
                  <a:lnTo>
                    <a:pt x="183692" y="62395"/>
                  </a:lnTo>
                  <a:lnTo>
                    <a:pt x="193306" y="64833"/>
                  </a:lnTo>
                  <a:lnTo>
                    <a:pt x="203466" y="64249"/>
                  </a:lnTo>
                  <a:lnTo>
                    <a:pt x="212115" y="85661"/>
                  </a:lnTo>
                  <a:lnTo>
                    <a:pt x="214185" y="86906"/>
                  </a:lnTo>
                  <a:lnTo>
                    <a:pt x="217474" y="86906"/>
                  </a:lnTo>
                  <a:lnTo>
                    <a:pt x="218300" y="86487"/>
                  </a:lnTo>
                  <a:lnTo>
                    <a:pt x="221183" y="85255"/>
                  </a:lnTo>
                  <a:lnTo>
                    <a:pt x="222415" y="82372"/>
                  </a:lnTo>
                  <a:close/>
                </a:path>
                <a:path w="276859" h="222250">
                  <a:moveTo>
                    <a:pt x="276339" y="153174"/>
                  </a:moveTo>
                  <a:lnTo>
                    <a:pt x="274726" y="144983"/>
                  </a:lnTo>
                  <a:lnTo>
                    <a:pt x="221589" y="8648"/>
                  </a:lnTo>
                  <a:lnTo>
                    <a:pt x="217474" y="4533"/>
                  </a:lnTo>
                  <a:lnTo>
                    <a:pt x="207175" y="0"/>
                  </a:lnTo>
                  <a:lnTo>
                    <a:pt x="201409" y="0"/>
                  </a:lnTo>
                  <a:lnTo>
                    <a:pt x="1231" y="78663"/>
                  </a:lnTo>
                  <a:lnTo>
                    <a:pt x="0" y="81546"/>
                  </a:lnTo>
                  <a:lnTo>
                    <a:pt x="2463" y="87312"/>
                  </a:lnTo>
                  <a:lnTo>
                    <a:pt x="5346" y="88557"/>
                  </a:lnTo>
                  <a:lnTo>
                    <a:pt x="200177" y="11938"/>
                  </a:lnTo>
                  <a:lnTo>
                    <a:pt x="202641" y="11112"/>
                  </a:lnTo>
                  <a:lnTo>
                    <a:pt x="205524" y="11112"/>
                  </a:lnTo>
                  <a:lnTo>
                    <a:pt x="208407" y="11938"/>
                  </a:lnTo>
                  <a:lnTo>
                    <a:pt x="210883" y="13182"/>
                  </a:lnTo>
                  <a:lnTo>
                    <a:pt x="212940" y="15240"/>
                  </a:lnTo>
                  <a:lnTo>
                    <a:pt x="214172" y="17703"/>
                  </a:lnTo>
                  <a:lnTo>
                    <a:pt x="267728" y="154051"/>
                  </a:lnTo>
                  <a:lnTo>
                    <a:pt x="265252" y="160223"/>
                  </a:lnTo>
                  <a:lnTo>
                    <a:pt x="259486" y="162280"/>
                  </a:lnTo>
                  <a:lnTo>
                    <a:pt x="248361" y="166814"/>
                  </a:lnTo>
                  <a:lnTo>
                    <a:pt x="247129" y="169697"/>
                  </a:lnTo>
                  <a:lnTo>
                    <a:pt x="249186" y="174637"/>
                  </a:lnTo>
                  <a:lnTo>
                    <a:pt x="251244" y="175869"/>
                  </a:lnTo>
                  <a:lnTo>
                    <a:pt x="254546" y="175869"/>
                  </a:lnTo>
                  <a:lnTo>
                    <a:pt x="263194" y="172580"/>
                  </a:lnTo>
                  <a:lnTo>
                    <a:pt x="270154" y="167868"/>
                  </a:lnTo>
                  <a:lnTo>
                    <a:pt x="274675" y="161099"/>
                  </a:lnTo>
                  <a:lnTo>
                    <a:pt x="276339" y="153174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2" name="Freeform 35">
            <a:extLst>
              <a:ext uri="{FF2B5EF4-FFF2-40B4-BE49-F238E27FC236}">
                <a16:creationId xmlns:a16="http://schemas.microsoft.com/office/drawing/2014/main" id="{A8AEBB9A-3A59-852B-B0A3-C6168DB59DCC}"/>
              </a:ext>
            </a:extLst>
          </p:cNvPr>
          <p:cNvSpPr>
            <a:spLocks noEditPoints="1"/>
          </p:cNvSpPr>
          <p:nvPr/>
        </p:nvSpPr>
        <p:spPr bwMode="auto">
          <a:xfrm>
            <a:off x="476521" y="5420392"/>
            <a:ext cx="581606" cy="507104"/>
          </a:xfrm>
          <a:custGeom>
            <a:avLst/>
            <a:gdLst>
              <a:gd name="T0" fmla="*/ 662 w 815"/>
              <a:gd name="T1" fmla="*/ 305 h 704"/>
              <a:gd name="T2" fmla="*/ 154 w 815"/>
              <a:gd name="T3" fmla="*/ 305 h 704"/>
              <a:gd name="T4" fmla="*/ 408 w 815"/>
              <a:gd name="T5" fmla="*/ 559 h 704"/>
              <a:gd name="T6" fmla="*/ 573 w 815"/>
              <a:gd name="T7" fmla="*/ 140 h 704"/>
              <a:gd name="T8" fmla="*/ 243 w 815"/>
              <a:gd name="T9" fmla="*/ 471 h 704"/>
              <a:gd name="T10" fmla="*/ 243 w 815"/>
              <a:gd name="T11" fmla="*/ 140 h 704"/>
              <a:gd name="T12" fmla="*/ 4 w 815"/>
              <a:gd name="T13" fmla="*/ 593 h 704"/>
              <a:gd name="T14" fmla="*/ 120 w 815"/>
              <a:gd name="T15" fmla="*/ 491 h 704"/>
              <a:gd name="T16" fmla="*/ 197 w 815"/>
              <a:gd name="T17" fmla="*/ 501 h 704"/>
              <a:gd name="T18" fmla="*/ 212 w 815"/>
              <a:gd name="T19" fmla="*/ 516 h 704"/>
              <a:gd name="T20" fmla="*/ 157 w 815"/>
              <a:gd name="T21" fmla="*/ 557 h 704"/>
              <a:gd name="T22" fmla="*/ 18 w 815"/>
              <a:gd name="T23" fmla="*/ 607 h 704"/>
              <a:gd name="T24" fmla="*/ 571 w 815"/>
              <a:gd name="T25" fmla="*/ 407 h 704"/>
              <a:gd name="T26" fmla="*/ 571 w 815"/>
              <a:gd name="T27" fmla="*/ 387 h 704"/>
              <a:gd name="T28" fmla="*/ 560 w 815"/>
              <a:gd name="T29" fmla="*/ 224 h 704"/>
              <a:gd name="T30" fmla="*/ 489 w 815"/>
              <a:gd name="T31" fmla="*/ 214 h 704"/>
              <a:gd name="T32" fmla="*/ 479 w 815"/>
              <a:gd name="T33" fmla="*/ 387 h 704"/>
              <a:gd name="T34" fmla="*/ 459 w 815"/>
              <a:gd name="T35" fmla="*/ 295 h 704"/>
              <a:gd name="T36" fmla="*/ 388 w 815"/>
              <a:gd name="T37" fmla="*/ 285 h 704"/>
              <a:gd name="T38" fmla="*/ 377 w 815"/>
              <a:gd name="T39" fmla="*/ 387 h 704"/>
              <a:gd name="T40" fmla="*/ 357 w 815"/>
              <a:gd name="T41" fmla="*/ 346 h 704"/>
              <a:gd name="T42" fmla="*/ 286 w 815"/>
              <a:gd name="T43" fmla="*/ 336 h 704"/>
              <a:gd name="T44" fmla="*/ 276 w 815"/>
              <a:gd name="T45" fmla="*/ 387 h 704"/>
              <a:gd name="T46" fmla="*/ 255 w 815"/>
              <a:gd name="T47" fmla="*/ 214 h 704"/>
              <a:gd name="T48" fmla="*/ 235 w 815"/>
              <a:gd name="T49" fmla="*/ 214 h 704"/>
              <a:gd name="T50" fmla="*/ 245 w 815"/>
              <a:gd name="T51" fmla="*/ 407 h 704"/>
              <a:gd name="T52" fmla="*/ 499 w 815"/>
              <a:gd name="T53" fmla="*/ 234 h 704"/>
              <a:gd name="T54" fmla="*/ 540 w 815"/>
              <a:gd name="T55" fmla="*/ 387 h 704"/>
              <a:gd name="T56" fmla="*/ 499 w 815"/>
              <a:gd name="T57" fmla="*/ 234 h 704"/>
              <a:gd name="T58" fmla="*/ 438 w 815"/>
              <a:gd name="T59" fmla="*/ 305 h 704"/>
              <a:gd name="T60" fmla="*/ 398 w 815"/>
              <a:gd name="T61" fmla="*/ 387 h 704"/>
              <a:gd name="T62" fmla="*/ 296 w 815"/>
              <a:gd name="T63" fmla="*/ 356 h 704"/>
              <a:gd name="T64" fmla="*/ 337 w 815"/>
              <a:gd name="T65" fmla="*/ 387 h 704"/>
              <a:gd name="T66" fmla="*/ 296 w 815"/>
              <a:gd name="T67" fmla="*/ 356 h 704"/>
              <a:gd name="T68" fmla="*/ 659 w 815"/>
              <a:gd name="T69" fmla="*/ 501 h 704"/>
              <a:gd name="T70" fmla="*/ 604 w 815"/>
              <a:gd name="T71" fmla="*/ 557 h 704"/>
              <a:gd name="T72" fmla="*/ 791 w 815"/>
              <a:gd name="T73" fmla="*/ 689 h 704"/>
              <a:gd name="T74" fmla="*/ 777 w 815"/>
              <a:gd name="T75" fmla="*/ 674 h 704"/>
              <a:gd name="T76" fmla="*/ 619 w 815"/>
              <a:gd name="T77" fmla="*/ 542 h 704"/>
              <a:gd name="T78" fmla="*/ 645 w 815"/>
              <a:gd name="T79" fmla="*/ 516 h 704"/>
              <a:gd name="T80" fmla="*/ 777 w 815"/>
              <a:gd name="T81" fmla="*/ 674 h 704"/>
              <a:gd name="T82" fmla="*/ 815 w 815"/>
              <a:gd name="T83" fmla="*/ 61 h 704"/>
              <a:gd name="T84" fmla="*/ 794 w 815"/>
              <a:gd name="T85" fmla="*/ 61 h 704"/>
              <a:gd name="T86" fmla="*/ 710 w 815"/>
              <a:gd name="T87" fmla="*/ 119 h 704"/>
              <a:gd name="T88" fmla="*/ 652 w 815"/>
              <a:gd name="T89" fmla="*/ 76 h 704"/>
              <a:gd name="T90" fmla="*/ 604 w 815"/>
              <a:gd name="T91" fmla="*/ 109 h 704"/>
              <a:gd name="T92" fmla="*/ 645 w 815"/>
              <a:gd name="T93" fmla="*/ 54 h 704"/>
              <a:gd name="T94" fmla="*/ 703 w 815"/>
              <a:gd name="T95" fmla="*/ 98 h 704"/>
              <a:gd name="T96" fmla="*/ 754 w 815"/>
              <a:gd name="T97" fmla="*/ 20 h 704"/>
              <a:gd name="T98" fmla="*/ 754 w 815"/>
              <a:gd name="T99" fmla="*/ 0 h 704"/>
              <a:gd name="T100" fmla="*/ 805 w 815"/>
              <a:gd name="T101" fmla="*/ 0 h 7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15" h="704">
                <a:moveTo>
                  <a:pt x="408" y="559"/>
                </a:moveTo>
                <a:cubicBezTo>
                  <a:pt x="548" y="559"/>
                  <a:pt x="662" y="446"/>
                  <a:pt x="662" y="305"/>
                </a:cubicBezTo>
                <a:cubicBezTo>
                  <a:pt x="662" y="165"/>
                  <a:pt x="548" y="51"/>
                  <a:pt x="408" y="51"/>
                </a:cubicBezTo>
                <a:cubicBezTo>
                  <a:pt x="268" y="51"/>
                  <a:pt x="154" y="165"/>
                  <a:pt x="154" y="305"/>
                </a:cubicBezTo>
                <a:cubicBezTo>
                  <a:pt x="154" y="373"/>
                  <a:pt x="180" y="437"/>
                  <a:pt x="228" y="485"/>
                </a:cubicBezTo>
                <a:cubicBezTo>
                  <a:pt x="276" y="533"/>
                  <a:pt x="340" y="560"/>
                  <a:pt x="408" y="559"/>
                </a:cubicBezTo>
                <a:close/>
                <a:moveTo>
                  <a:pt x="243" y="140"/>
                </a:moveTo>
                <a:cubicBezTo>
                  <a:pt x="334" y="48"/>
                  <a:pt x="482" y="48"/>
                  <a:pt x="573" y="140"/>
                </a:cubicBezTo>
                <a:cubicBezTo>
                  <a:pt x="665" y="231"/>
                  <a:pt x="665" y="379"/>
                  <a:pt x="573" y="471"/>
                </a:cubicBezTo>
                <a:cubicBezTo>
                  <a:pt x="482" y="562"/>
                  <a:pt x="334" y="562"/>
                  <a:pt x="243" y="471"/>
                </a:cubicBezTo>
                <a:cubicBezTo>
                  <a:pt x="199" y="427"/>
                  <a:pt x="174" y="367"/>
                  <a:pt x="174" y="305"/>
                </a:cubicBezTo>
                <a:cubicBezTo>
                  <a:pt x="174" y="243"/>
                  <a:pt x="199" y="184"/>
                  <a:pt x="243" y="140"/>
                </a:cubicBezTo>
                <a:close/>
                <a:moveTo>
                  <a:pt x="4" y="607"/>
                </a:moveTo>
                <a:cubicBezTo>
                  <a:pt x="0" y="603"/>
                  <a:pt x="0" y="597"/>
                  <a:pt x="4" y="593"/>
                </a:cubicBezTo>
                <a:lnTo>
                  <a:pt x="106" y="491"/>
                </a:lnTo>
                <a:cubicBezTo>
                  <a:pt x="110" y="487"/>
                  <a:pt x="116" y="487"/>
                  <a:pt x="120" y="491"/>
                </a:cubicBezTo>
                <a:lnTo>
                  <a:pt x="164" y="535"/>
                </a:lnTo>
                <a:lnTo>
                  <a:pt x="197" y="501"/>
                </a:lnTo>
                <a:cubicBezTo>
                  <a:pt x="201" y="497"/>
                  <a:pt x="208" y="497"/>
                  <a:pt x="212" y="501"/>
                </a:cubicBezTo>
                <a:cubicBezTo>
                  <a:pt x="216" y="505"/>
                  <a:pt x="216" y="512"/>
                  <a:pt x="212" y="516"/>
                </a:cubicBezTo>
                <a:lnTo>
                  <a:pt x="171" y="557"/>
                </a:lnTo>
                <a:cubicBezTo>
                  <a:pt x="167" y="560"/>
                  <a:pt x="161" y="560"/>
                  <a:pt x="157" y="557"/>
                </a:cubicBezTo>
                <a:lnTo>
                  <a:pt x="113" y="513"/>
                </a:lnTo>
                <a:lnTo>
                  <a:pt x="18" y="607"/>
                </a:lnTo>
                <a:cubicBezTo>
                  <a:pt x="15" y="611"/>
                  <a:pt x="8" y="611"/>
                  <a:pt x="4" y="607"/>
                </a:cubicBezTo>
                <a:close/>
                <a:moveTo>
                  <a:pt x="571" y="407"/>
                </a:moveTo>
                <a:cubicBezTo>
                  <a:pt x="576" y="407"/>
                  <a:pt x="581" y="402"/>
                  <a:pt x="581" y="397"/>
                </a:cubicBezTo>
                <a:cubicBezTo>
                  <a:pt x="581" y="391"/>
                  <a:pt x="576" y="387"/>
                  <a:pt x="571" y="387"/>
                </a:cubicBezTo>
                <a:lnTo>
                  <a:pt x="560" y="387"/>
                </a:lnTo>
                <a:lnTo>
                  <a:pt x="560" y="224"/>
                </a:lnTo>
                <a:cubicBezTo>
                  <a:pt x="560" y="218"/>
                  <a:pt x="556" y="214"/>
                  <a:pt x="550" y="214"/>
                </a:cubicBezTo>
                <a:lnTo>
                  <a:pt x="489" y="214"/>
                </a:lnTo>
                <a:cubicBezTo>
                  <a:pt x="484" y="214"/>
                  <a:pt x="479" y="218"/>
                  <a:pt x="479" y="224"/>
                </a:cubicBezTo>
                <a:lnTo>
                  <a:pt x="479" y="387"/>
                </a:lnTo>
                <a:lnTo>
                  <a:pt x="459" y="387"/>
                </a:lnTo>
                <a:lnTo>
                  <a:pt x="459" y="295"/>
                </a:lnTo>
                <a:cubicBezTo>
                  <a:pt x="459" y="289"/>
                  <a:pt x="454" y="285"/>
                  <a:pt x="449" y="285"/>
                </a:cubicBezTo>
                <a:lnTo>
                  <a:pt x="388" y="285"/>
                </a:lnTo>
                <a:cubicBezTo>
                  <a:pt x="382" y="285"/>
                  <a:pt x="377" y="289"/>
                  <a:pt x="377" y="295"/>
                </a:cubicBezTo>
                <a:lnTo>
                  <a:pt x="377" y="387"/>
                </a:lnTo>
                <a:lnTo>
                  <a:pt x="357" y="387"/>
                </a:lnTo>
                <a:lnTo>
                  <a:pt x="357" y="346"/>
                </a:lnTo>
                <a:cubicBezTo>
                  <a:pt x="357" y="340"/>
                  <a:pt x="353" y="336"/>
                  <a:pt x="347" y="336"/>
                </a:cubicBezTo>
                <a:lnTo>
                  <a:pt x="286" y="336"/>
                </a:lnTo>
                <a:cubicBezTo>
                  <a:pt x="280" y="336"/>
                  <a:pt x="276" y="340"/>
                  <a:pt x="276" y="346"/>
                </a:cubicBezTo>
                <a:lnTo>
                  <a:pt x="276" y="387"/>
                </a:lnTo>
                <a:lnTo>
                  <a:pt x="255" y="387"/>
                </a:lnTo>
                <a:lnTo>
                  <a:pt x="255" y="214"/>
                </a:lnTo>
                <a:cubicBezTo>
                  <a:pt x="255" y="208"/>
                  <a:pt x="251" y="204"/>
                  <a:pt x="245" y="204"/>
                </a:cubicBezTo>
                <a:cubicBezTo>
                  <a:pt x="240" y="204"/>
                  <a:pt x="235" y="208"/>
                  <a:pt x="235" y="214"/>
                </a:cubicBezTo>
                <a:lnTo>
                  <a:pt x="235" y="397"/>
                </a:lnTo>
                <a:cubicBezTo>
                  <a:pt x="235" y="402"/>
                  <a:pt x="240" y="407"/>
                  <a:pt x="245" y="407"/>
                </a:cubicBezTo>
                <a:lnTo>
                  <a:pt x="571" y="407"/>
                </a:lnTo>
                <a:close/>
                <a:moveTo>
                  <a:pt x="499" y="234"/>
                </a:moveTo>
                <a:lnTo>
                  <a:pt x="540" y="234"/>
                </a:lnTo>
                <a:lnTo>
                  <a:pt x="540" y="387"/>
                </a:lnTo>
                <a:lnTo>
                  <a:pt x="499" y="387"/>
                </a:lnTo>
                <a:lnTo>
                  <a:pt x="499" y="234"/>
                </a:lnTo>
                <a:close/>
                <a:moveTo>
                  <a:pt x="398" y="305"/>
                </a:moveTo>
                <a:lnTo>
                  <a:pt x="438" y="305"/>
                </a:lnTo>
                <a:lnTo>
                  <a:pt x="438" y="387"/>
                </a:lnTo>
                <a:lnTo>
                  <a:pt x="398" y="387"/>
                </a:lnTo>
                <a:lnTo>
                  <a:pt x="398" y="305"/>
                </a:lnTo>
                <a:close/>
                <a:moveTo>
                  <a:pt x="296" y="356"/>
                </a:moveTo>
                <a:lnTo>
                  <a:pt x="337" y="356"/>
                </a:lnTo>
                <a:lnTo>
                  <a:pt x="337" y="387"/>
                </a:lnTo>
                <a:lnTo>
                  <a:pt x="296" y="387"/>
                </a:lnTo>
                <a:lnTo>
                  <a:pt x="296" y="356"/>
                </a:lnTo>
                <a:close/>
                <a:moveTo>
                  <a:pt x="791" y="634"/>
                </a:moveTo>
                <a:lnTo>
                  <a:pt x="659" y="501"/>
                </a:lnTo>
                <a:cubicBezTo>
                  <a:pt x="644" y="486"/>
                  <a:pt x="619" y="486"/>
                  <a:pt x="604" y="501"/>
                </a:cubicBezTo>
                <a:cubicBezTo>
                  <a:pt x="589" y="517"/>
                  <a:pt x="589" y="541"/>
                  <a:pt x="604" y="557"/>
                </a:cubicBezTo>
                <a:lnTo>
                  <a:pt x="736" y="689"/>
                </a:lnTo>
                <a:cubicBezTo>
                  <a:pt x="752" y="704"/>
                  <a:pt x="776" y="704"/>
                  <a:pt x="791" y="689"/>
                </a:cubicBezTo>
                <a:cubicBezTo>
                  <a:pt x="807" y="673"/>
                  <a:pt x="807" y="649"/>
                  <a:pt x="791" y="634"/>
                </a:cubicBezTo>
                <a:close/>
                <a:moveTo>
                  <a:pt x="777" y="674"/>
                </a:moveTo>
                <a:cubicBezTo>
                  <a:pt x="770" y="682"/>
                  <a:pt x="758" y="682"/>
                  <a:pt x="751" y="674"/>
                </a:cubicBezTo>
                <a:lnTo>
                  <a:pt x="619" y="542"/>
                </a:lnTo>
                <a:cubicBezTo>
                  <a:pt x="611" y="535"/>
                  <a:pt x="611" y="523"/>
                  <a:pt x="619" y="516"/>
                </a:cubicBezTo>
                <a:cubicBezTo>
                  <a:pt x="626" y="509"/>
                  <a:pt x="638" y="509"/>
                  <a:pt x="645" y="516"/>
                </a:cubicBezTo>
                <a:lnTo>
                  <a:pt x="777" y="648"/>
                </a:lnTo>
                <a:cubicBezTo>
                  <a:pt x="784" y="655"/>
                  <a:pt x="784" y="667"/>
                  <a:pt x="777" y="674"/>
                </a:cubicBezTo>
                <a:close/>
                <a:moveTo>
                  <a:pt x="815" y="10"/>
                </a:moveTo>
                <a:lnTo>
                  <a:pt x="815" y="61"/>
                </a:lnTo>
                <a:cubicBezTo>
                  <a:pt x="815" y="67"/>
                  <a:pt x="810" y="71"/>
                  <a:pt x="805" y="71"/>
                </a:cubicBezTo>
                <a:cubicBezTo>
                  <a:pt x="799" y="71"/>
                  <a:pt x="794" y="67"/>
                  <a:pt x="794" y="61"/>
                </a:cubicBezTo>
                <a:lnTo>
                  <a:pt x="794" y="35"/>
                </a:lnTo>
                <a:lnTo>
                  <a:pt x="710" y="119"/>
                </a:lnTo>
                <a:cubicBezTo>
                  <a:pt x="706" y="123"/>
                  <a:pt x="700" y="123"/>
                  <a:pt x="696" y="119"/>
                </a:cubicBezTo>
                <a:lnTo>
                  <a:pt x="652" y="76"/>
                </a:lnTo>
                <a:lnTo>
                  <a:pt x="619" y="109"/>
                </a:lnTo>
                <a:cubicBezTo>
                  <a:pt x="615" y="113"/>
                  <a:pt x="608" y="113"/>
                  <a:pt x="604" y="109"/>
                </a:cubicBezTo>
                <a:cubicBezTo>
                  <a:pt x="600" y="105"/>
                  <a:pt x="600" y="99"/>
                  <a:pt x="604" y="95"/>
                </a:cubicBezTo>
                <a:lnTo>
                  <a:pt x="645" y="54"/>
                </a:lnTo>
                <a:cubicBezTo>
                  <a:pt x="649" y="50"/>
                  <a:pt x="655" y="50"/>
                  <a:pt x="659" y="54"/>
                </a:cubicBezTo>
                <a:lnTo>
                  <a:pt x="703" y="98"/>
                </a:lnTo>
                <a:lnTo>
                  <a:pt x="780" y="20"/>
                </a:lnTo>
                <a:lnTo>
                  <a:pt x="754" y="20"/>
                </a:lnTo>
                <a:cubicBezTo>
                  <a:pt x="748" y="20"/>
                  <a:pt x="744" y="16"/>
                  <a:pt x="744" y="10"/>
                </a:cubicBezTo>
                <a:cubicBezTo>
                  <a:pt x="744" y="5"/>
                  <a:pt x="748" y="0"/>
                  <a:pt x="754" y="0"/>
                </a:cubicBezTo>
                <a:lnTo>
                  <a:pt x="805" y="0"/>
                </a:lnTo>
                <a:cubicBezTo>
                  <a:pt x="805" y="0"/>
                  <a:pt x="805" y="0"/>
                  <a:pt x="805" y="0"/>
                </a:cubicBezTo>
                <a:cubicBezTo>
                  <a:pt x="811" y="1"/>
                  <a:pt x="815" y="5"/>
                  <a:pt x="815" y="1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D09AE0B-F3D6-8214-0175-5090F36276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8020066"/>
              </p:ext>
            </p:extLst>
          </p:nvPr>
        </p:nvGraphicFramePr>
        <p:xfrm>
          <a:off x="6788607" y="3915871"/>
          <a:ext cx="2029727" cy="10461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29727">
                  <a:extLst>
                    <a:ext uri="{9D8B030D-6E8A-4147-A177-3AD203B41FA5}">
                      <a16:colId xmlns:a16="http://schemas.microsoft.com/office/drawing/2014/main" val="1385452105"/>
                    </a:ext>
                  </a:extLst>
                </a:gridCol>
              </a:tblGrid>
              <a:tr h="10461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21F2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rim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21F2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viden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21F2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188 million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21F2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3" panose="05040102010807070707" pitchFamily="18" charset="2"/>
                        </a:rPr>
                        <a:t>5% </a:t>
                      </a:r>
                      <a:r>
                        <a:rPr lang="en-BW" sz="1200">
                          <a:solidFill>
                            <a:srgbClr val="C00000"/>
                          </a:solidFill>
                          <a:sym typeface="Wingdings 3" panose="05040102010807070707" pitchFamily="18" charset="2"/>
                        </a:rPr>
                        <a:t></a:t>
                      </a: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24807836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0FEE053-FAF2-617A-84ED-57A5477A80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649716"/>
              </p:ext>
            </p:extLst>
          </p:nvPr>
        </p:nvGraphicFramePr>
        <p:xfrm>
          <a:off x="8487045" y="3915871"/>
          <a:ext cx="2029727" cy="10461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29727">
                  <a:extLst>
                    <a:ext uri="{9D8B030D-6E8A-4147-A177-3AD203B41FA5}">
                      <a16:colId xmlns:a16="http://schemas.microsoft.com/office/drawing/2014/main" val="1385452105"/>
                    </a:ext>
                  </a:extLst>
                </a:gridCol>
              </a:tblGrid>
              <a:tr h="10461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21F2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pecial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21F2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viden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21F2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17 million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21F2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 3" panose="05040102010807070707" pitchFamily="18" charset="2"/>
                        </a:rPr>
                        <a:t>14% </a:t>
                      </a:r>
                      <a:r>
                        <a:rPr lang="en-BW" sz="1200">
                          <a:solidFill>
                            <a:srgbClr val="C00000"/>
                          </a:solidFill>
                          <a:sym typeface="Wingdings 3" panose="05040102010807070707" pitchFamily="18" charset="2"/>
                        </a:rPr>
                        <a:t></a:t>
                      </a:r>
                      <a:endParaRPr kumimoji="0" lang="en-GB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6927884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752C1C0-DCEF-393B-D927-DF2E8B3DF3ED}"/>
              </a:ext>
            </a:extLst>
          </p:cNvPr>
          <p:cNvSpPr txBox="1"/>
          <p:nvPr/>
        </p:nvSpPr>
        <p:spPr>
          <a:xfrm>
            <a:off x="5279188" y="5135219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 anchor="ctr">
            <a:noAutofit/>
          </a:bodyPr>
          <a:lstStyle/>
          <a:p>
            <a:pPr algn="ctr">
              <a:defRPr/>
            </a:pPr>
            <a:r>
              <a:rPr lang="en-GB" sz="1200">
                <a:solidFill>
                  <a:srgbClr val="221F20"/>
                </a:solidFill>
                <a:latin typeface="Arial"/>
              </a:rPr>
              <a:t>Excess </a:t>
            </a:r>
          </a:p>
          <a:p>
            <a:pPr algn="ctr">
              <a:defRPr/>
            </a:pPr>
            <a:r>
              <a:rPr lang="en-GB" sz="1200">
                <a:solidFill>
                  <a:srgbClr val="221F20"/>
                </a:solidFill>
                <a:latin typeface="Arial"/>
              </a:rPr>
              <a:t>Capital</a:t>
            </a:r>
          </a:p>
          <a:p>
            <a:pPr algn="ctr">
              <a:defRPr/>
            </a:pPr>
            <a:r>
              <a:rPr lang="en-GB" sz="1200">
                <a:solidFill>
                  <a:srgbClr val="221F20"/>
                </a:solidFill>
                <a:latin typeface="Arial"/>
              </a:rPr>
              <a:t> </a:t>
            </a:r>
            <a:r>
              <a:rPr lang="en-GB" sz="1600" b="1">
                <a:solidFill>
                  <a:srgbClr val="221F20"/>
                </a:solidFill>
                <a:latin typeface="Arial"/>
              </a:rPr>
              <a:t>P1.9 billion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FA5A62-B626-49F1-FAFB-D5ED0A138D74}"/>
              </a:ext>
            </a:extLst>
          </p:cNvPr>
          <p:cNvSpPr txBox="1"/>
          <p:nvPr/>
        </p:nvSpPr>
        <p:spPr>
          <a:xfrm>
            <a:off x="6961338" y="5135218"/>
            <a:ext cx="1465251" cy="1075330"/>
          </a:xfrm>
          <a:prstGeom prst="rect">
            <a:avLst/>
          </a:prstGeom>
          <a:noFill/>
        </p:spPr>
        <p:txBody>
          <a:bodyPr wrap="square" lIns="0" tIns="108000" rIns="0" bIns="0" anchor="ctr">
            <a:noAutofit/>
          </a:bodyPr>
          <a:lstStyle/>
          <a:p>
            <a:pPr algn="ctr">
              <a:defRPr/>
            </a:pPr>
            <a:r>
              <a:rPr lang="en-GB" sz="1200">
                <a:cs typeface="Arial"/>
              </a:rPr>
              <a:t>Claims </a:t>
            </a:r>
          </a:p>
          <a:p>
            <a:pPr algn="ctr">
              <a:defRPr/>
            </a:pPr>
            <a:r>
              <a:rPr lang="en-GB" sz="1200">
                <a:cs typeface="Arial"/>
              </a:rPr>
              <a:t>Paid </a:t>
            </a:r>
            <a:endParaRPr lang="en-US"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1.0 billion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221F2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22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%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 3" panose="05040102010807070707" pitchFamily="18" charset="2"/>
              </a:rPr>
              <a:t></a:t>
            </a:r>
            <a:endParaRPr kumimoji="0" lang="en-BW" sz="1200" b="0" i="0" u="none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01065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EFE3F3F-A503-6D30-ABF3-00E6D8DC43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en-GB"/>
              <a:t>Retail</a:t>
            </a:r>
          </a:p>
          <a:p>
            <a:pPr lvl="1"/>
            <a:r>
              <a:rPr lang="en-GB"/>
              <a:t>Retail performance below expectations (entry and middle market)</a:t>
            </a:r>
          </a:p>
          <a:p>
            <a:pPr lvl="1"/>
            <a:r>
              <a:rPr lang="en-GB"/>
              <a:t>Affluent channel ahead of prior year and 2024 expectations</a:t>
            </a:r>
          </a:p>
          <a:p>
            <a:pPr lvl="1"/>
            <a:r>
              <a:rPr lang="en-US"/>
              <a:t>Customer centricity remains a focus with strategic actions to </a:t>
            </a:r>
            <a:r>
              <a:rPr lang="en-US" err="1"/>
              <a:t>personalise</a:t>
            </a:r>
            <a:r>
              <a:rPr lang="en-US"/>
              <a:t> </a:t>
            </a:r>
            <a:br>
              <a:rPr lang="en-US"/>
            </a:br>
            <a:r>
              <a:rPr lang="en-US"/>
              <a:t>interventions and customer support (segmentation, technology)</a:t>
            </a:r>
            <a:endParaRPr lang="en-GB"/>
          </a:p>
          <a:p>
            <a:pPr lvl="1"/>
            <a:endParaRPr lang="en-GB"/>
          </a:p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972499-85E3-F4A5-5F4B-793555099A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Leveraging our foundation AMID HEADWIND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EAAD457-0C30-8407-04CA-B1D75AA8ED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Delivery on our new strategy (2024–2028)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B0BAE05-6B21-3F2E-2C8B-28CBA03692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GB"/>
              <a:t>Group &amp; Alternative distribution</a:t>
            </a:r>
          </a:p>
          <a:p>
            <a:pPr lvl="1"/>
            <a:r>
              <a:rPr lang="en-GB"/>
              <a:t>Group Business income ahead of target</a:t>
            </a:r>
          </a:p>
          <a:p>
            <a:pPr lvl="1"/>
            <a:r>
              <a:rPr lang="en-GB" noProof="0"/>
              <a:t>Collaborative Group Business Development activities continue to drive significant business inflows</a:t>
            </a:r>
            <a:endParaRPr lang="en-GB"/>
          </a:p>
          <a:p>
            <a:pPr lvl="1"/>
            <a:r>
              <a:rPr lang="en-US" noProof="0"/>
              <a:t>Client engagement and education through the Employee Benefit Convention, planned Annual Broker Connect and as required</a:t>
            </a:r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6F6F63E6-CBC9-F859-8D4A-264FD6AED6E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0"/>
            <a:r>
              <a:rPr lang="en-GB"/>
              <a:t>Asset management</a:t>
            </a:r>
          </a:p>
          <a:p>
            <a:pPr lvl="1"/>
            <a:r>
              <a:rPr lang="en-US"/>
              <a:t>Positive AUM and operating profit in the asset management business</a:t>
            </a:r>
            <a:endParaRPr lang="en-GB"/>
          </a:p>
          <a:p>
            <a:pPr lvl="1"/>
            <a:r>
              <a:rPr lang="en-US"/>
              <a:t>Strong positive net inflows in BIFM and BIFM UT</a:t>
            </a:r>
            <a:endParaRPr lang="en-GB"/>
          </a:p>
          <a:p>
            <a:pPr lvl="1"/>
            <a:r>
              <a:rPr lang="en-GB"/>
              <a:t>Continued implementation of value enhancing propositions</a:t>
            </a:r>
          </a:p>
          <a:p>
            <a:pPr lvl="1"/>
            <a:r>
              <a:rPr lang="en-US"/>
              <a:t>Client engagement and education through seminars, webinars, and bi-annual stakeholder sessions</a:t>
            </a:r>
            <a:endParaRPr lang="en-GB"/>
          </a:p>
          <a:p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9D9D278-8365-751C-F557-31EF1599EDBE}"/>
              </a:ext>
            </a:extLst>
          </p:cNvPr>
          <p:cNvGrpSpPr/>
          <p:nvPr/>
        </p:nvGrpSpPr>
        <p:grpSpPr>
          <a:xfrm>
            <a:off x="5556483" y="1880763"/>
            <a:ext cx="1077449" cy="1077449"/>
            <a:chOff x="5361019" y="3932238"/>
            <a:chExt cx="1077449" cy="1077449"/>
          </a:xfrm>
        </p:grpSpPr>
        <p:sp>
          <p:nvSpPr>
            <p:cNvPr id="3" name="object 25">
              <a:extLst>
                <a:ext uri="{FF2B5EF4-FFF2-40B4-BE49-F238E27FC236}">
                  <a16:creationId xmlns:a16="http://schemas.microsoft.com/office/drawing/2014/main" id="{3E2B2204-CA5C-D1CC-8298-B94D7CFD53C9}"/>
                </a:ext>
              </a:extLst>
            </p:cNvPr>
            <p:cNvSpPr/>
            <p:nvPr/>
          </p:nvSpPr>
          <p:spPr>
            <a:xfrm>
              <a:off x="5361019" y="3932238"/>
              <a:ext cx="1077449" cy="1077449"/>
            </a:xfrm>
            <a:custGeom>
              <a:avLst/>
              <a:gdLst/>
              <a:ahLst/>
              <a:cxnLst/>
              <a:rect l="l" t="t" r="r" b="b"/>
              <a:pathLst>
                <a:path w="933450" h="933450">
                  <a:moveTo>
                    <a:pt x="466559" y="0"/>
                  </a:moveTo>
                  <a:lnTo>
                    <a:pt x="418857" y="2408"/>
                  </a:lnTo>
                  <a:lnTo>
                    <a:pt x="372532" y="9478"/>
                  </a:lnTo>
                  <a:lnTo>
                    <a:pt x="327820" y="20975"/>
                  </a:lnTo>
                  <a:lnTo>
                    <a:pt x="284955" y="36665"/>
                  </a:lnTo>
                  <a:lnTo>
                    <a:pt x="244171" y="56311"/>
                  </a:lnTo>
                  <a:lnTo>
                    <a:pt x="205703" y="79682"/>
                  </a:lnTo>
                  <a:lnTo>
                    <a:pt x="169785" y="106540"/>
                  </a:lnTo>
                  <a:lnTo>
                    <a:pt x="136653" y="136653"/>
                  </a:lnTo>
                  <a:lnTo>
                    <a:pt x="106540" y="169785"/>
                  </a:lnTo>
                  <a:lnTo>
                    <a:pt x="79682" y="205703"/>
                  </a:lnTo>
                  <a:lnTo>
                    <a:pt x="56311" y="244171"/>
                  </a:lnTo>
                  <a:lnTo>
                    <a:pt x="36665" y="284955"/>
                  </a:lnTo>
                  <a:lnTo>
                    <a:pt x="20975" y="327820"/>
                  </a:lnTo>
                  <a:lnTo>
                    <a:pt x="9478" y="372532"/>
                  </a:lnTo>
                  <a:lnTo>
                    <a:pt x="2408" y="418857"/>
                  </a:lnTo>
                  <a:lnTo>
                    <a:pt x="0" y="466559"/>
                  </a:lnTo>
                  <a:lnTo>
                    <a:pt x="2408" y="514262"/>
                  </a:lnTo>
                  <a:lnTo>
                    <a:pt x="9478" y="560586"/>
                  </a:lnTo>
                  <a:lnTo>
                    <a:pt x="20975" y="605299"/>
                  </a:lnTo>
                  <a:lnTo>
                    <a:pt x="36665" y="648164"/>
                  </a:lnTo>
                  <a:lnTo>
                    <a:pt x="56311" y="688948"/>
                  </a:lnTo>
                  <a:lnTo>
                    <a:pt x="79682" y="727416"/>
                  </a:lnTo>
                  <a:lnTo>
                    <a:pt x="106540" y="763333"/>
                  </a:lnTo>
                  <a:lnTo>
                    <a:pt x="136653" y="796466"/>
                  </a:lnTo>
                  <a:lnTo>
                    <a:pt x="169785" y="826579"/>
                  </a:lnTo>
                  <a:lnTo>
                    <a:pt x="205703" y="853437"/>
                  </a:lnTo>
                  <a:lnTo>
                    <a:pt x="244171" y="876807"/>
                  </a:lnTo>
                  <a:lnTo>
                    <a:pt x="284955" y="896454"/>
                  </a:lnTo>
                  <a:lnTo>
                    <a:pt x="327820" y="912143"/>
                  </a:lnTo>
                  <a:lnTo>
                    <a:pt x="372532" y="923640"/>
                  </a:lnTo>
                  <a:lnTo>
                    <a:pt x="418857" y="930710"/>
                  </a:lnTo>
                  <a:lnTo>
                    <a:pt x="466559" y="933119"/>
                  </a:lnTo>
                  <a:lnTo>
                    <a:pt x="514262" y="930710"/>
                  </a:lnTo>
                  <a:lnTo>
                    <a:pt x="560586" y="923640"/>
                  </a:lnTo>
                  <a:lnTo>
                    <a:pt x="605299" y="912143"/>
                  </a:lnTo>
                  <a:lnTo>
                    <a:pt x="648164" y="896454"/>
                  </a:lnTo>
                  <a:lnTo>
                    <a:pt x="688948" y="876807"/>
                  </a:lnTo>
                  <a:lnTo>
                    <a:pt x="727416" y="853437"/>
                  </a:lnTo>
                  <a:lnTo>
                    <a:pt x="763333" y="826579"/>
                  </a:lnTo>
                  <a:lnTo>
                    <a:pt x="796466" y="796466"/>
                  </a:lnTo>
                  <a:lnTo>
                    <a:pt x="826579" y="763333"/>
                  </a:lnTo>
                  <a:lnTo>
                    <a:pt x="853437" y="727416"/>
                  </a:lnTo>
                  <a:lnTo>
                    <a:pt x="876807" y="688948"/>
                  </a:lnTo>
                  <a:lnTo>
                    <a:pt x="896454" y="648164"/>
                  </a:lnTo>
                  <a:lnTo>
                    <a:pt x="912143" y="605299"/>
                  </a:lnTo>
                  <a:lnTo>
                    <a:pt x="923640" y="560586"/>
                  </a:lnTo>
                  <a:lnTo>
                    <a:pt x="930710" y="514262"/>
                  </a:lnTo>
                  <a:lnTo>
                    <a:pt x="933119" y="466559"/>
                  </a:lnTo>
                  <a:lnTo>
                    <a:pt x="930710" y="418857"/>
                  </a:lnTo>
                  <a:lnTo>
                    <a:pt x="923640" y="372532"/>
                  </a:lnTo>
                  <a:lnTo>
                    <a:pt x="912143" y="327820"/>
                  </a:lnTo>
                  <a:lnTo>
                    <a:pt x="896454" y="284955"/>
                  </a:lnTo>
                  <a:lnTo>
                    <a:pt x="876807" y="244171"/>
                  </a:lnTo>
                  <a:lnTo>
                    <a:pt x="853437" y="205703"/>
                  </a:lnTo>
                  <a:lnTo>
                    <a:pt x="826579" y="169785"/>
                  </a:lnTo>
                  <a:lnTo>
                    <a:pt x="796466" y="136653"/>
                  </a:lnTo>
                  <a:lnTo>
                    <a:pt x="763333" y="106540"/>
                  </a:lnTo>
                  <a:lnTo>
                    <a:pt x="727416" y="79682"/>
                  </a:lnTo>
                  <a:lnTo>
                    <a:pt x="688948" y="56311"/>
                  </a:lnTo>
                  <a:lnTo>
                    <a:pt x="648164" y="36665"/>
                  </a:lnTo>
                  <a:lnTo>
                    <a:pt x="605299" y="20975"/>
                  </a:lnTo>
                  <a:lnTo>
                    <a:pt x="560586" y="9478"/>
                  </a:lnTo>
                  <a:lnTo>
                    <a:pt x="514262" y="2408"/>
                  </a:lnTo>
                  <a:lnTo>
                    <a:pt x="466559" y="0"/>
                  </a:lnTo>
                  <a:close/>
                </a:path>
              </a:pathLst>
            </a:custGeom>
            <a:solidFill>
              <a:srgbClr val="18303A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93A61085-46B0-354A-F458-5230D4F25B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2432" y="4226649"/>
              <a:ext cx="494622" cy="488626"/>
            </a:xfrm>
            <a:custGeom>
              <a:avLst/>
              <a:gdLst>
                <a:gd name="T0" fmla="*/ 540 w 704"/>
                <a:gd name="T1" fmla="*/ 2 h 702"/>
                <a:gd name="T2" fmla="*/ 329 w 704"/>
                <a:gd name="T3" fmla="*/ 35 h 702"/>
                <a:gd name="T4" fmla="*/ 54 w 704"/>
                <a:gd name="T5" fmla="*/ 63 h 702"/>
                <a:gd name="T6" fmla="*/ 14 w 704"/>
                <a:gd name="T7" fmla="*/ 222 h 702"/>
                <a:gd name="T8" fmla="*/ 2 w 704"/>
                <a:gd name="T9" fmla="*/ 440 h 702"/>
                <a:gd name="T10" fmla="*/ 121 w 704"/>
                <a:gd name="T11" fmla="*/ 674 h 702"/>
                <a:gd name="T12" fmla="*/ 369 w 704"/>
                <a:gd name="T13" fmla="*/ 667 h 702"/>
                <a:gd name="T14" fmla="*/ 655 w 704"/>
                <a:gd name="T15" fmla="*/ 665 h 702"/>
                <a:gd name="T16" fmla="*/ 683 w 704"/>
                <a:gd name="T17" fmla="*/ 510 h 702"/>
                <a:gd name="T18" fmla="*/ 697 w 704"/>
                <a:gd name="T19" fmla="*/ 282 h 702"/>
                <a:gd name="T20" fmla="*/ 30 w 704"/>
                <a:gd name="T21" fmla="*/ 148 h 702"/>
                <a:gd name="T22" fmla="*/ 66 w 704"/>
                <a:gd name="T23" fmla="*/ 119 h 702"/>
                <a:gd name="T24" fmla="*/ 154 w 704"/>
                <a:gd name="T25" fmla="*/ 72 h 702"/>
                <a:gd name="T26" fmla="*/ 91 w 704"/>
                <a:gd name="T27" fmla="*/ 25 h 702"/>
                <a:gd name="T28" fmla="*/ 445 w 704"/>
                <a:gd name="T29" fmla="*/ 60 h 702"/>
                <a:gd name="T30" fmla="*/ 327 w 704"/>
                <a:gd name="T31" fmla="*/ 189 h 702"/>
                <a:gd name="T32" fmla="*/ 167 w 704"/>
                <a:gd name="T33" fmla="*/ 313 h 702"/>
                <a:gd name="T34" fmla="*/ 56 w 704"/>
                <a:gd name="T35" fmla="*/ 235 h 702"/>
                <a:gd name="T36" fmla="*/ 130 w 704"/>
                <a:gd name="T37" fmla="*/ 189 h 702"/>
                <a:gd name="T38" fmla="*/ 386 w 704"/>
                <a:gd name="T39" fmla="*/ 489 h 702"/>
                <a:gd name="T40" fmla="*/ 212 w 704"/>
                <a:gd name="T41" fmla="*/ 321 h 702"/>
                <a:gd name="T42" fmla="*/ 492 w 704"/>
                <a:gd name="T43" fmla="*/ 327 h 702"/>
                <a:gd name="T44" fmla="*/ 200 w 704"/>
                <a:gd name="T45" fmla="*/ 649 h 702"/>
                <a:gd name="T46" fmla="*/ 177 w 704"/>
                <a:gd name="T47" fmla="*/ 650 h 702"/>
                <a:gd name="T48" fmla="*/ 142 w 704"/>
                <a:gd name="T49" fmla="*/ 638 h 702"/>
                <a:gd name="T50" fmla="*/ 119 w 704"/>
                <a:gd name="T51" fmla="*/ 638 h 702"/>
                <a:gd name="T52" fmla="*/ 84 w 704"/>
                <a:gd name="T53" fmla="*/ 615 h 702"/>
                <a:gd name="T54" fmla="*/ 60 w 704"/>
                <a:gd name="T55" fmla="*/ 615 h 702"/>
                <a:gd name="T56" fmla="*/ 25 w 704"/>
                <a:gd name="T57" fmla="*/ 440 h 702"/>
                <a:gd name="T58" fmla="*/ 164 w 704"/>
                <a:gd name="T59" fmla="*/ 259 h 702"/>
                <a:gd name="T60" fmla="*/ 199 w 704"/>
                <a:gd name="T61" fmla="*/ 402 h 702"/>
                <a:gd name="T62" fmla="*/ 303 w 704"/>
                <a:gd name="T63" fmla="*/ 541 h 702"/>
                <a:gd name="T64" fmla="*/ 235 w 704"/>
                <a:gd name="T65" fmla="*/ 648 h 702"/>
                <a:gd name="T66" fmla="*/ 585 w 704"/>
                <a:gd name="T67" fmla="*/ 562 h 702"/>
                <a:gd name="T68" fmla="*/ 655 w 704"/>
                <a:gd name="T69" fmla="*/ 605 h 702"/>
                <a:gd name="T70" fmla="*/ 615 w 704"/>
                <a:gd name="T71" fmla="*/ 644 h 702"/>
                <a:gd name="T72" fmla="*/ 434 w 704"/>
                <a:gd name="T73" fmla="*/ 677 h 702"/>
                <a:gd name="T74" fmla="*/ 279 w 704"/>
                <a:gd name="T75" fmla="*/ 557 h 702"/>
                <a:gd name="T76" fmla="*/ 512 w 704"/>
                <a:gd name="T77" fmla="*/ 396 h 702"/>
                <a:gd name="T78" fmla="*/ 506 w 704"/>
                <a:gd name="T79" fmla="*/ 450 h 702"/>
                <a:gd name="T80" fmla="*/ 663 w 704"/>
                <a:gd name="T81" fmla="*/ 498 h 702"/>
                <a:gd name="T82" fmla="*/ 660 w 704"/>
                <a:gd name="T83" fmla="*/ 527 h 702"/>
                <a:gd name="T84" fmla="*/ 644 w 704"/>
                <a:gd name="T85" fmla="*/ 335 h 702"/>
                <a:gd name="T86" fmla="*/ 515 w 704"/>
                <a:gd name="T87" fmla="*/ 366 h 702"/>
                <a:gd name="T88" fmla="*/ 391 w 704"/>
                <a:gd name="T89" fmla="*/ 187 h 702"/>
                <a:gd name="T90" fmla="*/ 462 w 704"/>
                <a:gd name="T91" fmla="*/ 199 h 702"/>
                <a:gd name="T92" fmla="*/ 504 w 704"/>
                <a:gd name="T93" fmla="*/ 55 h 702"/>
                <a:gd name="T94" fmla="*/ 543 w 704"/>
                <a:gd name="T95" fmla="*/ 26 h 702"/>
                <a:gd name="T96" fmla="*/ 585 w 704"/>
                <a:gd name="T97" fmla="*/ 119 h 702"/>
                <a:gd name="T98" fmla="*/ 620 w 704"/>
                <a:gd name="T99" fmla="*/ 142 h 702"/>
                <a:gd name="T100" fmla="*/ 663 w 704"/>
                <a:gd name="T101" fmla="*/ 72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04" h="702">
                  <a:moveTo>
                    <a:pt x="665" y="49"/>
                  </a:moveTo>
                  <a:cubicBezTo>
                    <a:pt x="657" y="48"/>
                    <a:pt x="649" y="50"/>
                    <a:pt x="641" y="54"/>
                  </a:cubicBezTo>
                  <a:cubicBezTo>
                    <a:pt x="638" y="42"/>
                    <a:pt x="629" y="33"/>
                    <a:pt x="618" y="28"/>
                  </a:cubicBezTo>
                  <a:cubicBezTo>
                    <a:pt x="607" y="24"/>
                    <a:pt x="594" y="25"/>
                    <a:pt x="583" y="30"/>
                  </a:cubicBezTo>
                  <a:cubicBezTo>
                    <a:pt x="578" y="12"/>
                    <a:pt x="560" y="0"/>
                    <a:pt x="540" y="2"/>
                  </a:cubicBezTo>
                  <a:cubicBezTo>
                    <a:pt x="528" y="4"/>
                    <a:pt x="517" y="11"/>
                    <a:pt x="510" y="22"/>
                  </a:cubicBezTo>
                  <a:cubicBezTo>
                    <a:pt x="501" y="14"/>
                    <a:pt x="488" y="12"/>
                    <a:pt x="477" y="15"/>
                  </a:cubicBezTo>
                  <a:cubicBezTo>
                    <a:pt x="465" y="18"/>
                    <a:pt x="455" y="26"/>
                    <a:pt x="450" y="37"/>
                  </a:cubicBezTo>
                  <a:lnTo>
                    <a:pt x="335" y="37"/>
                  </a:lnTo>
                  <a:cubicBezTo>
                    <a:pt x="333" y="37"/>
                    <a:pt x="331" y="37"/>
                    <a:pt x="329" y="35"/>
                  </a:cubicBezTo>
                  <a:lnTo>
                    <a:pt x="282" y="7"/>
                  </a:lnTo>
                  <a:cubicBezTo>
                    <a:pt x="277" y="4"/>
                    <a:pt x="270" y="2"/>
                    <a:pt x="264" y="2"/>
                  </a:cubicBezTo>
                  <a:lnTo>
                    <a:pt x="91" y="2"/>
                  </a:lnTo>
                  <a:cubicBezTo>
                    <a:pt x="70" y="2"/>
                    <a:pt x="52" y="18"/>
                    <a:pt x="49" y="39"/>
                  </a:cubicBezTo>
                  <a:cubicBezTo>
                    <a:pt x="48" y="47"/>
                    <a:pt x="50" y="55"/>
                    <a:pt x="54" y="63"/>
                  </a:cubicBezTo>
                  <a:cubicBezTo>
                    <a:pt x="42" y="66"/>
                    <a:pt x="33" y="75"/>
                    <a:pt x="28" y="86"/>
                  </a:cubicBezTo>
                  <a:cubicBezTo>
                    <a:pt x="24" y="97"/>
                    <a:pt x="25" y="110"/>
                    <a:pt x="30" y="121"/>
                  </a:cubicBezTo>
                  <a:cubicBezTo>
                    <a:pt x="12" y="127"/>
                    <a:pt x="0" y="145"/>
                    <a:pt x="2" y="164"/>
                  </a:cubicBezTo>
                  <a:cubicBezTo>
                    <a:pt x="4" y="176"/>
                    <a:pt x="11" y="187"/>
                    <a:pt x="22" y="194"/>
                  </a:cubicBezTo>
                  <a:cubicBezTo>
                    <a:pt x="16" y="202"/>
                    <a:pt x="13" y="212"/>
                    <a:pt x="14" y="222"/>
                  </a:cubicBezTo>
                  <a:cubicBezTo>
                    <a:pt x="16" y="236"/>
                    <a:pt x="24" y="248"/>
                    <a:pt x="37" y="254"/>
                  </a:cubicBezTo>
                  <a:lnTo>
                    <a:pt x="37" y="369"/>
                  </a:lnTo>
                  <a:cubicBezTo>
                    <a:pt x="37" y="371"/>
                    <a:pt x="36" y="373"/>
                    <a:pt x="35" y="375"/>
                  </a:cubicBezTo>
                  <a:lnTo>
                    <a:pt x="7" y="422"/>
                  </a:lnTo>
                  <a:cubicBezTo>
                    <a:pt x="4" y="428"/>
                    <a:pt x="2" y="434"/>
                    <a:pt x="2" y="440"/>
                  </a:cubicBezTo>
                  <a:lnTo>
                    <a:pt x="2" y="613"/>
                  </a:lnTo>
                  <a:cubicBezTo>
                    <a:pt x="2" y="634"/>
                    <a:pt x="18" y="652"/>
                    <a:pt x="39" y="655"/>
                  </a:cubicBezTo>
                  <a:cubicBezTo>
                    <a:pt x="47" y="656"/>
                    <a:pt x="55" y="654"/>
                    <a:pt x="63" y="650"/>
                  </a:cubicBezTo>
                  <a:cubicBezTo>
                    <a:pt x="66" y="662"/>
                    <a:pt x="75" y="671"/>
                    <a:pt x="86" y="676"/>
                  </a:cubicBezTo>
                  <a:cubicBezTo>
                    <a:pt x="97" y="680"/>
                    <a:pt x="110" y="680"/>
                    <a:pt x="121" y="674"/>
                  </a:cubicBezTo>
                  <a:cubicBezTo>
                    <a:pt x="126" y="691"/>
                    <a:pt x="142" y="702"/>
                    <a:pt x="160" y="702"/>
                  </a:cubicBezTo>
                  <a:cubicBezTo>
                    <a:pt x="174" y="702"/>
                    <a:pt x="187" y="695"/>
                    <a:pt x="194" y="683"/>
                  </a:cubicBezTo>
                  <a:cubicBezTo>
                    <a:pt x="204" y="690"/>
                    <a:pt x="216" y="692"/>
                    <a:pt x="228" y="689"/>
                  </a:cubicBezTo>
                  <a:cubicBezTo>
                    <a:pt x="239" y="686"/>
                    <a:pt x="249" y="678"/>
                    <a:pt x="254" y="667"/>
                  </a:cubicBezTo>
                  <a:lnTo>
                    <a:pt x="369" y="667"/>
                  </a:lnTo>
                  <a:cubicBezTo>
                    <a:pt x="371" y="667"/>
                    <a:pt x="373" y="668"/>
                    <a:pt x="375" y="669"/>
                  </a:cubicBezTo>
                  <a:lnTo>
                    <a:pt x="422" y="697"/>
                  </a:lnTo>
                  <a:cubicBezTo>
                    <a:pt x="428" y="700"/>
                    <a:pt x="434" y="702"/>
                    <a:pt x="440" y="702"/>
                  </a:cubicBezTo>
                  <a:lnTo>
                    <a:pt x="613" y="702"/>
                  </a:lnTo>
                  <a:cubicBezTo>
                    <a:pt x="634" y="702"/>
                    <a:pt x="652" y="687"/>
                    <a:pt x="655" y="665"/>
                  </a:cubicBezTo>
                  <a:cubicBezTo>
                    <a:pt x="656" y="657"/>
                    <a:pt x="654" y="649"/>
                    <a:pt x="650" y="641"/>
                  </a:cubicBezTo>
                  <a:cubicBezTo>
                    <a:pt x="662" y="638"/>
                    <a:pt x="671" y="629"/>
                    <a:pt x="676" y="618"/>
                  </a:cubicBezTo>
                  <a:cubicBezTo>
                    <a:pt x="680" y="607"/>
                    <a:pt x="680" y="594"/>
                    <a:pt x="674" y="583"/>
                  </a:cubicBezTo>
                  <a:cubicBezTo>
                    <a:pt x="692" y="578"/>
                    <a:pt x="704" y="560"/>
                    <a:pt x="702" y="540"/>
                  </a:cubicBezTo>
                  <a:cubicBezTo>
                    <a:pt x="700" y="528"/>
                    <a:pt x="693" y="517"/>
                    <a:pt x="683" y="510"/>
                  </a:cubicBezTo>
                  <a:cubicBezTo>
                    <a:pt x="689" y="502"/>
                    <a:pt x="691" y="492"/>
                    <a:pt x="690" y="482"/>
                  </a:cubicBezTo>
                  <a:cubicBezTo>
                    <a:pt x="689" y="468"/>
                    <a:pt x="680" y="456"/>
                    <a:pt x="667" y="450"/>
                  </a:cubicBezTo>
                  <a:lnTo>
                    <a:pt x="667" y="335"/>
                  </a:lnTo>
                  <a:cubicBezTo>
                    <a:pt x="667" y="333"/>
                    <a:pt x="668" y="331"/>
                    <a:pt x="669" y="329"/>
                  </a:cubicBezTo>
                  <a:lnTo>
                    <a:pt x="697" y="282"/>
                  </a:lnTo>
                  <a:cubicBezTo>
                    <a:pt x="700" y="277"/>
                    <a:pt x="702" y="270"/>
                    <a:pt x="702" y="264"/>
                  </a:cubicBezTo>
                  <a:lnTo>
                    <a:pt x="702" y="91"/>
                  </a:lnTo>
                  <a:cubicBezTo>
                    <a:pt x="702" y="70"/>
                    <a:pt x="687" y="52"/>
                    <a:pt x="665" y="49"/>
                  </a:cubicBezTo>
                  <a:close/>
                  <a:moveTo>
                    <a:pt x="26" y="162"/>
                  </a:moveTo>
                  <a:cubicBezTo>
                    <a:pt x="25" y="157"/>
                    <a:pt x="27" y="152"/>
                    <a:pt x="30" y="148"/>
                  </a:cubicBezTo>
                  <a:cubicBezTo>
                    <a:pt x="33" y="144"/>
                    <a:pt x="38" y="142"/>
                    <a:pt x="43" y="142"/>
                  </a:cubicBezTo>
                  <a:lnTo>
                    <a:pt x="119" y="142"/>
                  </a:lnTo>
                  <a:cubicBezTo>
                    <a:pt x="125" y="142"/>
                    <a:pt x="130" y="137"/>
                    <a:pt x="130" y="130"/>
                  </a:cubicBezTo>
                  <a:cubicBezTo>
                    <a:pt x="130" y="124"/>
                    <a:pt x="125" y="119"/>
                    <a:pt x="119" y="119"/>
                  </a:cubicBezTo>
                  <a:lnTo>
                    <a:pt x="66" y="119"/>
                  </a:lnTo>
                  <a:cubicBezTo>
                    <a:pt x="61" y="119"/>
                    <a:pt x="57" y="117"/>
                    <a:pt x="53" y="113"/>
                  </a:cubicBezTo>
                  <a:cubicBezTo>
                    <a:pt x="50" y="109"/>
                    <a:pt x="48" y="104"/>
                    <a:pt x="49" y="99"/>
                  </a:cubicBezTo>
                  <a:cubicBezTo>
                    <a:pt x="50" y="90"/>
                    <a:pt x="59" y="83"/>
                    <a:pt x="68" y="84"/>
                  </a:cubicBezTo>
                  <a:lnTo>
                    <a:pt x="142" y="84"/>
                  </a:lnTo>
                  <a:cubicBezTo>
                    <a:pt x="149" y="84"/>
                    <a:pt x="154" y="79"/>
                    <a:pt x="154" y="72"/>
                  </a:cubicBezTo>
                  <a:cubicBezTo>
                    <a:pt x="154" y="66"/>
                    <a:pt x="149" y="60"/>
                    <a:pt x="142" y="60"/>
                  </a:cubicBezTo>
                  <a:lnTo>
                    <a:pt x="90" y="60"/>
                  </a:lnTo>
                  <a:cubicBezTo>
                    <a:pt x="85" y="60"/>
                    <a:pt x="80" y="58"/>
                    <a:pt x="77" y="55"/>
                  </a:cubicBezTo>
                  <a:cubicBezTo>
                    <a:pt x="73" y="51"/>
                    <a:pt x="72" y="46"/>
                    <a:pt x="72" y="41"/>
                  </a:cubicBezTo>
                  <a:cubicBezTo>
                    <a:pt x="74" y="32"/>
                    <a:pt x="82" y="25"/>
                    <a:pt x="91" y="25"/>
                  </a:cubicBezTo>
                  <a:lnTo>
                    <a:pt x="264" y="25"/>
                  </a:lnTo>
                  <a:cubicBezTo>
                    <a:pt x="266" y="25"/>
                    <a:pt x="268" y="26"/>
                    <a:pt x="270" y="27"/>
                  </a:cubicBezTo>
                  <a:lnTo>
                    <a:pt x="317" y="55"/>
                  </a:lnTo>
                  <a:cubicBezTo>
                    <a:pt x="323" y="59"/>
                    <a:pt x="329" y="60"/>
                    <a:pt x="335" y="60"/>
                  </a:cubicBezTo>
                  <a:lnTo>
                    <a:pt x="445" y="60"/>
                  </a:lnTo>
                  <a:lnTo>
                    <a:pt x="445" y="164"/>
                  </a:lnTo>
                  <a:lnTo>
                    <a:pt x="425" y="148"/>
                  </a:lnTo>
                  <a:cubicBezTo>
                    <a:pt x="410" y="136"/>
                    <a:pt x="389" y="137"/>
                    <a:pt x="375" y="150"/>
                  </a:cubicBezTo>
                  <a:cubicBezTo>
                    <a:pt x="365" y="160"/>
                    <a:pt x="361" y="175"/>
                    <a:pt x="366" y="189"/>
                  </a:cubicBezTo>
                  <a:lnTo>
                    <a:pt x="327" y="189"/>
                  </a:lnTo>
                  <a:cubicBezTo>
                    <a:pt x="318" y="189"/>
                    <a:pt x="309" y="192"/>
                    <a:pt x="302" y="199"/>
                  </a:cubicBezTo>
                  <a:lnTo>
                    <a:pt x="192" y="308"/>
                  </a:lnTo>
                  <a:lnTo>
                    <a:pt x="192" y="308"/>
                  </a:lnTo>
                  <a:lnTo>
                    <a:pt x="187" y="313"/>
                  </a:lnTo>
                  <a:cubicBezTo>
                    <a:pt x="182" y="318"/>
                    <a:pt x="173" y="318"/>
                    <a:pt x="167" y="313"/>
                  </a:cubicBezTo>
                  <a:cubicBezTo>
                    <a:pt x="162" y="308"/>
                    <a:pt x="161" y="299"/>
                    <a:pt x="166" y="294"/>
                  </a:cubicBezTo>
                  <a:lnTo>
                    <a:pt x="198" y="254"/>
                  </a:lnTo>
                  <a:cubicBezTo>
                    <a:pt x="201" y="251"/>
                    <a:pt x="201" y="246"/>
                    <a:pt x="199" y="242"/>
                  </a:cubicBezTo>
                  <a:cubicBezTo>
                    <a:pt x="197" y="238"/>
                    <a:pt x="193" y="235"/>
                    <a:pt x="189" y="235"/>
                  </a:cubicBezTo>
                  <a:lnTo>
                    <a:pt x="56" y="235"/>
                  </a:lnTo>
                  <a:cubicBezTo>
                    <a:pt x="47" y="236"/>
                    <a:pt x="39" y="229"/>
                    <a:pt x="37" y="220"/>
                  </a:cubicBezTo>
                  <a:cubicBezTo>
                    <a:pt x="37" y="215"/>
                    <a:pt x="38" y="210"/>
                    <a:pt x="42" y="206"/>
                  </a:cubicBezTo>
                  <a:cubicBezTo>
                    <a:pt x="45" y="203"/>
                    <a:pt x="50" y="200"/>
                    <a:pt x="55" y="200"/>
                  </a:cubicBezTo>
                  <a:lnTo>
                    <a:pt x="119" y="200"/>
                  </a:lnTo>
                  <a:cubicBezTo>
                    <a:pt x="125" y="200"/>
                    <a:pt x="130" y="195"/>
                    <a:pt x="130" y="189"/>
                  </a:cubicBezTo>
                  <a:cubicBezTo>
                    <a:pt x="130" y="182"/>
                    <a:pt x="125" y="177"/>
                    <a:pt x="119" y="177"/>
                  </a:cubicBezTo>
                  <a:lnTo>
                    <a:pt x="45" y="177"/>
                  </a:lnTo>
                  <a:cubicBezTo>
                    <a:pt x="35" y="177"/>
                    <a:pt x="27" y="171"/>
                    <a:pt x="26" y="162"/>
                  </a:cubicBezTo>
                  <a:close/>
                  <a:moveTo>
                    <a:pt x="492" y="383"/>
                  </a:moveTo>
                  <a:lnTo>
                    <a:pt x="386" y="489"/>
                  </a:lnTo>
                  <a:cubicBezTo>
                    <a:pt x="383" y="491"/>
                    <a:pt x="381" y="492"/>
                    <a:pt x="378" y="492"/>
                  </a:cubicBezTo>
                  <a:lnTo>
                    <a:pt x="321" y="492"/>
                  </a:lnTo>
                  <a:lnTo>
                    <a:pt x="215" y="386"/>
                  </a:lnTo>
                  <a:cubicBezTo>
                    <a:pt x="213" y="384"/>
                    <a:pt x="212" y="381"/>
                    <a:pt x="212" y="378"/>
                  </a:cubicBezTo>
                  <a:lnTo>
                    <a:pt x="212" y="321"/>
                  </a:lnTo>
                  <a:lnTo>
                    <a:pt x="319" y="215"/>
                  </a:lnTo>
                  <a:cubicBezTo>
                    <a:pt x="321" y="213"/>
                    <a:pt x="324" y="212"/>
                    <a:pt x="327" y="212"/>
                  </a:cubicBezTo>
                  <a:lnTo>
                    <a:pt x="383" y="212"/>
                  </a:lnTo>
                  <a:lnTo>
                    <a:pt x="489" y="319"/>
                  </a:lnTo>
                  <a:cubicBezTo>
                    <a:pt x="491" y="321"/>
                    <a:pt x="492" y="324"/>
                    <a:pt x="492" y="327"/>
                  </a:cubicBezTo>
                  <a:lnTo>
                    <a:pt x="492" y="383"/>
                  </a:lnTo>
                  <a:close/>
                  <a:moveTo>
                    <a:pt x="220" y="667"/>
                  </a:moveTo>
                  <a:cubicBezTo>
                    <a:pt x="215" y="668"/>
                    <a:pt x="210" y="666"/>
                    <a:pt x="206" y="663"/>
                  </a:cubicBezTo>
                  <a:cubicBezTo>
                    <a:pt x="203" y="659"/>
                    <a:pt x="200" y="655"/>
                    <a:pt x="200" y="650"/>
                  </a:cubicBezTo>
                  <a:lnTo>
                    <a:pt x="200" y="649"/>
                  </a:lnTo>
                  <a:lnTo>
                    <a:pt x="200" y="585"/>
                  </a:lnTo>
                  <a:cubicBezTo>
                    <a:pt x="200" y="579"/>
                    <a:pt x="195" y="574"/>
                    <a:pt x="189" y="574"/>
                  </a:cubicBezTo>
                  <a:cubicBezTo>
                    <a:pt x="182" y="574"/>
                    <a:pt x="177" y="579"/>
                    <a:pt x="177" y="585"/>
                  </a:cubicBezTo>
                  <a:lnTo>
                    <a:pt x="177" y="650"/>
                  </a:lnTo>
                  <a:lnTo>
                    <a:pt x="177" y="650"/>
                  </a:lnTo>
                  <a:lnTo>
                    <a:pt x="177" y="660"/>
                  </a:lnTo>
                  <a:cubicBezTo>
                    <a:pt x="177" y="669"/>
                    <a:pt x="171" y="677"/>
                    <a:pt x="161" y="679"/>
                  </a:cubicBezTo>
                  <a:cubicBezTo>
                    <a:pt x="156" y="679"/>
                    <a:pt x="152" y="678"/>
                    <a:pt x="148" y="674"/>
                  </a:cubicBezTo>
                  <a:cubicBezTo>
                    <a:pt x="144" y="671"/>
                    <a:pt x="142" y="666"/>
                    <a:pt x="142" y="661"/>
                  </a:cubicBezTo>
                  <a:lnTo>
                    <a:pt x="142" y="638"/>
                  </a:lnTo>
                  <a:lnTo>
                    <a:pt x="142" y="638"/>
                  </a:lnTo>
                  <a:lnTo>
                    <a:pt x="142" y="585"/>
                  </a:lnTo>
                  <a:cubicBezTo>
                    <a:pt x="142" y="579"/>
                    <a:pt x="137" y="574"/>
                    <a:pt x="130" y="574"/>
                  </a:cubicBezTo>
                  <a:cubicBezTo>
                    <a:pt x="124" y="574"/>
                    <a:pt x="119" y="579"/>
                    <a:pt x="119" y="585"/>
                  </a:cubicBezTo>
                  <a:lnTo>
                    <a:pt x="119" y="638"/>
                  </a:lnTo>
                  <a:lnTo>
                    <a:pt x="119" y="638"/>
                  </a:lnTo>
                  <a:cubicBezTo>
                    <a:pt x="119" y="643"/>
                    <a:pt x="117" y="648"/>
                    <a:pt x="113" y="651"/>
                  </a:cubicBezTo>
                  <a:cubicBezTo>
                    <a:pt x="109" y="654"/>
                    <a:pt x="104" y="656"/>
                    <a:pt x="99" y="655"/>
                  </a:cubicBezTo>
                  <a:cubicBezTo>
                    <a:pt x="90" y="654"/>
                    <a:pt x="83" y="646"/>
                    <a:pt x="84" y="636"/>
                  </a:cubicBezTo>
                  <a:lnTo>
                    <a:pt x="84" y="615"/>
                  </a:lnTo>
                  <a:lnTo>
                    <a:pt x="84" y="614"/>
                  </a:lnTo>
                  <a:lnTo>
                    <a:pt x="84" y="562"/>
                  </a:lnTo>
                  <a:cubicBezTo>
                    <a:pt x="84" y="556"/>
                    <a:pt x="79" y="550"/>
                    <a:pt x="72" y="550"/>
                  </a:cubicBezTo>
                  <a:cubicBezTo>
                    <a:pt x="66" y="550"/>
                    <a:pt x="60" y="556"/>
                    <a:pt x="60" y="562"/>
                  </a:cubicBezTo>
                  <a:lnTo>
                    <a:pt x="60" y="615"/>
                  </a:lnTo>
                  <a:lnTo>
                    <a:pt x="60" y="615"/>
                  </a:lnTo>
                  <a:cubicBezTo>
                    <a:pt x="60" y="620"/>
                    <a:pt x="58" y="624"/>
                    <a:pt x="55" y="628"/>
                  </a:cubicBezTo>
                  <a:cubicBezTo>
                    <a:pt x="51" y="631"/>
                    <a:pt x="46" y="633"/>
                    <a:pt x="41" y="632"/>
                  </a:cubicBezTo>
                  <a:cubicBezTo>
                    <a:pt x="32" y="631"/>
                    <a:pt x="25" y="622"/>
                    <a:pt x="25" y="613"/>
                  </a:cubicBezTo>
                  <a:lnTo>
                    <a:pt x="25" y="440"/>
                  </a:lnTo>
                  <a:cubicBezTo>
                    <a:pt x="25" y="438"/>
                    <a:pt x="26" y="436"/>
                    <a:pt x="27" y="434"/>
                  </a:cubicBezTo>
                  <a:lnTo>
                    <a:pt x="55" y="387"/>
                  </a:lnTo>
                  <a:cubicBezTo>
                    <a:pt x="59" y="382"/>
                    <a:pt x="60" y="375"/>
                    <a:pt x="60" y="369"/>
                  </a:cubicBezTo>
                  <a:lnTo>
                    <a:pt x="60" y="259"/>
                  </a:lnTo>
                  <a:lnTo>
                    <a:pt x="164" y="259"/>
                  </a:lnTo>
                  <a:lnTo>
                    <a:pt x="148" y="279"/>
                  </a:lnTo>
                  <a:cubicBezTo>
                    <a:pt x="137" y="292"/>
                    <a:pt x="136" y="310"/>
                    <a:pt x="146" y="324"/>
                  </a:cubicBezTo>
                  <a:cubicBezTo>
                    <a:pt x="155" y="338"/>
                    <a:pt x="173" y="344"/>
                    <a:pt x="189" y="338"/>
                  </a:cubicBezTo>
                  <a:lnTo>
                    <a:pt x="189" y="378"/>
                  </a:lnTo>
                  <a:cubicBezTo>
                    <a:pt x="189" y="387"/>
                    <a:pt x="192" y="396"/>
                    <a:pt x="199" y="402"/>
                  </a:cubicBezTo>
                  <a:lnTo>
                    <a:pt x="308" y="512"/>
                  </a:lnTo>
                  <a:cubicBezTo>
                    <a:pt x="308" y="512"/>
                    <a:pt x="308" y="512"/>
                    <a:pt x="308" y="512"/>
                  </a:cubicBezTo>
                  <a:lnTo>
                    <a:pt x="313" y="517"/>
                  </a:lnTo>
                  <a:cubicBezTo>
                    <a:pt x="317" y="521"/>
                    <a:pt x="318" y="527"/>
                    <a:pt x="316" y="533"/>
                  </a:cubicBezTo>
                  <a:cubicBezTo>
                    <a:pt x="314" y="538"/>
                    <a:pt x="308" y="542"/>
                    <a:pt x="303" y="541"/>
                  </a:cubicBezTo>
                  <a:cubicBezTo>
                    <a:pt x="299" y="542"/>
                    <a:pt x="296" y="540"/>
                    <a:pt x="294" y="538"/>
                  </a:cubicBezTo>
                  <a:lnTo>
                    <a:pt x="255" y="506"/>
                  </a:lnTo>
                  <a:cubicBezTo>
                    <a:pt x="251" y="503"/>
                    <a:pt x="246" y="503"/>
                    <a:pt x="242" y="505"/>
                  </a:cubicBezTo>
                  <a:cubicBezTo>
                    <a:pt x="238" y="507"/>
                    <a:pt x="235" y="511"/>
                    <a:pt x="235" y="515"/>
                  </a:cubicBezTo>
                  <a:lnTo>
                    <a:pt x="235" y="648"/>
                  </a:lnTo>
                  <a:cubicBezTo>
                    <a:pt x="236" y="657"/>
                    <a:pt x="229" y="666"/>
                    <a:pt x="220" y="667"/>
                  </a:cubicBezTo>
                  <a:close/>
                  <a:moveTo>
                    <a:pt x="679" y="543"/>
                  </a:moveTo>
                  <a:cubicBezTo>
                    <a:pt x="679" y="548"/>
                    <a:pt x="678" y="553"/>
                    <a:pt x="674" y="556"/>
                  </a:cubicBezTo>
                  <a:cubicBezTo>
                    <a:pt x="671" y="560"/>
                    <a:pt x="666" y="562"/>
                    <a:pt x="661" y="562"/>
                  </a:cubicBezTo>
                  <a:lnTo>
                    <a:pt x="585" y="562"/>
                  </a:lnTo>
                  <a:cubicBezTo>
                    <a:pt x="579" y="562"/>
                    <a:pt x="574" y="567"/>
                    <a:pt x="574" y="574"/>
                  </a:cubicBezTo>
                  <a:cubicBezTo>
                    <a:pt x="574" y="580"/>
                    <a:pt x="579" y="585"/>
                    <a:pt x="585" y="585"/>
                  </a:cubicBezTo>
                  <a:lnTo>
                    <a:pt x="638" y="585"/>
                  </a:lnTo>
                  <a:cubicBezTo>
                    <a:pt x="643" y="585"/>
                    <a:pt x="648" y="588"/>
                    <a:pt x="651" y="591"/>
                  </a:cubicBezTo>
                  <a:cubicBezTo>
                    <a:pt x="654" y="595"/>
                    <a:pt x="656" y="600"/>
                    <a:pt x="655" y="605"/>
                  </a:cubicBezTo>
                  <a:cubicBezTo>
                    <a:pt x="654" y="614"/>
                    <a:pt x="646" y="621"/>
                    <a:pt x="636" y="620"/>
                  </a:cubicBezTo>
                  <a:lnTo>
                    <a:pt x="562" y="620"/>
                  </a:lnTo>
                  <a:cubicBezTo>
                    <a:pt x="556" y="620"/>
                    <a:pt x="550" y="626"/>
                    <a:pt x="550" y="632"/>
                  </a:cubicBezTo>
                  <a:cubicBezTo>
                    <a:pt x="550" y="639"/>
                    <a:pt x="556" y="644"/>
                    <a:pt x="562" y="644"/>
                  </a:cubicBezTo>
                  <a:lnTo>
                    <a:pt x="615" y="644"/>
                  </a:lnTo>
                  <a:cubicBezTo>
                    <a:pt x="620" y="644"/>
                    <a:pt x="624" y="646"/>
                    <a:pt x="628" y="650"/>
                  </a:cubicBezTo>
                  <a:cubicBezTo>
                    <a:pt x="631" y="653"/>
                    <a:pt x="633" y="658"/>
                    <a:pt x="632" y="663"/>
                  </a:cubicBezTo>
                  <a:cubicBezTo>
                    <a:pt x="631" y="672"/>
                    <a:pt x="622" y="679"/>
                    <a:pt x="613" y="679"/>
                  </a:cubicBezTo>
                  <a:lnTo>
                    <a:pt x="440" y="679"/>
                  </a:lnTo>
                  <a:cubicBezTo>
                    <a:pt x="438" y="679"/>
                    <a:pt x="436" y="678"/>
                    <a:pt x="434" y="677"/>
                  </a:cubicBezTo>
                  <a:lnTo>
                    <a:pt x="387" y="649"/>
                  </a:lnTo>
                  <a:cubicBezTo>
                    <a:pt x="382" y="646"/>
                    <a:pt x="375" y="644"/>
                    <a:pt x="369" y="644"/>
                  </a:cubicBezTo>
                  <a:lnTo>
                    <a:pt x="259" y="644"/>
                  </a:lnTo>
                  <a:lnTo>
                    <a:pt x="259" y="540"/>
                  </a:lnTo>
                  <a:lnTo>
                    <a:pt x="279" y="557"/>
                  </a:lnTo>
                  <a:cubicBezTo>
                    <a:pt x="294" y="568"/>
                    <a:pt x="315" y="567"/>
                    <a:pt x="329" y="554"/>
                  </a:cubicBezTo>
                  <a:cubicBezTo>
                    <a:pt x="340" y="544"/>
                    <a:pt x="343" y="529"/>
                    <a:pt x="338" y="515"/>
                  </a:cubicBezTo>
                  <a:lnTo>
                    <a:pt x="378" y="515"/>
                  </a:lnTo>
                  <a:cubicBezTo>
                    <a:pt x="387" y="515"/>
                    <a:pt x="396" y="512"/>
                    <a:pt x="402" y="505"/>
                  </a:cubicBezTo>
                  <a:lnTo>
                    <a:pt x="512" y="396"/>
                  </a:lnTo>
                  <a:lnTo>
                    <a:pt x="512" y="396"/>
                  </a:lnTo>
                  <a:lnTo>
                    <a:pt x="517" y="391"/>
                  </a:lnTo>
                  <a:cubicBezTo>
                    <a:pt x="523" y="386"/>
                    <a:pt x="532" y="386"/>
                    <a:pt x="537" y="392"/>
                  </a:cubicBezTo>
                  <a:cubicBezTo>
                    <a:pt x="542" y="397"/>
                    <a:pt x="543" y="405"/>
                    <a:pt x="539" y="411"/>
                  </a:cubicBezTo>
                  <a:lnTo>
                    <a:pt x="506" y="450"/>
                  </a:lnTo>
                  <a:cubicBezTo>
                    <a:pt x="504" y="453"/>
                    <a:pt x="503" y="458"/>
                    <a:pt x="505" y="462"/>
                  </a:cubicBezTo>
                  <a:cubicBezTo>
                    <a:pt x="507" y="466"/>
                    <a:pt x="511" y="469"/>
                    <a:pt x="515" y="469"/>
                  </a:cubicBezTo>
                  <a:lnTo>
                    <a:pt x="648" y="469"/>
                  </a:lnTo>
                  <a:cubicBezTo>
                    <a:pt x="657" y="468"/>
                    <a:pt x="666" y="475"/>
                    <a:pt x="667" y="484"/>
                  </a:cubicBezTo>
                  <a:cubicBezTo>
                    <a:pt x="668" y="489"/>
                    <a:pt x="666" y="494"/>
                    <a:pt x="663" y="498"/>
                  </a:cubicBezTo>
                  <a:cubicBezTo>
                    <a:pt x="659" y="502"/>
                    <a:pt x="655" y="504"/>
                    <a:pt x="650" y="504"/>
                  </a:cubicBezTo>
                  <a:lnTo>
                    <a:pt x="585" y="504"/>
                  </a:lnTo>
                  <a:cubicBezTo>
                    <a:pt x="579" y="504"/>
                    <a:pt x="574" y="509"/>
                    <a:pt x="574" y="515"/>
                  </a:cubicBezTo>
                  <a:cubicBezTo>
                    <a:pt x="574" y="522"/>
                    <a:pt x="579" y="527"/>
                    <a:pt x="585" y="527"/>
                  </a:cubicBezTo>
                  <a:lnTo>
                    <a:pt x="660" y="527"/>
                  </a:lnTo>
                  <a:cubicBezTo>
                    <a:pt x="669" y="527"/>
                    <a:pt x="677" y="533"/>
                    <a:pt x="679" y="543"/>
                  </a:cubicBezTo>
                  <a:close/>
                  <a:moveTo>
                    <a:pt x="679" y="264"/>
                  </a:moveTo>
                  <a:cubicBezTo>
                    <a:pt x="679" y="266"/>
                    <a:pt x="678" y="268"/>
                    <a:pt x="677" y="270"/>
                  </a:cubicBezTo>
                  <a:lnTo>
                    <a:pt x="649" y="317"/>
                  </a:lnTo>
                  <a:cubicBezTo>
                    <a:pt x="646" y="323"/>
                    <a:pt x="644" y="329"/>
                    <a:pt x="644" y="335"/>
                  </a:cubicBezTo>
                  <a:lnTo>
                    <a:pt x="644" y="445"/>
                  </a:lnTo>
                  <a:lnTo>
                    <a:pt x="540" y="445"/>
                  </a:lnTo>
                  <a:lnTo>
                    <a:pt x="557" y="425"/>
                  </a:lnTo>
                  <a:cubicBezTo>
                    <a:pt x="569" y="410"/>
                    <a:pt x="567" y="389"/>
                    <a:pt x="554" y="375"/>
                  </a:cubicBezTo>
                  <a:cubicBezTo>
                    <a:pt x="544" y="365"/>
                    <a:pt x="529" y="362"/>
                    <a:pt x="515" y="366"/>
                  </a:cubicBezTo>
                  <a:lnTo>
                    <a:pt x="515" y="327"/>
                  </a:lnTo>
                  <a:cubicBezTo>
                    <a:pt x="515" y="318"/>
                    <a:pt x="512" y="309"/>
                    <a:pt x="505" y="302"/>
                  </a:cubicBezTo>
                  <a:lnTo>
                    <a:pt x="396" y="192"/>
                  </a:lnTo>
                  <a:lnTo>
                    <a:pt x="396" y="192"/>
                  </a:lnTo>
                  <a:lnTo>
                    <a:pt x="391" y="187"/>
                  </a:lnTo>
                  <a:cubicBezTo>
                    <a:pt x="389" y="185"/>
                    <a:pt x="387" y="181"/>
                    <a:pt x="387" y="177"/>
                  </a:cubicBezTo>
                  <a:cubicBezTo>
                    <a:pt x="387" y="173"/>
                    <a:pt x="389" y="170"/>
                    <a:pt x="392" y="167"/>
                  </a:cubicBezTo>
                  <a:cubicBezTo>
                    <a:pt x="397" y="162"/>
                    <a:pt x="405" y="161"/>
                    <a:pt x="411" y="166"/>
                  </a:cubicBezTo>
                  <a:lnTo>
                    <a:pt x="450" y="198"/>
                  </a:lnTo>
                  <a:cubicBezTo>
                    <a:pt x="453" y="201"/>
                    <a:pt x="458" y="201"/>
                    <a:pt x="462" y="199"/>
                  </a:cubicBezTo>
                  <a:cubicBezTo>
                    <a:pt x="466" y="197"/>
                    <a:pt x="469" y="193"/>
                    <a:pt x="469" y="189"/>
                  </a:cubicBezTo>
                  <a:lnTo>
                    <a:pt x="469" y="56"/>
                  </a:lnTo>
                  <a:cubicBezTo>
                    <a:pt x="468" y="47"/>
                    <a:pt x="475" y="39"/>
                    <a:pt x="484" y="37"/>
                  </a:cubicBezTo>
                  <a:cubicBezTo>
                    <a:pt x="489" y="37"/>
                    <a:pt x="494" y="38"/>
                    <a:pt x="498" y="42"/>
                  </a:cubicBezTo>
                  <a:cubicBezTo>
                    <a:pt x="502" y="45"/>
                    <a:pt x="504" y="50"/>
                    <a:pt x="504" y="55"/>
                  </a:cubicBezTo>
                  <a:lnTo>
                    <a:pt x="504" y="119"/>
                  </a:lnTo>
                  <a:cubicBezTo>
                    <a:pt x="504" y="125"/>
                    <a:pt x="509" y="130"/>
                    <a:pt x="515" y="130"/>
                  </a:cubicBezTo>
                  <a:cubicBezTo>
                    <a:pt x="522" y="130"/>
                    <a:pt x="527" y="125"/>
                    <a:pt x="527" y="119"/>
                  </a:cubicBezTo>
                  <a:lnTo>
                    <a:pt x="527" y="45"/>
                  </a:lnTo>
                  <a:cubicBezTo>
                    <a:pt x="527" y="35"/>
                    <a:pt x="533" y="27"/>
                    <a:pt x="543" y="26"/>
                  </a:cubicBezTo>
                  <a:cubicBezTo>
                    <a:pt x="548" y="25"/>
                    <a:pt x="553" y="27"/>
                    <a:pt x="556" y="30"/>
                  </a:cubicBezTo>
                  <a:cubicBezTo>
                    <a:pt x="560" y="33"/>
                    <a:pt x="562" y="38"/>
                    <a:pt x="562" y="43"/>
                  </a:cubicBezTo>
                  <a:lnTo>
                    <a:pt x="562" y="119"/>
                  </a:lnTo>
                  <a:cubicBezTo>
                    <a:pt x="562" y="125"/>
                    <a:pt x="567" y="130"/>
                    <a:pt x="574" y="130"/>
                  </a:cubicBezTo>
                  <a:cubicBezTo>
                    <a:pt x="580" y="130"/>
                    <a:pt x="585" y="125"/>
                    <a:pt x="585" y="119"/>
                  </a:cubicBezTo>
                  <a:lnTo>
                    <a:pt x="585" y="66"/>
                  </a:lnTo>
                  <a:cubicBezTo>
                    <a:pt x="585" y="61"/>
                    <a:pt x="588" y="57"/>
                    <a:pt x="591" y="53"/>
                  </a:cubicBezTo>
                  <a:cubicBezTo>
                    <a:pt x="595" y="50"/>
                    <a:pt x="600" y="48"/>
                    <a:pt x="605" y="49"/>
                  </a:cubicBezTo>
                  <a:cubicBezTo>
                    <a:pt x="614" y="50"/>
                    <a:pt x="621" y="59"/>
                    <a:pt x="620" y="68"/>
                  </a:cubicBezTo>
                  <a:lnTo>
                    <a:pt x="620" y="142"/>
                  </a:lnTo>
                  <a:cubicBezTo>
                    <a:pt x="620" y="149"/>
                    <a:pt x="626" y="154"/>
                    <a:pt x="632" y="154"/>
                  </a:cubicBezTo>
                  <a:cubicBezTo>
                    <a:pt x="639" y="154"/>
                    <a:pt x="644" y="149"/>
                    <a:pt x="644" y="142"/>
                  </a:cubicBezTo>
                  <a:lnTo>
                    <a:pt x="644" y="90"/>
                  </a:lnTo>
                  <a:cubicBezTo>
                    <a:pt x="644" y="85"/>
                    <a:pt x="646" y="80"/>
                    <a:pt x="650" y="77"/>
                  </a:cubicBezTo>
                  <a:cubicBezTo>
                    <a:pt x="653" y="73"/>
                    <a:pt x="658" y="72"/>
                    <a:pt x="663" y="72"/>
                  </a:cubicBezTo>
                  <a:cubicBezTo>
                    <a:pt x="672" y="74"/>
                    <a:pt x="679" y="82"/>
                    <a:pt x="679" y="91"/>
                  </a:cubicBezTo>
                  <a:lnTo>
                    <a:pt x="679" y="2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876D3A7-9B4B-AC87-225D-B8EB8530E9D2}"/>
              </a:ext>
            </a:extLst>
          </p:cNvPr>
          <p:cNvGrpSpPr/>
          <p:nvPr/>
        </p:nvGrpSpPr>
        <p:grpSpPr>
          <a:xfrm>
            <a:off x="1576620" y="1880763"/>
            <a:ext cx="1077449" cy="1077449"/>
            <a:chOff x="1576620" y="1880763"/>
            <a:chExt cx="1077449" cy="1077449"/>
          </a:xfrm>
        </p:grpSpPr>
        <p:sp>
          <p:nvSpPr>
            <p:cNvPr id="8" name="object 25">
              <a:extLst>
                <a:ext uri="{FF2B5EF4-FFF2-40B4-BE49-F238E27FC236}">
                  <a16:creationId xmlns:a16="http://schemas.microsoft.com/office/drawing/2014/main" id="{10323FEB-88F1-DB58-AABC-FC8BDF328F7B}"/>
                </a:ext>
              </a:extLst>
            </p:cNvPr>
            <p:cNvSpPr/>
            <p:nvPr/>
          </p:nvSpPr>
          <p:spPr>
            <a:xfrm>
              <a:off x="1576620" y="1880763"/>
              <a:ext cx="1077449" cy="1077449"/>
            </a:xfrm>
            <a:custGeom>
              <a:avLst/>
              <a:gdLst/>
              <a:ahLst/>
              <a:cxnLst/>
              <a:rect l="l" t="t" r="r" b="b"/>
              <a:pathLst>
                <a:path w="933450" h="933450">
                  <a:moveTo>
                    <a:pt x="466559" y="0"/>
                  </a:moveTo>
                  <a:lnTo>
                    <a:pt x="418857" y="2408"/>
                  </a:lnTo>
                  <a:lnTo>
                    <a:pt x="372532" y="9478"/>
                  </a:lnTo>
                  <a:lnTo>
                    <a:pt x="327820" y="20975"/>
                  </a:lnTo>
                  <a:lnTo>
                    <a:pt x="284955" y="36665"/>
                  </a:lnTo>
                  <a:lnTo>
                    <a:pt x="244171" y="56311"/>
                  </a:lnTo>
                  <a:lnTo>
                    <a:pt x="205703" y="79682"/>
                  </a:lnTo>
                  <a:lnTo>
                    <a:pt x="169785" y="106540"/>
                  </a:lnTo>
                  <a:lnTo>
                    <a:pt x="136653" y="136653"/>
                  </a:lnTo>
                  <a:lnTo>
                    <a:pt x="106540" y="169785"/>
                  </a:lnTo>
                  <a:lnTo>
                    <a:pt x="79682" y="205703"/>
                  </a:lnTo>
                  <a:lnTo>
                    <a:pt x="56311" y="244171"/>
                  </a:lnTo>
                  <a:lnTo>
                    <a:pt x="36665" y="284955"/>
                  </a:lnTo>
                  <a:lnTo>
                    <a:pt x="20975" y="327820"/>
                  </a:lnTo>
                  <a:lnTo>
                    <a:pt x="9478" y="372532"/>
                  </a:lnTo>
                  <a:lnTo>
                    <a:pt x="2408" y="418857"/>
                  </a:lnTo>
                  <a:lnTo>
                    <a:pt x="0" y="466559"/>
                  </a:lnTo>
                  <a:lnTo>
                    <a:pt x="2408" y="514262"/>
                  </a:lnTo>
                  <a:lnTo>
                    <a:pt x="9478" y="560586"/>
                  </a:lnTo>
                  <a:lnTo>
                    <a:pt x="20975" y="605299"/>
                  </a:lnTo>
                  <a:lnTo>
                    <a:pt x="36665" y="648164"/>
                  </a:lnTo>
                  <a:lnTo>
                    <a:pt x="56311" y="688948"/>
                  </a:lnTo>
                  <a:lnTo>
                    <a:pt x="79682" y="727416"/>
                  </a:lnTo>
                  <a:lnTo>
                    <a:pt x="106540" y="763333"/>
                  </a:lnTo>
                  <a:lnTo>
                    <a:pt x="136653" y="796466"/>
                  </a:lnTo>
                  <a:lnTo>
                    <a:pt x="169785" y="826579"/>
                  </a:lnTo>
                  <a:lnTo>
                    <a:pt x="205703" y="853437"/>
                  </a:lnTo>
                  <a:lnTo>
                    <a:pt x="244171" y="876807"/>
                  </a:lnTo>
                  <a:lnTo>
                    <a:pt x="284955" y="896454"/>
                  </a:lnTo>
                  <a:lnTo>
                    <a:pt x="327820" y="912143"/>
                  </a:lnTo>
                  <a:lnTo>
                    <a:pt x="372532" y="923640"/>
                  </a:lnTo>
                  <a:lnTo>
                    <a:pt x="418857" y="930710"/>
                  </a:lnTo>
                  <a:lnTo>
                    <a:pt x="466559" y="933119"/>
                  </a:lnTo>
                  <a:lnTo>
                    <a:pt x="514262" y="930710"/>
                  </a:lnTo>
                  <a:lnTo>
                    <a:pt x="560586" y="923640"/>
                  </a:lnTo>
                  <a:lnTo>
                    <a:pt x="605299" y="912143"/>
                  </a:lnTo>
                  <a:lnTo>
                    <a:pt x="648164" y="896454"/>
                  </a:lnTo>
                  <a:lnTo>
                    <a:pt x="688948" y="876807"/>
                  </a:lnTo>
                  <a:lnTo>
                    <a:pt x="727416" y="853437"/>
                  </a:lnTo>
                  <a:lnTo>
                    <a:pt x="763333" y="826579"/>
                  </a:lnTo>
                  <a:lnTo>
                    <a:pt x="796466" y="796466"/>
                  </a:lnTo>
                  <a:lnTo>
                    <a:pt x="826579" y="763333"/>
                  </a:lnTo>
                  <a:lnTo>
                    <a:pt x="853437" y="727416"/>
                  </a:lnTo>
                  <a:lnTo>
                    <a:pt x="876807" y="688948"/>
                  </a:lnTo>
                  <a:lnTo>
                    <a:pt x="896454" y="648164"/>
                  </a:lnTo>
                  <a:lnTo>
                    <a:pt x="912143" y="605299"/>
                  </a:lnTo>
                  <a:lnTo>
                    <a:pt x="923640" y="560586"/>
                  </a:lnTo>
                  <a:lnTo>
                    <a:pt x="930710" y="514262"/>
                  </a:lnTo>
                  <a:lnTo>
                    <a:pt x="933119" y="466559"/>
                  </a:lnTo>
                  <a:lnTo>
                    <a:pt x="930710" y="418857"/>
                  </a:lnTo>
                  <a:lnTo>
                    <a:pt x="923640" y="372532"/>
                  </a:lnTo>
                  <a:lnTo>
                    <a:pt x="912143" y="327820"/>
                  </a:lnTo>
                  <a:lnTo>
                    <a:pt x="896454" y="284955"/>
                  </a:lnTo>
                  <a:lnTo>
                    <a:pt x="876807" y="244171"/>
                  </a:lnTo>
                  <a:lnTo>
                    <a:pt x="853437" y="205703"/>
                  </a:lnTo>
                  <a:lnTo>
                    <a:pt x="826579" y="169785"/>
                  </a:lnTo>
                  <a:lnTo>
                    <a:pt x="796466" y="136653"/>
                  </a:lnTo>
                  <a:lnTo>
                    <a:pt x="763333" y="106540"/>
                  </a:lnTo>
                  <a:lnTo>
                    <a:pt x="727416" y="79682"/>
                  </a:lnTo>
                  <a:lnTo>
                    <a:pt x="688948" y="56311"/>
                  </a:lnTo>
                  <a:lnTo>
                    <a:pt x="648164" y="36665"/>
                  </a:lnTo>
                  <a:lnTo>
                    <a:pt x="605299" y="20975"/>
                  </a:lnTo>
                  <a:lnTo>
                    <a:pt x="560586" y="9478"/>
                  </a:lnTo>
                  <a:lnTo>
                    <a:pt x="514262" y="2408"/>
                  </a:lnTo>
                  <a:lnTo>
                    <a:pt x="466559" y="0"/>
                  </a:lnTo>
                  <a:close/>
                </a:path>
              </a:pathLst>
            </a:custGeom>
            <a:solidFill>
              <a:srgbClr val="18303A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9426D914-5183-9841-E7CC-61B971DE58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8033" y="2175173"/>
              <a:ext cx="494622" cy="488626"/>
            </a:xfrm>
            <a:custGeom>
              <a:avLst/>
              <a:gdLst>
                <a:gd name="T0" fmla="*/ 693 w 774"/>
                <a:gd name="T1" fmla="*/ 361 h 770"/>
                <a:gd name="T2" fmla="*/ 585 w 774"/>
                <a:gd name="T3" fmla="*/ 60 h 770"/>
                <a:gd name="T4" fmla="*/ 429 w 774"/>
                <a:gd name="T5" fmla="*/ 166 h 770"/>
                <a:gd name="T6" fmla="*/ 367 w 774"/>
                <a:gd name="T7" fmla="*/ 60 h 770"/>
                <a:gd name="T8" fmla="*/ 211 w 774"/>
                <a:gd name="T9" fmla="*/ 166 h 770"/>
                <a:gd name="T10" fmla="*/ 48 w 774"/>
                <a:gd name="T11" fmla="*/ 337 h 770"/>
                <a:gd name="T12" fmla="*/ 56 w 774"/>
                <a:gd name="T13" fmla="*/ 505 h 770"/>
                <a:gd name="T14" fmla="*/ 156 w 774"/>
                <a:gd name="T15" fmla="*/ 642 h 770"/>
                <a:gd name="T16" fmla="*/ 323 w 774"/>
                <a:gd name="T17" fmla="*/ 770 h 770"/>
                <a:gd name="T18" fmla="*/ 425 w 774"/>
                <a:gd name="T19" fmla="*/ 655 h 770"/>
                <a:gd name="T20" fmla="*/ 592 w 774"/>
                <a:gd name="T21" fmla="*/ 770 h 770"/>
                <a:gd name="T22" fmla="*/ 611 w 774"/>
                <a:gd name="T23" fmla="*/ 624 h 770"/>
                <a:gd name="T24" fmla="*/ 768 w 774"/>
                <a:gd name="T25" fmla="*/ 394 h 770"/>
                <a:gd name="T26" fmla="*/ 496 w 774"/>
                <a:gd name="T27" fmla="*/ 26 h 770"/>
                <a:gd name="T28" fmla="*/ 425 w 774"/>
                <a:gd name="T29" fmla="*/ 97 h 770"/>
                <a:gd name="T30" fmla="*/ 541 w 774"/>
                <a:gd name="T31" fmla="*/ 182 h 770"/>
                <a:gd name="T32" fmla="*/ 578 w 774"/>
                <a:gd name="T33" fmla="*/ 278 h 770"/>
                <a:gd name="T34" fmla="*/ 555 w 774"/>
                <a:gd name="T35" fmla="*/ 288 h 770"/>
                <a:gd name="T36" fmla="*/ 515 w 774"/>
                <a:gd name="T37" fmla="*/ 480 h 770"/>
                <a:gd name="T38" fmla="*/ 415 w 774"/>
                <a:gd name="T39" fmla="*/ 210 h 770"/>
                <a:gd name="T40" fmla="*/ 451 w 774"/>
                <a:gd name="T41" fmla="*/ 295 h 770"/>
                <a:gd name="T42" fmla="*/ 387 w 774"/>
                <a:gd name="T43" fmla="*/ 231 h 770"/>
                <a:gd name="T44" fmla="*/ 349 w 774"/>
                <a:gd name="T45" fmla="*/ 97 h 770"/>
                <a:gd name="T46" fmla="*/ 234 w 774"/>
                <a:gd name="T47" fmla="*/ 182 h 770"/>
                <a:gd name="T48" fmla="*/ 302 w 774"/>
                <a:gd name="T49" fmla="*/ 267 h 770"/>
                <a:gd name="T50" fmla="*/ 252 w 774"/>
                <a:gd name="T51" fmla="*/ 477 h 770"/>
                <a:gd name="T52" fmla="*/ 212 w 774"/>
                <a:gd name="T53" fmla="*/ 271 h 770"/>
                <a:gd name="T54" fmla="*/ 118 w 774"/>
                <a:gd name="T55" fmla="*/ 421 h 770"/>
                <a:gd name="T56" fmla="*/ 79 w 774"/>
                <a:gd name="T57" fmla="*/ 494 h 770"/>
                <a:gd name="T58" fmla="*/ 43 w 774"/>
                <a:gd name="T59" fmla="*/ 362 h 770"/>
                <a:gd name="T60" fmla="*/ 118 w 774"/>
                <a:gd name="T61" fmla="*/ 486 h 770"/>
                <a:gd name="T62" fmla="*/ 198 w 774"/>
                <a:gd name="T63" fmla="*/ 539 h 770"/>
                <a:gd name="T64" fmla="*/ 120 w 774"/>
                <a:gd name="T65" fmla="*/ 449 h 770"/>
                <a:gd name="T66" fmla="*/ 175 w 774"/>
                <a:gd name="T67" fmla="*/ 460 h 770"/>
                <a:gd name="T68" fmla="*/ 297 w 774"/>
                <a:gd name="T69" fmla="*/ 592 h 770"/>
                <a:gd name="T70" fmla="*/ 102 w 774"/>
                <a:gd name="T71" fmla="*/ 527 h 770"/>
                <a:gd name="T72" fmla="*/ 323 w 774"/>
                <a:gd name="T73" fmla="*/ 642 h 770"/>
                <a:gd name="T74" fmla="*/ 429 w 774"/>
                <a:gd name="T75" fmla="*/ 629 h 770"/>
                <a:gd name="T76" fmla="*/ 323 w 774"/>
                <a:gd name="T77" fmla="*/ 592 h 770"/>
                <a:gd name="T78" fmla="*/ 358 w 774"/>
                <a:gd name="T79" fmla="*/ 457 h 770"/>
                <a:gd name="T80" fmla="*/ 339 w 774"/>
                <a:gd name="T81" fmla="*/ 441 h 770"/>
                <a:gd name="T82" fmla="*/ 284 w 774"/>
                <a:gd name="T83" fmla="*/ 497 h 770"/>
                <a:gd name="T84" fmla="*/ 490 w 774"/>
                <a:gd name="T85" fmla="*/ 497 h 770"/>
                <a:gd name="T86" fmla="*/ 435 w 774"/>
                <a:gd name="T87" fmla="*/ 441 h 770"/>
                <a:gd name="T88" fmla="*/ 451 w 774"/>
                <a:gd name="T89" fmla="*/ 578 h 770"/>
                <a:gd name="T90" fmla="*/ 451 w 774"/>
                <a:gd name="T91" fmla="*/ 616 h 770"/>
                <a:gd name="T92" fmla="*/ 451 w 774"/>
                <a:gd name="T93" fmla="*/ 744 h 770"/>
                <a:gd name="T94" fmla="*/ 592 w 774"/>
                <a:gd name="T95" fmla="*/ 744 h 770"/>
                <a:gd name="T96" fmla="*/ 672 w 774"/>
                <a:gd name="T97" fmla="*/ 527 h 770"/>
                <a:gd name="T98" fmla="*/ 477 w 774"/>
                <a:gd name="T99" fmla="*/ 592 h 770"/>
                <a:gd name="T100" fmla="*/ 599 w 774"/>
                <a:gd name="T101" fmla="*/ 460 h 770"/>
                <a:gd name="T102" fmla="*/ 654 w 774"/>
                <a:gd name="T103" fmla="*/ 449 h 770"/>
                <a:gd name="T104" fmla="*/ 576 w 774"/>
                <a:gd name="T105" fmla="*/ 539 h 770"/>
                <a:gd name="T106" fmla="*/ 656 w 774"/>
                <a:gd name="T107" fmla="*/ 486 h 770"/>
                <a:gd name="T108" fmla="*/ 731 w 774"/>
                <a:gd name="T109" fmla="*/ 362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74" h="770">
                  <a:moveTo>
                    <a:pt x="764" y="353"/>
                  </a:moveTo>
                  <a:cubicBezTo>
                    <a:pt x="755" y="342"/>
                    <a:pt x="741" y="335"/>
                    <a:pt x="726" y="337"/>
                  </a:cubicBezTo>
                  <a:cubicBezTo>
                    <a:pt x="712" y="339"/>
                    <a:pt x="699" y="348"/>
                    <a:pt x="693" y="361"/>
                  </a:cubicBezTo>
                  <a:lnTo>
                    <a:pt x="682" y="388"/>
                  </a:lnTo>
                  <a:cubicBezTo>
                    <a:pt x="674" y="255"/>
                    <a:pt x="597" y="189"/>
                    <a:pt x="563" y="165"/>
                  </a:cubicBezTo>
                  <a:cubicBezTo>
                    <a:pt x="591" y="138"/>
                    <a:pt x="600" y="97"/>
                    <a:pt x="585" y="60"/>
                  </a:cubicBezTo>
                  <a:cubicBezTo>
                    <a:pt x="571" y="24"/>
                    <a:pt x="535" y="0"/>
                    <a:pt x="496" y="0"/>
                  </a:cubicBezTo>
                  <a:cubicBezTo>
                    <a:pt x="457" y="0"/>
                    <a:pt x="421" y="24"/>
                    <a:pt x="407" y="60"/>
                  </a:cubicBezTo>
                  <a:cubicBezTo>
                    <a:pt x="392" y="97"/>
                    <a:pt x="401" y="138"/>
                    <a:pt x="429" y="166"/>
                  </a:cubicBezTo>
                  <a:cubicBezTo>
                    <a:pt x="414" y="176"/>
                    <a:pt x="400" y="188"/>
                    <a:pt x="387" y="202"/>
                  </a:cubicBezTo>
                  <a:cubicBezTo>
                    <a:pt x="375" y="188"/>
                    <a:pt x="360" y="176"/>
                    <a:pt x="345" y="165"/>
                  </a:cubicBezTo>
                  <a:cubicBezTo>
                    <a:pt x="373" y="138"/>
                    <a:pt x="382" y="96"/>
                    <a:pt x="367" y="60"/>
                  </a:cubicBezTo>
                  <a:cubicBezTo>
                    <a:pt x="352" y="24"/>
                    <a:pt x="317" y="0"/>
                    <a:pt x="278" y="0"/>
                  </a:cubicBezTo>
                  <a:cubicBezTo>
                    <a:pt x="238" y="0"/>
                    <a:pt x="203" y="24"/>
                    <a:pt x="189" y="61"/>
                  </a:cubicBezTo>
                  <a:cubicBezTo>
                    <a:pt x="174" y="97"/>
                    <a:pt x="183" y="139"/>
                    <a:pt x="211" y="166"/>
                  </a:cubicBezTo>
                  <a:cubicBezTo>
                    <a:pt x="177" y="189"/>
                    <a:pt x="100" y="256"/>
                    <a:pt x="93" y="389"/>
                  </a:cubicBezTo>
                  <a:lnTo>
                    <a:pt x="81" y="361"/>
                  </a:lnTo>
                  <a:cubicBezTo>
                    <a:pt x="75" y="348"/>
                    <a:pt x="62" y="339"/>
                    <a:pt x="48" y="337"/>
                  </a:cubicBezTo>
                  <a:cubicBezTo>
                    <a:pt x="33" y="335"/>
                    <a:pt x="19" y="342"/>
                    <a:pt x="10" y="353"/>
                  </a:cubicBezTo>
                  <a:cubicBezTo>
                    <a:pt x="1" y="365"/>
                    <a:pt x="0" y="381"/>
                    <a:pt x="6" y="394"/>
                  </a:cubicBezTo>
                  <a:lnTo>
                    <a:pt x="56" y="505"/>
                  </a:lnTo>
                  <a:cubicBezTo>
                    <a:pt x="63" y="520"/>
                    <a:pt x="72" y="534"/>
                    <a:pt x="84" y="545"/>
                  </a:cubicBezTo>
                  <a:lnTo>
                    <a:pt x="163" y="624"/>
                  </a:lnTo>
                  <a:cubicBezTo>
                    <a:pt x="159" y="629"/>
                    <a:pt x="156" y="635"/>
                    <a:pt x="156" y="642"/>
                  </a:cubicBezTo>
                  <a:lnTo>
                    <a:pt x="156" y="744"/>
                  </a:lnTo>
                  <a:cubicBezTo>
                    <a:pt x="156" y="759"/>
                    <a:pt x="168" y="770"/>
                    <a:pt x="182" y="770"/>
                  </a:cubicBezTo>
                  <a:lnTo>
                    <a:pt x="323" y="770"/>
                  </a:lnTo>
                  <a:cubicBezTo>
                    <a:pt x="337" y="770"/>
                    <a:pt x="349" y="759"/>
                    <a:pt x="349" y="744"/>
                  </a:cubicBezTo>
                  <a:lnTo>
                    <a:pt x="349" y="655"/>
                  </a:lnTo>
                  <a:lnTo>
                    <a:pt x="425" y="655"/>
                  </a:lnTo>
                  <a:lnTo>
                    <a:pt x="425" y="744"/>
                  </a:lnTo>
                  <a:cubicBezTo>
                    <a:pt x="426" y="759"/>
                    <a:pt x="437" y="770"/>
                    <a:pt x="451" y="770"/>
                  </a:cubicBezTo>
                  <a:lnTo>
                    <a:pt x="592" y="770"/>
                  </a:lnTo>
                  <a:cubicBezTo>
                    <a:pt x="606" y="770"/>
                    <a:pt x="618" y="759"/>
                    <a:pt x="618" y="744"/>
                  </a:cubicBezTo>
                  <a:lnTo>
                    <a:pt x="618" y="642"/>
                  </a:lnTo>
                  <a:cubicBezTo>
                    <a:pt x="618" y="635"/>
                    <a:pt x="615" y="629"/>
                    <a:pt x="611" y="624"/>
                  </a:cubicBezTo>
                  <a:lnTo>
                    <a:pt x="690" y="545"/>
                  </a:lnTo>
                  <a:cubicBezTo>
                    <a:pt x="702" y="534"/>
                    <a:pt x="711" y="520"/>
                    <a:pt x="718" y="505"/>
                  </a:cubicBezTo>
                  <a:lnTo>
                    <a:pt x="768" y="394"/>
                  </a:lnTo>
                  <a:cubicBezTo>
                    <a:pt x="774" y="381"/>
                    <a:pt x="773" y="365"/>
                    <a:pt x="764" y="353"/>
                  </a:cubicBezTo>
                  <a:close/>
                  <a:moveTo>
                    <a:pt x="425" y="97"/>
                  </a:moveTo>
                  <a:cubicBezTo>
                    <a:pt x="425" y="58"/>
                    <a:pt x="457" y="26"/>
                    <a:pt x="496" y="26"/>
                  </a:cubicBezTo>
                  <a:cubicBezTo>
                    <a:pt x="535" y="26"/>
                    <a:pt x="567" y="58"/>
                    <a:pt x="567" y="97"/>
                  </a:cubicBezTo>
                  <a:cubicBezTo>
                    <a:pt x="567" y="136"/>
                    <a:pt x="535" y="167"/>
                    <a:pt x="496" y="167"/>
                  </a:cubicBezTo>
                  <a:cubicBezTo>
                    <a:pt x="457" y="167"/>
                    <a:pt x="426" y="135"/>
                    <a:pt x="425" y="97"/>
                  </a:cubicBezTo>
                  <a:close/>
                  <a:moveTo>
                    <a:pt x="452" y="182"/>
                  </a:moveTo>
                  <a:cubicBezTo>
                    <a:pt x="465" y="189"/>
                    <a:pt x="481" y="193"/>
                    <a:pt x="496" y="193"/>
                  </a:cubicBezTo>
                  <a:cubicBezTo>
                    <a:pt x="512" y="193"/>
                    <a:pt x="527" y="189"/>
                    <a:pt x="541" y="182"/>
                  </a:cubicBezTo>
                  <a:cubicBezTo>
                    <a:pt x="565" y="196"/>
                    <a:pt x="661" y="261"/>
                    <a:pt x="657" y="421"/>
                  </a:cubicBezTo>
                  <a:cubicBezTo>
                    <a:pt x="641" y="414"/>
                    <a:pt x="623" y="415"/>
                    <a:pt x="608" y="422"/>
                  </a:cubicBezTo>
                  <a:cubicBezTo>
                    <a:pt x="607" y="373"/>
                    <a:pt x="597" y="323"/>
                    <a:pt x="578" y="278"/>
                  </a:cubicBezTo>
                  <a:cubicBezTo>
                    <a:pt x="577" y="273"/>
                    <a:pt x="573" y="270"/>
                    <a:pt x="568" y="270"/>
                  </a:cubicBezTo>
                  <a:cubicBezTo>
                    <a:pt x="564" y="269"/>
                    <a:pt x="559" y="271"/>
                    <a:pt x="556" y="275"/>
                  </a:cubicBezTo>
                  <a:cubicBezTo>
                    <a:pt x="554" y="279"/>
                    <a:pt x="553" y="283"/>
                    <a:pt x="555" y="288"/>
                  </a:cubicBezTo>
                  <a:cubicBezTo>
                    <a:pt x="555" y="288"/>
                    <a:pt x="590" y="371"/>
                    <a:pt x="580" y="442"/>
                  </a:cubicBezTo>
                  <a:cubicBezTo>
                    <a:pt x="563" y="457"/>
                    <a:pt x="543" y="469"/>
                    <a:pt x="522" y="477"/>
                  </a:cubicBezTo>
                  <a:cubicBezTo>
                    <a:pt x="520" y="478"/>
                    <a:pt x="517" y="479"/>
                    <a:pt x="515" y="480"/>
                  </a:cubicBezTo>
                  <a:cubicBezTo>
                    <a:pt x="510" y="406"/>
                    <a:pt x="479" y="366"/>
                    <a:pt x="460" y="348"/>
                  </a:cubicBezTo>
                  <a:cubicBezTo>
                    <a:pt x="477" y="325"/>
                    <a:pt x="481" y="295"/>
                    <a:pt x="472" y="268"/>
                  </a:cubicBezTo>
                  <a:cubicBezTo>
                    <a:pt x="464" y="240"/>
                    <a:pt x="442" y="219"/>
                    <a:pt x="415" y="210"/>
                  </a:cubicBezTo>
                  <a:cubicBezTo>
                    <a:pt x="426" y="199"/>
                    <a:pt x="439" y="190"/>
                    <a:pt x="452" y="182"/>
                  </a:cubicBezTo>
                  <a:close/>
                  <a:moveTo>
                    <a:pt x="387" y="231"/>
                  </a:moveTo>
                  <a:cubicBezTo>
                    <a:pt x="422" y="231"/>
                    <a:pt x="451" y="260"/>
                    <a:pt x="451" y="295"/>
                  </a:cubicBezTo>
                  <a:cubicBezTo>
                    <a:pt x="451" y="331"/>
                    <a:pt x="422" y="360"/>
                    <a:pt x="387" y="360"/>
                  </a:cubicBezTo>
                  <a:cubicBezTo>
                    <a:pt x="352" y="360"/>
                    <a:pt x="323" y="331"/>
                    <a:pt x="323" y="295"/>
                  </a:cubicBezTo>
                  <a:cubicBezTo>
                    <a:pt x="323" y="260"/>
                    <a:pt x="352" y="231"/>
                    <a:pt x="387" y="231"/>
                  </a:cubicBezTo>
                  <a:close/>
                  <a:moveTo>
                    <a:pt x="207" y="97"/>
                  </a:moveTo>
                  <a:cubicBezTo>
                    <a:pt x="207" y="58"/>
                    <a:pt x="239" y="26"/>
                    <a:pt x="278" y="26"/>
                  </a:cubicBezTo>
                  <a:cubicBezTo>
                    <a:pt x="317" y="26"/>
                    <a:pt x="349" y="58"/>
                    <a:pt x="349" y="97"/>
                  </a:cubicBezTo>
                  <a:cubicBezTo>
                    <a:pt x="349" y="136"/>
                    <a:pt x="317" y="167"/>
                    <a:pt x="278" y="167"/>
                  </a:cubicBezTo>
                  <a:cubicBezTo>
                    <a:pt x="239" y="167"/>
                    <a:pt x="207" y="135"/>
                    <a:pt x="207" y="97"/>
                  </a:cubicBezTo>
                  <a:close/>
                  <a:moveTo>
                    <a:pt x="234" y="182"/>
                  </a:moveTo>
                  <a:cubicBezTo>
                    <a:pt x="261" y="196"/>
                    <a:pt x="295" y="196"/>
                    <a:pt x="323" y="182"/>
                  </a:cubicBezTo>
                  <a:cubicBezTo>
                    <a:pt x="336" y="190"/>
                    <a:pt x="348" y="199"/>
                    <a:pt x="359" y="210"/>
                  </a:cubicBezTo>
                  <a:cubicBezTo>
                    <a:pt x="332" y="219"/>
                    <a:pt x="311" y="240"/>
                    <a:pt x="302" y="267"/>
                  </a:cubicBezTo>
                  <a:cubicBezTo>
                    <a:pt x="293" y="295"/>
                    <a:pt x="297" y="324"/>
                    <a:pt x="314" y="348"/>
                  </a:cubicBezTo>
                  <a:cubicBezTo>
                    <a:pt x="295" y="366"/>
                    <a:pt x="264" y="406"/>
                    <a:pt x="259" y="480"/>
                  </a:cubicBezTo>
                  <a:cubicBezTo>
                    <a:pt x="257" y="479"/>
                    <a:pt x="254" y="478"/>
                    <a:pt x="252" y="477"/>
                  </a:cubicBezTo>
                  <a:cubicBezTo>
                    <a:pt x="231" y="469"/>
                    <a:pt x="211" y="457"/>
                    <a:pt x="194" y="442"/>
                  </a:cubicBezTo>
                  <a:cubicBezTo>
                    <a:pt x="184" y="371"/>
                    <a:pt x="219" y="288"/>
                    <a:pt x="219" y="288"/>
                  </a:cubicBezTo>
                  <a:cubicBezTo>
                    <a:pt x="222" y="281"/>
                    <a:pt x="219" y="274"/>
                    <a:pt x="212" y="271"/>
                  </a:cubicBezTo>
                  <a:cubicBezTo>
                    <a:pt x="206" y="268"/>
                    <a:pt x="198" y="271"/>
                    <a:pt x="196" y="278"/>
                  </a:cubicBezTo>
                  <a:cubicBezTo>
                    <a:pt x="177" y="323"/>
                    <a:pt x="167" y="373"/>
                    <a:pt x="166" y="422"/>
                  </a:cubicBezTo>
                  <a:cubicBezTo>
                    <a:pt x="151" y="415"/>
                    <a:pt x="133" y="415"/>
                    <a:pt x="118" y="421"/>
                  </a:cubicBezTo>
                  <a:cubicBezTo>
                    <a:pt x="113" y="262"/>
                    <a:pt x="209" y="196"/>
                    <a:pt x="234" y="182"/>
                  </a:cubicBezTo>
                  <a:close/>
                  <a:moveTo>
                    <a:pt x="102" y="527"/>
                  </a:moveTo>
                  <a:cubicBezTo>
                    <a:pt x="93" y="518"/>
                    <a:pt x="85" y="507"/>
                    <a:pt x="79" y="494"/>
                  </a:cubicBezTo>
                  <a:lnTo>
                    <a:pt x="29" y="384"/>
                  </a:lnTo>
                  <a:cubicBezTo>
                    <a:pt x="27" y="379"/>
                    <a:pt x="27" y="374"/>
                    <a:pt x="30" y="369"/>
                  </a:cubicBezTo>
                  <a:cubicBezTo>
                    <a:pt x="33" y="365"/>
                    <a:pt x="38" y="362"/>
                    <a:pt x="43" y="362"/>
                  </a:cubicBezTo>
                  <a:cubicBezTo>
                    <a:pt x="49" y="362"/>
                    <a:pt x="55" y="366"/>
                    <a:pt x="57" y="372"/>
                  </a:cubicBezTo>
                  <a:lnTo>
                    <a:pt x="86" y="438"/>
                  </a:lnTo>
                  <a:cubicBezTo>
                    <a:pt x="93" y="456"/>
                    <a:pt x="104" y="473"/>
                    <a:pt x="118" y="486"/>
                  </a:cubicBezTo>
                  <a:lnTo>
                    <a:pt x="177" y="545"/>
                  </a:lnTo>
                  <a:cubicBezTo>
                    <a:pt x="180" y="548"/>
                    <a:pt x="185" y="549"/>
                    <a:pt x="189" y="548"/>
                  </a:cubicBezTo>
                  <a:cubicBezTo>
                    <a:pt x="194" y="547"/>
                    <a:pt x="197" y="544"/>
                    <a:pt x="198" y="539"/>
                  </a:cubicBezTo>
                  <a:cubicBezTo>
                    <a:pt x="199" y="535"/>
                    <a:pt x="198" y="530"/>
                    <a:pt x="195" y="527"/>
                  </a:cubicBezTo>
                  <a:lnTo>
                    <a:pt x="136" y="468"/>
                  </a:lnTo>
                  <a:cubicBezTo>
                    <a:pt x="130" y="462"/>
                    <a:pt x="125" y="456"/>
                    <a:pt x="120" y="449"/>
                  </a:cubicBezTo>
                  <a:cubicBezTo>
                    <a:pt x="133" y="439"/>
                    <a:pt x="150" y="440"/>
                    <a:pt x="162" y="450"/>
                  </a:cubicBezTo>
                  <a:cubicBezTo>
                    <a:pt x="166" y="453"/>
                    <a:pt x="169" y="456"/>
                    <a:pt x="173" y="458"/>
                  </a:cubicBezTo>
                  <a:cubicBezTo>
                    <a:pt x="173" y="459"/>
                    <a:pt x="174" y="459"/>
                    <a:pt x="175" y="460"/>
                  </a:cubicBezTo>
                  <a:cubicBezTo>
                    <a:pt x="195" y="477"/>
                    <a:pt x="219" y="491"/>
                    <a:pt x="244" y="501"/>
                  </a:cubicBezTo>
                  <a:cubicBezTo>
                    <a:pt x="256" y="506"/>
                    <a:pt x="267" y="514"/>
                    <a:pt x="275" y="524"/>
                  </a:cubicBezTo>
                  <a:cubicBezTo>
                    <a:pt x="290" y="544"/>
                    <a:pt x="298" y="568"/>
                    <a:pt x="297" y="592"/>
                  </a:cubicBezTo>
                  <a:lnTo>
                    <a:pt x="297" y="616"/>
                  </a:lnTo>
                  <a:lnTo>
                    <a:pt x="191" y="616"/>
                  </a:lnTo>
                  <a:lnTo>
                    <a:pt x="102" y="527"/>
                  </a:lnTo>
                  <a:close/>
                  <a:moveTo>
                    <a:pt x="182" y="744"/>
                  </a:moveTo>
                  <a:lnTo>
                    <a:pt x="182" y="642"/>
                  </a:lnTo>
                  <a:lnTo>
                    <a:pt x="323" y="642"/>
                  </a:lnTo>
                  <a:lnTo>
                    <a:pt x="323" y="744"/>
                  </a:lnTo>
                  <a:lnTo>
                    <a:pt x="182" y="744"/>
                  </a:lnTo>
                  <a:close/>
                  <a:moveTo>
                    <a:pt x="429" y="629"/>
                  </a:moveTo>
                  <a:lnTo>
                    <a:pt x="345" y="629"/>
                  </a:lnTo>
                  <a:cubicBezTo>
                    <a:pt x="340" y="621"/>
                    <a:pt x="332" y="616"/>
                    <a:pt x="323" y="616"/>
                  </a:cubicBezTo>
                  <a:lnTo>
                    <a:pt x="323" y="592"/>
                  </a:lnTo>
                  <a:cubicBezTo>
                    <a:pt x="323" y="588"/>
                    <a:pt x="323" y="584"/>
                    <a:pt x="322" y="580"/>
                  </a:cubicBezTo>
                  <a:cubicBezTo>
                    <a:pt x="323" y="579"/>
                    <a:pt x="323" y="579"/>
                    <a:pt x="323" y="578"/>
                  </a:cubicBezTo>
                  <a:cubicBezTo>
                    <a:pt x="323" y="577"/>
                    <a:pt x="323" y="500"/>
                    <a:pt x="358" y="457"/>
                  </a:cubicBezTo>
                  <a:cubicBezTo>
                    <a:pt x="361" y="454"/>
                    <a:pt x="362" y="449"/>
                    <a:pt x="361" y="445"/>
                  </a:cubicBezTo>
                  <a:cubicBezTo>
                    <a:pt x="359" y="441"/>
                    <a:pt x="355" y="437"/>
                    <a:pt x="351" y="437"/>
                  </a:cubicBezTo>
                  <a:cubicBezTo>
                    <a:pt x="346" y="436"/>
                    <a:pt x="342" y="438"/>
                    <a:pt x="339" y="441"/>
                  </a:cubicBezTo>
                  <a:cubicBezTo>
                    <a:pt x="321" y="465"/>
                    <a:pt x="309" y="492"/>
                    <a:pt x="304" y="521"/>
                  </a:cubicBezTo>
                  <a:cubicBezTo>
                    <a:pt x="301" y="517"/>
                    <a:pt x="298" y="512"/>
                    <a:pt x="295" y="508"/>
                  </a:cubicBezTo>
                  <a:cubicBezTo>
                    <a:pt x="292" y="504"/>
                    <a:pt x="288" y="501"/>
                    <a:pt x="284" y="497"/>
                  </a:cubicBezTo>
                  <a:cubicBezTo>
                    <a:pt x="285" y="421"/>
                    <a:pt x="316" y="381"/>
                    <a:pt x="332" y="366"/>
                  </a:cubicBezTo>
                  <a:cubicBezTo>
                    <a:pt x="364" y="392"/>
                    <a:pt x="410" y="392"/>
                    <a:pt x="442" y="366"/>
                  </a:cubicBezTo>
                  <a:cubicBezTo>
                    <a:pt x="458" y="381"/>
                    <a:pt x="489" y="421"/>
                    <a:pt x="490" y="497"/>
                  </a:cubicBezTo>
                  <a:cubicBezTo>
                    <a:pt x="486" y="501"/>
                    <a:pt x="482" y="504"/>
                    <a:pt x="479" y="508"/>
                  </a:cubicBezTo>
                  <a:cubicBezTo>
                    <a:pt x="476" y="512"/>
                    <a:pt x="473" y="517"/>
                    <a:pt x="470" y="521"/>
                  </a:cubicBezTo>
                  <a:cubicBezTo>
                    <a:pt x="465" y="492"/>
                    <a:pt x="453" y="465"/>
                    <a:pt x="435" y="441"/>
                  </a:cubicBezTo>
                  <a:cubicBezTo>
                    <a:pt x="431" y="436"/>
                    <a:pt x="423" y="435"/>
                    <a:pt x="417" y="439"/>
                  </a:cubicBezTo>
                  <a:cubicBezTo>
                    <a:pt x="412" y="444"/>
                    <a:pt x="411" y="452"/>
                    <a:pt x="416" y="457"/>
                  </a:cubicBezTo>
                  <a:cubicBezTo>
                    <a:pt x="451" y="500"/>
                    <a:pt x="451" y="577"/>
                    <a:pt x="451" y="578"/>
                  </a:cubicBezTo>
                  <a:cubicBezTo>
                    <a:pt x="451" y="579"/>
                    <a:pt x="451" y="579"/>
                    <a:pt x="452" y="580"/>
                  </a:cubicBezTo>
                  <a:cubicBezTo>
                    <a:pt x="451" y="584"/>
                    <a:pt x="451" y="588"/>
                    <a:pt x="451" y="592"/>
                  </a:cubicBezTo>
                  <a:lnTo>
                    <a:pt x="451" y="616"/>
                  </a:lnTo>
                  <a:cubicBezTo>
                    <a:pt x="442" y="616"/>
                    <a:pt x="434" y="621"/>
                    <a:pt x="429" y="629"/>
                  </a:cubicBezTo>
                  <a:close/>
                  <a:moveTo>
                    <a:pt x="592" y="744"/>
                  </a:moveTo>
                  <a:lnTo>
                    <a:pt x="451" y="744"/>
                  </a:lnTo>
                  <a:lnTo>
                    <a:pt x="451" y="642"/>
                  </a:lnTo>
                  <a:lnTo>
                    <a:pt x="592" y="642"/>
                  </a:lnTo>
                  <a:lnTo>
                    <a:pt x="592" y="744"/>
                  </a:lnTo>
                  <a:close/>
                  <a:moveTo>
                    <a:pt x="745" y="384"/>
                  </a:moveTo>
                  <a:lnTo>
                    <a:pt x="695" y="494"/>
                  </a:lnTo>
                  <a:cubicBezTo>
                    <a:pt x="689" y="507"/>
                    <a:pt x="681" y="518"/>
                    <a:pt x="672" y="527"/>
                  </a:cubicBezTo>
                  <a:lnTo>
                    <a:pt x="583" y="616"/>
                  </a:lnTo>
                  <a:lnTo>
                    <a:pt x="477" y="616"/>
                  </a:lnTo>
                  <a:lnTo>
                    <a:pt x="477" y="592"/>
                  </a:lnTo>
                  <a:cubicBezTo>
                    <a:pt x="476" y="568"/>
                    <a:pt x="484" y="544"/>
                    <a:pt x="499" y="524"/>
                  </a:cubicBezTo>
                  <a:cubicBezTo>
                    <a:pt x="507" y="514"/>
                    <a:pt x="518" y="506"/>
                    <a:pt x="530" y="501"/>
                  </a:cubicBezTo>
                  <a:cubicBezTo>
                    <a:pt x="555" y="491"/>
                    <a:pt x="579" y="477"/>
                    <a:pt x="599" y="460"/>
                  </a:cubicBezTo>
                  <a:cubicBezTo>
                    <a:pt x="600" y="459"/>
                    <a:pt x="601" y="459"/>
                    <a:pt x="601" y="458"/>
                  </a:cubicBezTo>
                  <a:cubicBezTo>
                    <a:pt x="605" y="456"/>
                    <a:pt x="608" y="453"/>
                    <a:pt x="612" y="450"/>
                  </a:cubicBezTo>
                  <a:cubicBezTo>
                    <a:pt x="624" y="440"/>
                    <a:pt x="641" y="439"/>
                    <a:pt x="654" y="449"/>
                  </a:cubicBezTo>
                  <a:cubicBezTo>
                    <a:pt x="649" y="456"/>
                    <a:pt x="644" y="462"/>
                    <a:pt x="638" y="468"/>
                  </a:cubicBezTo>
                  <a:lnTo>
                    <a:pt x="579" y="527"/>
                  </a:lnTo>
                  <a:cubicBezTo>
                    <a:pt x="576" y="530"/>
                    <a:pt x="575" y="535"/>
                    <a:pt x="576" y="539"/>
                  </a:cubicBezTo>
                  <a:cubicBezTo>
                    <a:pt x="577" y="544"/>
                    <a:pt x="580" y="547"/>
                    <a:pt x="585" y="548"/>
                  </a:cubicBezTo>
                  <a:cubicBezTo>
                    <a:pt x="589" y="549"/>
                    <a:pt x="594" y="548"/>
                    <a:pt x="597" y="545"/>
                  </a:cubicBezTo>
                  <a:lnTo>
                    <a:pt x="656" y="486"/>
                  </a:lnTo>
                  <a:cubicBezTo>
                    <a:pt x="670" y="473"/>
                    <a:pt x="681" y="456"/>
                    <a:pt x="688" y="438"/>
                  </a:cubicBezTo>
                  <a:lnTo>
                    <a:pt x="717" y="372"/>
                  </a:lnTo>
                  <a:cubicBezTo>
                    <a:pt x="719" y="366"/>
                    <a:pt x="725" y="362"/>
                    <a:pt x="731" y="362"/>
                  </a:cubicBezTo>
                  <a:cubicBezTo>
                    <a:pt x="736" y="362"/>
                    <a:pt x="741" y="365"/>
                    <a:pt x="744" y="369"/>
                  </a:cubicBezTo>
                  <a:cubicBezTo>
                    <a:pt x="747" y="374"/>
                    <a:pt x="747" y="379"/>
                    <a:pt x="745" y="3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CD658C9-015F-A2FD-7161-3C66B1390A3A}"/>
              </a:ext>
            </a:extLst>
          </p:cNvPr>
          <p:cNvGrpSpPr/>
          <p:nvPr/>
        </p:nvGrpSpPr>
        <p:grpSpPr>
          <a:xfrm>
            <a:off x="9536346" y="1880763"/>
            <a:ext cx="1077449" cy="1077449"/>
            <a:chOff x="9536346" y="1880763"/>
            <a:chExt cx="1077449" cy="1077449"/>
          </a:xfrm>
        </p:grpSpPr>
        <p:sp>
          <p:nvSpPr>
            <p:cNvPr id="12" name="object 25">
              <a:extLst>
                <a:ext uri="{FF2B5EF4-FFF2-40B4-BE49-F238E27FC236}">
                  <a16:creationId xmlns:a16="http://schemas.microsoft.com/office/drawing/2014/main" id="{367B03D7-D3D3-A943-7B01-AE3E2FAC304A}"/>
                </a:ext>
              </a:extLst>
            </p:cNvPr>
            <p:cNvSpPr/>
            <p:nvPr/>
          </p:nvSpPr>
          <p:spPr>
            <a:xfrm>
              <a:off x="9536346" y="1880763"/>
              <a:ext cx="1077449" cy="1077449"/>
            </a:xfrm>
            <a:custGeom>
              <a:avLst/>
              <a:gdLst/>
              <a:ahLst/>
              <a:cxnLst/>
              <a:rect l="l" t="t" r="r" b="b"/>
              <a:pathLst>
                <a:path w="933450" h="933450">
                  <a:moveTo>
                    <a:pt x="466559" y="0"/>
                  </a:moveTo>
                  <a:lnTo>
                    <a:pt x="418857" y="2408"/>
                  </a:lnTo>
                  <a:lnTo>
                    <a:pt x="372532" y="9478"/>
                  </a:lnTo>
                  <a:lnTo>
                    <a:pt x="327820" y="20975"/>
                  </a:lnTo>
                  <a:lnTo>
                    <a:pt x="284955" y="36665"/>
                  </a:lnTo>
                  <a:lnTo>
                    <a:pt x="244171" y="56311"/>
                  </a:lnTo>
                  <a:lnTo>
                    <a:pt x="205703" y="79682"/>
                  </a:lnTo>
                  <a:lnTo>
                    <a:pt x="169785" y="106540"/>
                  </a:lnTo>
                  <a:lnTo>
                    <a:pt x="136653" y="136653"/>
                  </a:lnTo>
                  <a:lnTo>
                    <a:pt x="106540" y="169785"/>
                  </a:lnTo>
                  <a:lnTo>
                    <a:pt x="79682" y="205703"/>
                  </a:lnTo>
                  <a:lnTo>
                    <a:pt x="56311" y="244171"/>
                  </a:lnTo>
                  <a:lnTo>
                    <a:pt x="36665" y="284955"/>
                  </a:lnTo>
                  <a:lnTo>
                    <a:pt x="20975" y="327820"/>
                  </a:lnTo>
                  <a:lnTo>
                    <a:pt x="9478" y="372532"/>
                  </a:lnTo>
                  <a:lnTo>
                    <a:pt x="2408" y="418857"/>
                  </a:lnTo>
                  <a:lnTo>
                    <a:pt x="0" y="466559"/>
                  </a:lnTo>
                  <a:lnTo>
                    <a:pt x="2408" y="514262"/>
                  </a:lnTo>
                  <a:lnTo>
                    <a:pt x="9478" y="560586"/>
                  </a:lnTo>
                  <a:lnTo>
                    <a:pt x="20975" y="605299"/>
                  </a:lnTo>
                  <a:lnTo>
                    <a:pt x="36665" y="648164"/>
                  </a:lnTo>
                  <a:lnTo>
                    <a:pt x="56311" y="688948"/>
                  </a:lnTo>
                  <a:lnTo>
                    <a:pt x="79682" y="727416"/>
                  </a:lnTo>
                  <a:lnTo>
                    <a:pt x="106540" y="763333"/>
                  </a:lnTo>
                  <a:lnTo>
                    <a:pt x="136653" y="796466"/>
                  </a:lnTo>
                  <a:lnTo>
                    <a:pt x="169785" y="826579"/>
                  </a:lnTo>
                  <a:lnTo>
                    <a:pt x="205703" y="853437"/>
                  </a:lnTo>
                  <a:lnTo>
                    <a:pt x="244171" y="876807"/>
                  </a:lnTo>
                  <a:lnTo>
                    <a:pt x="284955" y="896454"/>
                  </a:lnTo>
                  <a:lnTo>
                    <a:pt x="327820" y="912143"/>
                  </a:lnTo>
                  <a:lnTo>
                    <a:pt x="372532" y="923640"/>
                  </a:lnTo>
                  <a:lnTo>
                    <a:pt x="418857" y="930710"/>
                  </a:lnTo>
                  <a:lnTo>
                    <a:pt x="466559" y="933119"/>
                  </a:lnTo>
                  <a:lnTo>
                    <a:pt x="514262" y="930710"/>
                  </a:lnTo>
                  <a:lnTo>
                    <a:pt x="560586" y="923640"/>
                  </a:lnTo>
                  <a:lnTo>
                    <a:pt x="605299" y="912143"/>
                  </a:lnTo>
                  <a:lnTo>
                    <a:pt x="648164" y="896454"/>
                  </a:lnTo>
                  <a:lnTo>
                    <a:pt x="688948" y="876807"/>
                  </a:lnTo>
                  <a:lnTo>
                    <a:pt x="727416" y="853437"/>
                  </a:lnTo>
                  <a:lnTo>
                    <a:pt x="763333" y="826579"/>
                  </a:lnTo>
                  <a:lnTo>
                    <a:pt x="796466" y="796466"/>
                  </a:lnTo>
                  <a:lnTo>
                    <a:pt x="826579" y="763333"/>
                  </a:lnTo>
                  <a:lnTo>
                    <a:pt x="853437" y="727416"/>
                  </a:lnTo>
                  <a:lnTo>
                    <a:pt x="876807" y="688948"/>
                  </a:lnTo>
                  <a:lnTo>
                    <a:pt x="896454" y="648164"/>
                  </a:lnTo>
                  <a:lnTo>
                    <a:pt x="912143" y="605299"/>
                  </a:lnTo>
                  <a:lnTo>
                    <a:pt x="923640" y="560586"/>
                  </a:lnTo>
                  <a:lnTo>
                    <a:pt x="930710" y="514262"/>
                  </a:lnTo>
                  <a:lnTo>
                    <a:pt x="933119" y="466559"/>
                  </a:lnTo>
                  <a:lnTo>
                    <a:pt x="930710" y="418857"/>
                  </a:lnTo>
                  <a:lnTo>
                    <a:pt x="923640" y="372532"/>
                  </a:lnTo>
                  <a:lnTo>
                    <a:pt x="912143" y="327820"/>
                  </a:lnTo>
                  <a:lnTo>
                    <a:pt x="896454" y="284955"/>
                  </a:lnTo>
                  <a:lnTo>
                    <a:pt x="876807" y="244171"/>
                  </a:lnTo>
                  <a:lnTo>
                    <a:pt x="853437" y="205703"/>
                  </a:lnTo>
                  <a:lnTo>
                    <a:pt x="826579" y="169785"/>
                  </a:lnTo>
                  <a:lnTo>
                    <a:pt x="796466" y="136653"/>
                  </a:lnTo>
                  <a:lnTo>
                    <a:pt x="763333" y="106540"/>
                  </a:lnTo>
                  <a:lnTo>
                    <a:pt x="727416" y="79682"/>
                  </a:lnTo>
                  <a:lnTo>
                    <a:pt x="688948" y="56311"/>
                  </a:lnTo>
                  <a:lnTo>
                    <a:pt x="648164" y="36665"/>
                  </a:lnTo>
                  <a:lnTo>
                    <a:pt x="605299" y="20975"/>
                  </a:lnTo>
                  <a:lnTo>
                    <a:pt x="560586" y="9478"/>
                  </a:lnTo>
                  <a:lnTo>
                    <a:pt x="514262" y="2408"/>
                  </a:lnTo>
                  <a:lnTo>
                    <a:pt x="466559" y="0"/>
                  </a:lnTo>
                  <a:close/>
                </a:path>
              </a:pathLst>
            </a:custGeom>
            <a:solidFill>
              <a:srgbClr val="18303A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CAD2F83F-EF4E-758B-08C5-92121DDD7EDC}"/>
                </a:ext>
              </a:extLst>
            </p:cNvPr>
            <p:cNvGrpSpPr/>
            <p:nvPr/>
          </p:nvGrpSpPr>
          <p:grpSpPr>
            <a:xfrm>
              <a:off x="9827759" y="2175173"/>
              <a:ext cx="494622" cy="488626"/>
              <a:chOff x="9296401" y="2408238"/>
              <a:chExt cx="638175" cy="638175"/>
            </a:xfrm>
            <a:solidFill>
              <a:schemeClr val="bg1"/>
            </a:solidFill>
          </p:grpSpPr>
          <p:sp>
            <p:nvSpPr>
              <p:cNvPr id="14" name="Freeform 11">
                <a:extLst>
                  <a:ext uri="{FF2B5EF4-FFF2-40B4-BE49-F238E27FC236}">
                    <a16:creationId xmlns:a16="http://schemas.microsoft.com/office/drawing/2014/main" id="{E42A9655-0F4C-B509-5BAE-363D76BA3E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98013" y="2493963"/>
                <a:ext cx="130175" cy="19050"/>
              </a:xfrm>
              <a:custGeom>
                <a:avLst/>
                <a:gdLst>
                  <a:gd name="T0" fmla="*/ 163 w 163"/>
                  <a:gd name="T1" fmla="*/ 12 h 24"/>
                  <a:gd name="T2" fmla="*/ 152 w 163"/>
                  <a:gd name="T3" fmla="*/ 0 h 24"/>
                  <a:gd name="T4" fmla="*/ 15 w 163"/>
                  <a:gd name="T5" fmla="*/ 0 h 24"/>
                  <a:gd name="T6" fmla="*/ 15 w 163"/>
                  <a:gd name="T7" fmla="*/ 24 h 24"/>
                  <a:gd name="T8" fmla="*/ 152 w 163"/>
                  <a:gd name="T9" fmla="*/ 24 h 24"/>
                  <a:gd name="T10" fmla="*/ 163 w 163"/>
                  <a:gd name="T11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3" h="24">
                    <a:moveTo>
                      <a:pt x="163" y="12"/>
                    </a:moveTo>
                    <a:cubicBezTo>
                      <a:pt x="163" y="5"/>
                      <a:pt x="158" y="0"/>
                      <a:pt x="152" y="0"/>
                    </a:cubicBezTo>
                    <a:lnTo>
                      <a:pt x="15" y="0"/>
                    </a:lnTo>
                    <a:cubicBezTo>
                      <a:pt x="1" y="0"/>
                      <a:pt x="0" y="24"/>
                      <a:pt x="15" y="24"/>
                    </a:cubicBezTo>
                    <a:lnTo>
                      <a:pt x="152" y="24"/>
                    </a:lnTo>
                    <a:cubicBezTo>
                      <a:pt x="158" y="24"/>
                      <a:pt x="163" y="18"/>
                      <a:pt x="163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" name="Freeform 12">
                <a:extLst>
                  <a:ext uri="{FF2B5EF4-FFF2-40B4-BE49-F238E27FC236}">
                    <a16:creationId xmlns:a16="http://schemas.microsoft.com/office/drawing/2014/main" id="{6FF33B6B-1A90-5E3E-7C51-8EE4A86A0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98013" y="2560638"/>
                <a:ext cx="87313" cy="19050"/>
              </a:xfrm>
              <a:custGeom>
                <a:avLst/>
                <a:gdLst>
                  <a:gd name="T0" fmla="*/ 15 w 111"/>
                  <a:gd name="T1" fmla="*/ 0 h 24"/>
                  <a:gd name="T2" fmla="*/ 15 w 111"/>
                  <a:gd name="T3" fmla="*/ 24 h 24"/>
                  <a:gd name="T4" fmla="*/ 96 w 111"/>
                  <a:gd name="T5" fmla="*/ 24 h 24"/>
                  <a:gd name="T6" fmla="*/ 96 w 111"/>
                  <a:gd name="T7" fmla="*/ 0 h 24"/>
                  <a:gd name="T8" fmla="*/ 15 w 111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4">
                    <a:moveTo>
                      <a:pt x="15" y="0"/>
                    </a:moveTo>
                    <a:cubicBezTo>
                      <a:pt x="1" y="0"/>
                      <a:pt x="0" y="24"/>
                      <a:pt x="15" y="24"/>
                    </a:cubicBezTo>
                    <a:lnTo>
                      <a:pt x="96" y="24"/>
                    </a:lnTo>
                    <a:cubicBezTo>
                      <a:pt x="110" y="24"/>
                      <a:pt x="111" y="0"/>
                      <a:pt x="96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" name="Freeform 13">
                <a:extLst>
                  <a:ext uri="{FF2B5EF4-FFF2-40B4-BE49-F238E27FC236}">
                    <a16:creationId xmlns:a16="http://schemas.microsoft.com/office/drawing/2014/main" id="{CA8E93C9-9ABD-9065-F71F-10F703C1A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64663" y="2865438"/>
                <a:ext cx="147638" cy="19050"/>
              </a:xfrm>
              <a:custGeom>
                <a:avLst/>
                <a:gdLst>
                  <a:gd name="T0" fmla="*/ 170 w 185"/>
                  <a:gd name="T1" fmla="*/ 24 h 24"/>
                  <a:gd name="T2" fmla="*/ 170 w 185"/>
                  <a:gd name="T3" fmla="*/ 0 h 24"/>
                  <a:gd name="T4" fmla="*/ 16 w 185"/>
                  <a:gd name="T5" fmla="*/ 0 h 24"/>
                  <a:gd name="T6" fmla="*/ 16 w 185"/>
                  <a:gd name="T7" fmla="*/ 24 h 24"/>
                  <a:gd name="T8" fmla="*/ 170 w 185"/>
                  <a:gd name="T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24">
                    <a:moveTo>
                      <a:pt x="170" y="24"/>
                    </a:moveTo>
                    <a:cubicBezTo>
                      <a:pt x="184" y="24"/>
                      <a:pt x="185" y="0"/>
                      <a:pt x="170" y="0"/>
                    </a:cubicBezTo>
                    <a:lnTo>
                      <a:pt x="16" y="0"/>
                    </a:lnTo>
                    <a:cubicBezTo>
                      <a:pt x="1" y="0"/>
                      <a:pt x="0" y="24"/>
                      <a:pt x="16" y="24"/>
                    </a:cubicBezTo>
                    <a:lnTo>
                      <a:pt x="17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14">
                <a:extLst>
                  <a:ext uri="{FF2B5EF4-FFF2-40B4-BE49-F238E27FC236}">
                    <a16:creationId xmlns:a16="http://schemas.microsoft.com/office/drawing/2014/main" id="{336D572C-A940-71DD-5794-A5CB314D12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61488" y="2468563"/>
                <a:ext cx="100013" cy="192088"/>
              </a:xfrm>
              <a:custGeom>
                <a:avLst/>
                <a:gdLst>
                  <a:gd name="T0" fmla="*/ 63 w 124"/>
                  <a:gd name="T1" fmla="*/ 241 h 241"/>
                  <a:gd name="T2" fmla="*/ 75 w 124"/>
                  <a:gd name="T3" fmla="*/ 229 h 241"/>
                  <a:gd name="T4" fmla="*/ 75 w 124"/>
                  <a:gd name="T5" fmla="*/ 216 h 241"/>
                  <a:gd name="T6" fmla="*/ 120 w 124"/>
                  <a:gd name="T7" fmla="*/ 168 h 241"/>
                  <a:gd name="T8" fmla="*/ 85 w 124"/>
                  <a:gd name="T9" fmla="*/ 110 h 241"/>
                  <a:gd name="T10" fmla="*/ 75 w 124"/>
                  <a:gd name="T11" fmla="*/ 107 h 241"/>
                  <a:gd name="T12" fmla="*/ 75 w 124"/>
                  <a:gd name="T13" fmla="*/ 51 h 241"/>
                  <a:gd name="T14" fmla="*/ 89 w 124"/>
                  <a:gd name="T15" fmla="*/ 58 h 241"/>
                  <a:gd name="T16" fmla="*/ 105 w 124"/>
                  <a:gd name="T17" fmla="*/ 41 h 241"/>
                  <a:gd name="T18" fmla="*/ 75 w 124"/>
                  <a:gd name="T19" fmla="*/ 27 h 241"/>
                  <a:gd name="T20" fmla="*/ 75 w 124"/>
                  <a:gd name="T21" fmla="*/ 16 h 241"/>
                  <a:gd name="T22" fmla="*/ 51 w 124"/>
                  <a:gd name="T23" fmla="*/ 16 h 241"/>
                  <a:gd name="T24" fmla="*/ 51 w 124"/>
                  <a:gd name="T25" fmla="*/ 28 h 241"/>
                  <a:gd name="T26" fmla="*/ 13 w 124"/>
                  <a:gd name="T27" fmla="*/ 67 h 241"/>
                  <a:gd name="T28" fmla="*/ 27 w 124"/>
                  <a:gd name="T29" fmla="*/ 108 h 241"/>
                  <a:gd name="T30" fmla="*/ 51 w 124"/>
                  <a:gd name="T31" fmla="*/ 122 h 241"/>
                  <a:gd name="T32" fmla="*/ 51 w 124"/>
                  <a:gd name="T33" fmla="*/ 193 h 241"/>
                  <a:gd name="T34" fmla="*/ 25 w 124"/>
                  <a:gd name="T35" fmla="*/ 183 h 241"/>
                  <a:gd name="T36" fmla="*/ 13 w 124"/>
                  <a:gd name="T37" fmla="*/ 203 h 241"/>
                  <a:gd name="T38" fmla="*/ 51 w 124"/>
                  <a:gd name="T39" fmla="*/ 216 h 241"/>
                  <a:gd name="T40" fmla="*/ 51 w 124"/>
                  <a:gd name="T41" fmla="*/ 229 h 241"/>
                  <a:gd name="T42" fmla="*/ 63 w 124"/>
                  <a:gd name="T43" fmla="*/ 241 h 241"/>
                  <a:gd name="T44" fmla="*/ 75 w 124"/>
                  <a:gd name="T45" fmla="*/ 132 h 241"/>
                  <a:gd name="T46" fmla="*/ 77 w 124"/>
                  <a:gd name="T47" fmla="*/ 133 h 241"/>
                  <a:gd name="T48" fmla="*/ 97 w 124"/>
                  <a:gd name="T49" fmla="*/ 164 h 241"/>
                  <a:gd name="T50" fmla="*/ 75 w 124"/>
                  <a:gd name="T51" fmla="*/ 191 h 241"/>
                  <a:gd name="T52" fmla="*/ 75 w 124"/>
                  <a:gd name="T53" fmla="*/ 132 h 241"/>
                  <a:gd name="T54" fmla="*/ 41 w 124"/>
                  <a:gd name="T55" fmla="*/ 90 h 241"/>
                  <a:gd name="T56" fmla="*/ 36 w 124"/>
                  <a:gd name="T57" fmla="*/ 71 h 241"/>
                  <a:gd name="T58" fmla="*/ 51 w 124"/>
                  <a:gd name="T59" fmla="*/ 52 h 241"/>
                  <a:gd name="T60" fmla="*/ 51 w 124"/>
                  <a:gd name="T61" fmla="*/ 96 h 241"/>
                  <a:gd name="T62" fmla="*/ 41 w 124"/>
                  <a:gd name="T63" fmla="*/ 9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24" h="241">
                    <a:moveTo>
                      <a:pt x="63" y="241"/>
                    </a:moveTo>
                    <a:cubicBezTo>
                      <a:pt x="69" y="241"/>
                      <a:pt x="75" y="236"/>
                      <a:pt x="75" y="229"/>
                    </a:cubicBezTo>
                    <a:lnTo>
                      <a:pt x="75" y="216"/>
                    </a:lnTo>
                    <a:cubicBezTo>
                      <a:pt x="101" y="210"/>
                      <a:pt x="116" y="189"/>
                      <a:pt x="120" y="168"/>
                    </a:cubicBezTo>
                    <a:cubicBezTo>
                      <a:pt x="124" y="142"/>
                      <a:pt x="111" y="119"/>
                      <a:pt x="85" y="110"/>
                    </a:cubicBezTo>
                    <a:cubicBezTo>
                      <a:pt x="82" y="109"/>
                      <a:pt x="78" y="108"/>
                      <a:pt x="75" y="107"/>
                    </a:cubicBezTo>
                    <a:lnTo>
                      <a:pt x="75" y="51"/>
                    </a:lnTo>
                    <a:cubicBezTo>
                      <a:pt x="84" y="53"/>
                      <a:pt x="89" y="58"/>
                      <a:pt x="89" y="58"/>
                    </a:cubicBezTo>
                    <a:cubicBezTo>
                      <a:pt x="100" y="68"/>
                      <a:pt x="116" y="51"/>
                      <a:pt x="105" y="41"/>
                    </a:cubicBezTo>
                    <a:cubicBezTo>
                      <a:pt x="104" y="40"/>
                      <a:pt x="93" y="30"/>
                      <a:pt x="75" y="27"/>
                    </a:cubicBezTo>
                    <a:lnTo>
                      <a:pt x="75" y="16"/>
                    </a:lnTo>
                    <a:cubicBezTo>
                      <a:pt x="75" y="1"/>
                      <a:pt x="51" y="0"/>
                      <a:pt x="51" y="16"/>
                    </a:cubicBezTo>
                    <a:lnTo>
                      <a:pt x="51" y="28"/>
                    </a:lnTo>
                    <a:cubicBezTo>
                      <a:pt x="32" y="32"/>
                      <a:pt x="17" y="47"/>
                      <a:pt x="13" y="67"/>
                    </a:cubicBezTo>
                    <a:cubicBezTo>
                      <a:pt x="10" y="83"/>
                      <a:pt x="15" y="99"/>
                      <a:pt x="27" y="108"/>
                    </a:cubicBezTo>
                    <a:cubicBezTo>
                      <a:pt x="33" y="113"/>
                      <a:pt x="41" y="118"/>
                      <a:pt x="51" y="122"/>
                    </a:cubicBezTo>
                    <a:lnTo>
                      <a:pt x="51" y="193"/>
                    </a:lnTo>
                    <a:cubicBezTo>
                      <a:pt x="42" y="192"/>
                      <a:pt x="36" y="190"/>
                      <a:pt x="25" y="183"/>
                    </a:cubicBezTo>
                    <a:cubicBezTo>
                      <a:pt x="13" y="175"/>
                      <a:pt x="0" y="195"/>
                      <a:pt x="13" y="203"/>
                    </a:cubicBezTo>
                    <a:cubicBezTo>
                      <a:pt x="28" y="213"/>
                      <a:pt x="38" y="216"/>
                      <a:pt x="51" y="216"/>
                    </a:cubicBezTo>
                    <a:lnTo>
                      <a:pt x="51" y="229"/>
                    </a:lnTo>
                    <a:cubicBezTo>
                      <a:pt x="51" y="236"/>
                      <a:pt x="57" y="241"/>
                      <a:pt x="63" y="241"/>
                    </a:cubicBezTo>
                    <a:close/>
                    <a:moveTo>
                      <a:pt x="75" y="132"/>
                    </a:moveTo>
                    <a:cubicBezTo>
                      <a:pt x="76" y="132"/>
                      <a:pt x="76" y="132"/>
                      <a:pt x="77" y="133"/>
                    </a:cubicBezTo>
                    <a:cubicBezTo>
                      <a:pt x="99" y="140"/>
                      <a:pt x="98" y="159"/>
                      <a:pt x="97" y="164"/>
                    </a:cubicBezTo>
                    <a:cubicBezTo>
                      <a:pt x="95" y="175"/>
                      <a:pt x="87" y="187"/>
                      <a:pt x="75" y="191"/>
                    </a:cubicBezTo>
                    <a:lnTo>
                      <a:pt x="75" y="132"/>
                    </a:lnTo>
                    <a:close/>
                    <a:moveTo>
                      <a:pt x="41" y="90"/>
                    </a:moveTo>
                    <a:cubicBezTo>
                      <a:pt x="37" y="86"/>
                      <a:pt x="35" y="79"/>
                      <a:pt x="36" y="71"/>
                    </a:cubicBezTo>
                    <a:cubicBezTo>
                      <a:pt x="37" y="64"/>
                      <a:pt x="42" y="56"/>
                      <a:pt x="51" y="52"/>
                    </a:cubicBezTo>
                    <a:lnTo>
                      <a:pt x="51" y="96"/>
                    </a:lnTo>
                    <a:cubicBezTo>
                      <a:pt x="48" y="94"/>
                      <a:pt x="44" y="92"/>
                      <a:pt x="41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" name="Freeform 15">
                <a:extLst>
                  <a:ext uri="{FF2B5EF4-FFF2-40B4-BE49-F238E27FC236}">
                    <a16:creationId xmlns:a16="http://schemas.microsoft.com/office/drawing/2014/main" id="{49127A14-414A-66ED-B0D2-77614D7F21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96401" y="2408238"/>
                <a:ext cx="638175" cy="638175"/>
              </a:xfrm>
              <a:custGeom>
                <a:avLst/>
                <a:gdLst>
                  <a:gd name="T0" fmla="*/ 663 w 800"/>
                  <a:gd name="T1" fmla="*/ 496 h 800"/>
                  <a:gd name="T2" fmla="*/ 594 w 800"/>
                  <a:gd name="T3" fmla="*/ 419 h 800"/>
                  <a:gd name="T4" fmla="*/ 513 w 800"/>
                  <a:gd name="T5" fmla="*/ 339 h 800"/>
                  <a:gd name="T6" fmla="*/ 490 w 800"/>
                  <a:gd name="T7" fmla="*/ 339 h 800"/>
                  <a:gd name="T8" fmla="*/ 340 w 800"/>
                  <a:gd name="T9" fmla="*/ 406 h 800"/>
                  <a:gd name="T10" fmla="*/ 340 w 800"/>
                  <a:gd name="T11" fmla="*/ 430 h 800"/>
                  <a:gd name="T12" fmla="*/ 102 w 800"/>
                  <a:gd name="T13" fmla="*/ 514 h 800"/>
                  <a:gd name="T14" fmla="*/ 27 w 800"/>
                  <a:gd name="T15" fmla="*/ 691 h 800"/>
                  <a:gd name="T16" fmla="*/ 27 w 800"/>
                  <a:gd name="T17" fmla="*/ 24 h 800"/>
                  <a:gd name="T18" fmla="*/ 490 w 800"/>
                  <a:gd name="T19" fmla="*/ 125 h 800"/>
                  <a:gd name="T20" fmla="*/ 486 w 800"/>
                  <a:gd name="T21" fmla="*/ 0 h 800"/>
                  <a:gd name="T22" fmla="*/ 0 w 800"/>
                  <a:gd name="T23" fmla="*/ 687 h 800"/>
                  <a:gd name="T24" fmla="*/ 340 w 800"/>
                  <a:gd name="T25" fmla="*/ 721 h 800"/>
                  <a:gd name="T26" fmla="*/ 689 w 800"/>
                  <a:gd name="T27" fmla="*/ 800 h 800"/>
                  <a:gd name="T28" fmla="*/ 663 w 800"/>
                  <a:gd name="T29" fmla="*/ 749 h 800"/>
                  <a:gd name="T30" fmla="*/ 773 w 800"/>
                  <a:gd name="T31" fmla="*/ 777 h 800"/>
                  <a:gd name="T32" fmla="*/ 773 w 800"/>
                  <a:gd name="T33" fmla="*/ 800 h 800"/>
                  <a:gd name="T34" fmla="*/ 773 w 800"/>
                  <a:gd name="T35" fmla="*/ 623 h 800"/>
                  <a:gd name="T36" fmla="*/ 571 w 800"/>
                  <a:gd name="T37" fmla="*/ 406 h 800"/>
                  <a:gd name="T38" fmla="*/ 363 w 800"/>
                  <a:gd name="T39" fmla="*/ 367 h 800"/>
                  <a:gd name="T40" fmla="*/ 363 w 800"/>
                  <a:gd name="T41" fmla="*/ 406 h 800"/>
                  <a:gd name="T42" fmla="*/ 363 w 800"/>
                  <a:gd name="T43" fmla="*/ 773 h 800"/>
                  <a:gd name="T44" fmla="*/ 367 w 800"/>
                  <a:gd name="T45" fmla="*/ 777 h 800"/>
                  <a:gd name="T46" fmla="*/ 419 w 800"/>
                  <a:gd name="T47" fmla="*/ 570 h 800"/>
                  <a:gd name="T48" fmla="*/ 503 w 800"/>
                  <a:gd name="T49" fmla="*/ 602 h 800"/>
                  <a:gd name="T50" fmla="*/ 503 w 800"/>
                  <a:gd name="T51" fmla="*/ 496 h 800"/>
                  <a:gd name="T52" fmla="*/ 395 w 800"/>
                  <a:gd name="T53" fmla="*/ 570 h 800"/>
                  <a:gd name="T54" fmla="*/ 503 w 800"/>
                  <a:gd name="T55" fmla="*/ 777 h 800"/>
                  <a:gd name="T56" fmla="*/ 363 w 800"/>
                  <a:gd name="T57" fmla="*/ 429 h 800"/>
                  <a:gd name="T58" fmla="*/ 571 w 800"/>
                  <a:gd name="T59" fmla="*/ 429 h 800"/>
                  <a:gd name="T60" fmla="*/ 503 w 800"/>
                  <a:gd name="T61" fmla="*/ 496 h 800"/>
                  <a:gd name="T62" fmla="*/ 526 w 800"/>
                  <a:gd name="T63" fmla="*/ 773 h 800"/>
                  <a:gd name="T64" fmla="*/ 640 w 800"/>
                  <a:gd name="T65" fmla="*/ 777 h 800"/>
                  <a:gd name="T66" fmla="*/ 526 w 800"/>
                  <a:gd name="T67" fmla="*/ 697 h 800"/>
                  <a:gd name="T68" fmla="*/ 640 w 800"/>
                  <a:gd name="T69" fmla="*/ 674 h 800"/>
                  <a:gd name="T70" fmla="*/ 640 w 800"/>
                  <a:gd name="T71" fmla="*/ 646 h 800"/>
                  <a:gd name="T72" fmla="*/ 526 w 800"/>
                  <a:gd name="T73" fmla="*/ 623 h 800"/>
                  <a:gd name="T74" fmla="*/ 640 w 800"/>
                  <a:gd name="T75" fmla="*/ 623 h 800"/>
                  <a:gd name="T76" fmla="*/ 526 w 800"/>
                  <a:gd name="T77" fmla="*/ 543 h 800"/>
                  <a:gd name="T78" fmla="*/ 640 w 800"/>
                  <a:gd name="T79" fmla="*/ 520 h 800"/>
                  <a:gd name="T80" fmla="*/ 530 w 800"/>
                  <a:gd name="T81" fmla="*/ 492 h 800"/>
                  <a:gd name="T82" fmla="*/ 640 w 800"/>
                  <a:gd name="T83" fmla="*/ 520 h 800"/>
                  <a:gd name="T84" fmla="*/ 663 w 800"/>
                  <a:gd name="T85" fmla="*/ 697 h 800"/>
                  <a:gd name="T86" fmla="*/ 777 w 800"/>
                  <a:gd name="T87" fmla="*/ 674 h 800"/>
                  <a:gd name="T88" fmla="*/ 773 w 800"/>
                  <a:gd name="T89" fmla="*/ 646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00" h="800">
                    <a:moveTo>
                      <a:pt x="773" y="623"/>
                    </a:moveTo>
                    <a:lnTo>
                      <a:pt x="663" y="623"/>
                    </a:lnTo>
                    <a:lnTo>
                      <a:pt x="663" y="496"/>
                    </a:lnTo>
                    <a:cubicBezTo>
                      <a:pt x="663" y="481"/>
                      <a:pt x="651" y="468"/>
                      <a:pt x="636" y="468"/>
                    </a:cubicBezTo>
                    <a:lnTo>
                      <a:pt x="594" y="468"/>
                    </a:lnTo>
                    <a:lnTo>
                      <a:pt x="594" y="419"/>
                    </a:lnTo>
                    <a:lnTo>
                      <a:pt x="594" y="367"/>
                    </a:lnTo>
                    <a:cubicBezTo>
                      <a:pt x="594" y="352"/>
                      <a:pt x="582" y="339"/>
                      <a:pt x="567" y="339"/>
                    </a:cubicBezTo>
                    <a:lnTo>
                      <a:pt x="513" y="339"/>
                    </a:lnTo>
                    <a:lnTo>
                      <a:pt x="513" y="249"/>
                    </a:lnTo>
                    <a:cubicBezTo>
                      <a:pt x="513" y="234"/>
                      <a:pt x="490" y="233"/>
                      <a:pt x="490" y="249"/>
                    </a:cubicBezTo>
                    <a:lnTo>
                      <a:pt x="490" y="339"/>
                    </a:lnTo>
                    <a:lnTo>
                      <a:pt x="367" y="339"/>
                    </a:lnTo>
                    <a:cubicBezTo>
                      <a:pt x="352" y="339"/>
                      <a:pt x="340" y="352"/>
                      <a:pt x="340" y="367"/>
                    </a:cubicBezTo>
                    <a:lnTo>
                      <a:pt x="340" y="406"/>
                    </a:lnTo>
                    <a:lnTo>
                      <a:pt x="102" y="406"/>
                    </a:lnTo>
                    <a:cubicBezTo>
                      <a:pt x="87" y="406"/>
                      <a:pt x="86" y="430"/>
                      <a:pt x="102" y="430"/>
                    </a:cubicBezTo>
                    <a:lnTo>
                      <a:pt x="340" y="430"/>
                    </a:lnTo>
                    <a:lnTo>
                      <a:pt x="340" y="490"/>
                    </a:lnTo>
                    <a:lnTo>
                      <a:pt x="102" y="490"/>
                    </a:lnTo>
                    <a:cubicBezTo>
                      <a:pt x="87" y="490"/>
                      <a:pt x="86" y="514"/>
                      <a:pt x="102" y="514"/>
                    </a:cubicBezTo>
                    <a:lnTo>
                      <a:pt x="340" y="514"/>
                    </a:lnTo>
                    <a:lnTo>
                      <a:pt x="340" y="691"/>
                    </a:lnTo>
                    <a:lnTo>
                      <a:pt x="27" y="691"/>
                    </a:lnTo>
                    <a:cubicBezTo>
                      <a:pt x="25" y="691"/>
                      <a:pt x="24" y="689"/>
                      <a:pt x="24" y="687"/>
                    </a:cubicBezTo>
                    <a:lnTo>
                      <a:pt x="24" y="27"/>
                    </a:lnTo>
                    <a:cubicBezTo>
                      <a:pt x="24" y="25"/>
                      <a:pt x="25" y="24"/>
                      <a:pt x="27" y="24"/>
                    </a:cubicBezTo>
                    <a:lnTo>
                      <a:pt x="486" y="24"/>
                    </a:lnTo>
                    <a:cubicBezTo>
                      <a:pt x="488" y="24"/>
                      <a:pt x="490" y="25"/>
                      <a:pt x="490" y="27"/>
                    </a:cubicBezTo>
                    <a:lnTo>
                      <a:pt x="490" y="125"/>
                    </a:lnTo>
                    <a:cubicBezTo>
                      <a:pt x="490" y="139"/>
                      <a:pt x="513" y="140"/>
                      <a:pt x="513" y="125"/>
                    </a:cubicBezTo>
                    <a:lnTo>
                      <a:pt x="513" y="27"/>
                    </a:lnTo>
                    <a:cubicBezTo>
                      <a:pt x="513" y="12"/>
                      <a:pt x="501" y="0"/>
                      <a:pt x="486" y="0"/>
                    </a:cubicBezTo>
                    <a:lnTo>
                      <a:pt x="27" y="0"/>
                    </a:lnTo>
                    <a:cubicBezTo>
                      <a:pt x="12" y="0"/>
                      <a:pt x="0" y="12"/>
                      <a:pt x="0" y="27"/>
                    </a:cubicBezTo>
                    <a:lnTo>
                      <a:pt x="0" y="687"/>
                    </a:lnTo>
                    <a:cubicBezTo>
                      <a:pt x="0" y="702"/>
                      <a:pt x="12" y="714"/>
                      <a:pt x="27" y="714"/>
                    </a:cubicBezTo>
                    <a:lnTo>
                      <a:pt x="340" y="714"/>
                    </a:lnTo>
                    <a:lnTo>
                      <a:pt x="340" y="721"/>
                    </a:lnTo>
                    <a:lnTo>
                      <a:pt x="340" y="773"/>
                    </a:lnTo>
                    <a:cubicBezTo>
                      <a:pt x="340" y="788"/>
                      <a:pt x="352" y="800"/>
                      <a:pt x="367" y="800"/>
                    </a:cubicBezTo>
                    <a:lnTo>
                      <a:pt x="689" y="800"/>
                    </a:lnTo>
                    <a:cubicBezTo>
                      <a:pt x="703" y="800"/>
                      <a:pt x="704" y="777"/>
                      <a:pt x="689" y="777"/>
                    </a:cubicBezTo>
                    <a:lnTo>
                      <a:pt x="663" y="777"/>
                    </a:lnTo>
                    <a:lnTo>
                      <a:pt x="663" y="749"/>
                    </a:lnTo>
                    <a:lnTo>
                      <a:pt x="777" y="749"/>
                    </a:lnTo>
                    <a:lnTo>
                      <a:pt x="777" y="773"/>
                    </a:lnTo>
                    <a:cubicBezTo>
                      <a:pt x="777" y="775"/>
                      <a:pt x="775" y="777"/>
                      <a:pt x="773" y="777"/>
                    </a:cubicBezTo>
                    <a:lnTo>
                      <a:pt x="751" y="777"/>
                    </a:lnTo>
                    <a:cubicBezTo>
                      <a:pt x="736" y="777"/>
                      <a:pt x="736" y="800"/>
                      <a:pt x="751" y="800"/>
                    </a:cubicBezTo>
                    <a:lnTo>
                      <a:pt x="773" y="800"/>
                    </a:lnTo>
                    <a:cubicBezTo>
                      <a:pt x="788" y="800"/>
                      <a:pt x="800" y="788"/>
                      <a:pt x="800" y="773"/>
                    </a:cubicBezTo>
                    <a:lnTo>
                      <a:pt x="800" y="650"/>
                    </a:lnTo>
                    <a:cubicBezTo>
                      <a:pt x="800" y="635"/>
                      <a:pt x="788" y="623"/>
                      <a:pt x="773" y="623"/>
                    </a:cubicBezTo>
                    <a:close/>
                    <a:moveTo>
                      <a:pt x="567" y="363"/>
                    </a:moveTo>
                    <a:cubicBezTo>
                      <a:pt x="569" y="363"/>
                      <a:pt x="571" y="365"/>
                      <a:pt x="571" y="367"/>
                    </a:cubicBezTo>
                    <a:lnTo>
                      <a:pt x="571" y="406"/>
                    </a:lnTo>
                    <a:cubicBezTo>
                      <a:pt x="549" y="401"/>
                      <a:pt x="533" y="384"/>
                      <a:pt x="528" y="363"/>
                    </a:cubicBezTo>
                    <a:lnTo>
                      <a:pt x="567" y="363"/>
                    </a:lnTo>
                    <a:close/>
                    <a:moveTo>
                      <a:pt x="363" y="367"/>
                    </a:moveTo>
                    <a:cubicBezTo>
                      <a:pt x="363" y="365"/>
                      <a:pt x="365" y="363"/>
                      <a:pt x="367" y="363"/>
                    </a:cubicBezTo>
                    <a:lnTo>
                      <a:pt x="406" y="363"/>
                    </a:lnTo>
                    <a:cubicBezTo>
                      <a:pt x="401" y="384"/>
                      <a:pt x="385" y="401"/>
                      <a:pt x="363" y="406"/>
                    </a:cubicBezTo>
                    <a:lnTo>
                      <a:pt x="363" y="367"/>
                    </a:lnTo>
                    <a:close/>
                    <a:moveTo>
                      <a:pt x="367" y="777"/>
                    </a:moveTo>
                    <a:cubicBezTo>
                      <a:pt x="365" y="777"/>
                      <a:pt x="363" y="775"/>
                      <a:pt x="363" y="773"/>
                    </a:cubicBezTo>
                    <a:lnTo>
                      <a:pt x="363" y="734"/>
                    </a:lnTo>
                    <a:cubicBezTo>
                      <a:pt x="385" y="738"/>
                      <a:pt x="401" y="755"/>
                      <a:pt x="406" y="777"/>
                    </a:cubicBezTo>
                    <a:lnTo>
                      <a:pt x="367" y="777"/>
                    </a:lnTo>
                    <a:close/>
                    <a:moveTo>
                      <a:pt x="503" y="602"/>
                    </a:moveTo>
                    <a:cubicBezTo>
                      <a:pt x="494" y="612"/>
                      <a:pt x="481" y="618"/>
                      <a:pt x="467" y="618"/>
                    </a:cubicBezTo>
                    <a:cubicBezTo>
                      <a:pt x="440" y="618"/>
                      <a:pt x="419" y="596"/>
                      <a:pt x="419" y="570"/>
                    </a:cubicBezTo>
                    <a:cubicBezTo>
                      <a:pt x="419" y="543"/>
                      <a:pt x="440" y="522"/>
                      <a:pt x="467" y="522"/>
                    </a:cubicBezTo>
                    <a:cubicBezTo>
                      <a:pt x="481" y="522"/>
                      <a:pt x="494" y="528"/>
                      <a:pt x="503" y="538"/>
                    </a:cubicBezTo>
                    <a:lnTo>
                      <a:pt x="503" y="602"/>
                    </a:lnTo>
                    <a:close/>
                    <a:moveTo>
                      <a:pt x="503" y="777"/>
                    </a:moveTo>
                    <a:cubicBezTo>
                      <a:pt x="503" y="777"/>
                      <a:pt x="503" y="776"/>
                      <a:pt x="503" y="777"/>
                    </a:cubicBezTo>
                    <a:close/>
                    <a:moveTo>
                      <a:pt x="503" y="496"/>
                    </a:moveTo>
                    <a:lnTo>
                      <a:pt x="503" y="508"/>
                    </a:lnTo>
                    <a:cubicBezTo>
                      <a:pt x="492" y="502"/>
                      <a:pt x="480" y="498"/>
                      <a:pt x="467" y="498"/>
                    </a:cubicBezTo>
                    <a:cubicBezTo>
                      <a:pt x="428" y="498"/>
                      <a:pt x="395" y="530"/>
                      <a:pt x="395" y="570"/>
                    </a:cubicBezTo>
                    <a:cubicBezTo>
                      <a:pt x="395" y="609"/>
                      <a:pt x="428" y="641"/>
                      <a:pt x="467" y="641"/>
                    </a:cubicBezTo>
                    <a:cubicBezTo>
                      <a:pt x="480" y="641"/>
                      <a:pt x="492" y="638"/>
                      <a:pt x="503" y="632"/>
                    </a:cubicBezTo>
                    <a:lnTo>
                      <a:pt x="503" y="777"/>
                    </a:lnTo>
                    <a:lnTo>
                      <a:pt x="430" y="777"/>
                    </a:lnTo>
                    <a:cubicBezTo>
                      <a:pt x="425" y="742"/>
                      <a:pt x="398" y="715"/>
                      <a:pt x="363" y="710"/>
                    </a:cubicBezTo>
                    <a:lnTo>
                      <a:pt x="363" y="429"/>
                    </a:lnTo>
                    <a:cubicBezTo>
                      <a:pt x="398" y="424"/>
                      <a:pt x="425" y="397"/>
                      <a:pt x="430" y="363"/>
                    </a:cubicBezTo>
                    <a:lnTo>
                      <a:pt x="504" y="363"/>
                    </a:lnTo>
                    <a:cubicBezTo>
                      <a:pt x="509" y="397"/>
                      <a:pt x="537" y="424"/>
                      <a:pt x="571" y="429"/>
                    </a:cubicBezTo>
                    <a:lnTo>
                      <a:pt x="571" y="468"/>
                    </a:lnTo>
                    <a:lnTo>
                      <a:pt x="530" y="468"/>
                    </a:lnTo>
                    <a:cubicBezTo>
                      <a:pt x="515" y="468"/>
                      <a:pt x="503" y="481"/>
                      <a:pt x="503" y="496"/>
                    </a:cubicBezTo>
                    <a:close/>
                    <a:moveTo>
                      <a:pt x="640" y="777"/>
                    </a:moveTo>
                    <a:lnTo>
                      <a:pt x="530" y="777"/>
                    </a:lnTo>
                    <a:cubicBezTo>
                      <a:pt x="528" y="777"/>
                      <a:pt x="526" y="775"/>
                      <a:pt x="526" y="773"/>
                    </a:cubicBezTo>
                    <a:lnTo>
                      <a:pt x="526" y="749"/>
                    </a:lnTo>
                    <a:lnTo>
                      <a:pt x="640" y="749"/>
                    </a:lnTo>
                    <a:lnTo>
                      <a:pt x="640" y="777"/>
                    </a:lnTo>
                    <a:close/>
                    <a:moveTo>
                      <a:pt x="640" y="725"/>
                    </a:moveTo>
                    <a:lnTo>
                      <a:pt x="526" y="725"/>
                    </a:lnTo>
                    <a:lnTo>
                      <a:pt x="526" y="697"/>
                    </a:lnTo>
                    <a:lnTo>
                      <a:pt x="640" y="697"/>
                    </a:lnTo>
                    <a:lnTo>
                      <a:pt x="640" y="725"/>
                    </a:lnTo>
                    <a:close/>
                    <a:moveTo>
                      <a:pt x="640" y="674"/>
                    </a:moveTo>
                    <a:lnTo>
                      <a:pt x="526" y="674"/>
                    </a:lnTo>
                    <a:lnTo>
                      <a:pt x="526" y="646"/>
                    </a:lnTo>
                    <a:lnTo>
                      <a:pt x="640" y="646"/>
                    </a:lnTo>
                    <a:lnTo>
                      <a:pt x="640" y="674"/>
                    </a:lnTo>
                    <a:close/>
                    <a:moveTo>
                      <a:pt x="640" y="623"/>
                    </a:moveTo>
                    <a:lnTo>
                      <a:pt x="526" y="623"/>
                    </a:lnTo>
                    <a:lnTo>
                      <a:pt x="526" y="595"/>
                    </a:lnTo>
                    <a:lnTo>
                      <a:pt x="640" y="595"/>
                    </a:lnTo>
                    <a:lnTo>
                      <a:pt x="640" y="623"/>
                    </a:lnTo>
                    <a:close/>
                    <a:moveTo>
                      <a:pt x="640" y="571"/>
                    </a:moveTo>
                    <a:lnTo>
                      <a:pt x="526" y="571"/>
                    </a:lnTo>
                    <a:lnTo>
                      <a:pt x="526" y="543"/>
                    </a:lnTo>
                    <a:lnTo>
                      <a:pt x="640" y="543"/>
                    </a:lnTo>
                    <a:lnTo>
                      <a:pt x="640" y="571"/>
                    </a:lnTo>
                    <a:close/>
                    <a:moveTo>
                      <a:pt x="640" y="520"/>
                    </a:moveTo>
                    <a:lnTo>
                      <a:pt x="526" y="520"/>
                    </a:lnTo>
                    <a:lnTo>
                      <a:pt x="526" y="496"/>
                    </a:lnTo>
                    <a:cubicBezTo>
                      <a:pt x="526" y="494"/>
                      <a:pt x="528" y="492"/>
                      <a:pt x="530" y="492"/>
                    </a:cubicBezTo>
                    <a:lnTo>
                      <a:pt x="636" y="492"/>
                    </a:lnTo>
                    <a:cubicBezTo>
                      <a:pt x="638" y="492"/>
                      <a:pt x="640" y="494"/>
                      <a:pt x="640" y="496"/>
                    </a:cubicBezTo>
                    <a:lnTo>
                      <a:pt x="640" y="520"/>
                    </a:lnTo>
                    <a:close/>
                    <a:moveTo>
                      <a:pt x="777" y="725"/>
                    </a:moveTo>
                    <a:lnTo>
                      <a:pt x="663" y="725"/>
                    </a:lnTo>
                    <a:lnTo>
                      <a:pt x="663" y="697"/>
                    </a:lnTo>
                    <a:lnTo>
                      <a:pt x="777" y="697"/>
                    </a:lnTo>
                    <a:lnTo>
                      <a:pt x="777" y="725"/>
                    </a:lnTo>
                    <a:close/>
                    <a:moveTo>
                      <a:pt x="777" y="674"/>
                    </a:moveTo>
                    <a:lnTo>
                      <a:pt x="663" y="674"/>
                    </a:lnTo>
                    <a:lnTo>
                      <a:pt x="663" y="646"/>
                    </a:lnTo>
                    <a:lnTo>
                      <a:pt x="773" y="646"/>
                    </a:lnTo>
                    <a:cubicBezTo>
                      <a:pt x="775" y="646"/>
                      <a:pt x="777" y="648"/>
                      <a:pt x="777" y="650"/>
                    </a:cubicBezTo>
                    <a:lnTo>
                      <a:pt x="777" y="6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16">
                <a:extLst>
                  <a:ext uri="{FF2B5EF4-FFF2-40B4-BE49-F238E27FC236}">
                    <a16:creationId xmlns:a16="http://schemas.microsoft.com/office/drawing/2014/main" id="{1F9D9B93-9C59-B65E-CE7F-0929889E74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21838" y="2439988"/>
                <a:ext cx="303213" cy="192088"/>
              </a:xfrm>
              <a:custGeom>
                <a:avLst/>
                <a:gdLst>
                  <a:gd name="T0" fmla="*/ 5 w 382"/>
                  <a:gd name="T1" fmla="*/ 236 h 241"/>
                  <a:gd name="T2" fmla="*/ 22 w 382"/>
                  <a:gd name="T3" fmla="*/ 236 h 241"/>
                  <a:gd name="T4" fmla="*/ 157 w 382"/>
                  <a:gd name="T5" fmla="*/ 101 h 241"/>
                  <a:gd name="T6" fmla="*/ 219 w 382"/>
                  <a:gd name="T7" fmla="*/ 164 h 241"/>
                  <a:gd name="T8" fmla="*/ 235 w 382"/>
                  <a:gd name="T9" fmla="*/ 164 h 241"/>
                  <a:gd name="T10" fmla="*/ 359 w 382"/>
                  <a:gd name="T11" fmla="*/ 40 h 241"/>
                  <a:gd name="T12" fmla="*/ 359 w 382"/>
                  <a:gd name="T13" fmla="*/ 72 h 241"/>
                  <a:gd name="T14" fmla="*/ 382 w 382"/>
                  <a:gd name="T15" fmla="*/ 72 h 241"/>
                  <a:gd name="T16" fmla="*/ 382 w 382"/>
                  <a:gd name="T17" fmla="*/ 12 h 241"/>
                  <a:gd name="T18" fmla="*/ 370 w 382"/>
                  <a:gd name="T19" fmla="*/ 0 h 241"/>
                  <a:gd name="T20" fmla="*/ 310 w 382"/>
                  <a:gd name="T21" fmla="*/ 0 h 241"/>
                  <a:gd name="T22" fmla="*/ 310 w 382"/>
                  <a:gd name="T23" fmla="*/ 24 h 241"/>
                  <a:gd name="T24" fmla="*/ 342 w 382"/>
                  <a:gd name="T25" fmla="*/ 24 h 241"/>
                  <a:gd name="T26" fmla="*/ 227 w 382"/>
                  <a:gd name="T27" fmla="*/ 139 h 241"/>
                  <a:gd name="T28" fmla="*/ 165 w 382"/>
                  <a:gd name="T29" fmla="*/ 77 h 241"/>
                  <a:gd name="T30" fmla="*/ 148 w 382"/>
                  <a:gd name="T31" fmla="*/ 77 h 241"/>
                  <a:gd name="T32" fmla="*/ 5 w 382"/>
                  <a:gd name="T33" fmla="*/ 220 h 241"/>
                  <a:gd name="T34" fmla="*/ 5 w 382"/>
                  <a:gd name="T35" fmla="*/ 236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2" h="241">
                    <a:moveTo>
                      <a:pt x="5" y="236"/>
                    </a:moveTo>
                    <a:cubicBezTo>
                      <a:pt x="11" y="241"/>
                      <a:pt x="16" y="241"/>
                      <a:pt x="22" y="236"/>
                    </a:cubicBezTo>
                    <a:lnTo>
                      <a:pt x="157" y="101"/>
                    </a:lnTo>
                    <a:lnTo>
                      <a:pt x="219" y="164"/>
                    </a:lnTo>
                    <a:cubicBezTo>
                      <a:pt x="224" y="168"/>
                      <a:pt x="230" y="168"/>
                      <a:pt x="235" y="164"/>
                    </a:cubicBezTo>
                    <a:lnTo>
                      <a:pt x="359" y="40"/>
                    </a:lnTo>
                    <a:lnTo>
                      <a:pt x="359" y="72"/>
                    </a:lnTo>
                    <a:cubicBezTo>
                      <a:pt x="359" y="87"/>
                      <a:pt x="382" y="88"/>
                      <a:pt x="382" y="72"/>
                    </a:cubicBezTo>
                    <a:lnTo>
                      <a:pt x="382" y="12"/>
                    </a:lnTo>
                    <a:cubicBezTo>
                      <a:pt x="382" y="6"/>
                      <a:pt x="377" y="0"/>
                      <a:pt x="370" y="0"/>
                    </a:cubicBezTo>
                    <a:lnTo>
                      <a:pt x="310" y="0"/>
                    </a:lnTo>
                    <a:cubicBezTo>
                      <a:pt x="295" y="0"/>
                      <a:pt x="295" y="24"/>
                      <a:pt x="310" y="24"/>
                    </a:cubicBezTo>
                    <a:lnTo>
                      <a:pt x="342" y="24"/>
                    </a:lnTo>
                    <a:lnTo>
                      <a:pt x="227" y="139"/>
                    </a:lnTo>
                    <a:lnTo>
                      <a:pt x="165" y="77"/>
                    </a:lnTo>
                    <a:cubicBezTo>
                      <a:pt x="160" y="72"/>
                      <a:pt x="153" y="72"/>
                      <a:pt x="148" y="77"/>
                    </a:cubicBezTo>
                    <a:lnTo>
                      <a:pt x="5" y="220"/>
                    </a:lnTo>
                    <a:cubicBezTo>
                      <a:pt x="0" y="224"/>
                      <a:pt x="0" y="232"/>
                      <a:pt x="5" y="2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48978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EFE3F3F-A503-6D30-ABF3-00E6D8DC43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" y="1366839"/>
            <a:ext cx="3798888" cy="4949825"/>
          </a:xfrm>
          <a:solidFill>
            <a:srgbClr val="0C2D3A"/>
          </a:solidFill>
        </p:spPr>
        <p:txBody>
          <a:bodyPr/>
          <a:lstStyle/>
          <a:p>
            <a:pPr lvl="0"/>
            <a:r>
              <a:rPr lang="en-GB"/>
              <a:t>Priorities</a:t>
            </a:r>
          </a:p>
          <a:p>
            <a:pPr lvl="1"/>
            <a:r>
              <a:rPr lang="en-GB"/>
              <a:t>Customer centric focus on value, service, and product delivery</a:t>
            </a:r>
          </a:p>
          <a:p>
            <a:pPr lvl="1"/>
            <a:r>
              <a:rPr lang="en-GB"/>
              <a:t>Enhanced People centric approach to performance and delivery</a:t>
            </a:r>
          </a:p>
          <a:p>
            <a:pPr lvl="1"/>
            <a:r>
              <a:rPr lang="en-GB"/>
              <a:t>Improve internal efficiencies technology integration into Distribution and Customer Experience (CX)</a:t>
            </a:r>
          </a:p>
          <a:p>
            <a:pPr lvl="1"/>
            <a:r>
              <a:rPr lang="en-GB"/>
              <a:t>Strengthened strategic partnerships</a:t>
            </a:r>
          </a:p>
          <a:p>
            <a:pPr lvl="1"/>
            <a:r>
              <a:rPr lang="en-GB"/>
              <a:t>Sustainable risk taking and management</a:t>
            </a:r>
          </a:p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972499-85E3-F4A5-5F4B-793555099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"/>
            <a:ext cx="11747500" cy="820131"/>
          </a:xfrm>
        </p:spPr>
        <p:txBody>
          <a:bodyPr/>
          <a:lstStyle/>
          <a:p>
            <a:r>
              <a:rPr lang="en-GB"/>
              <a:t>PRIORITIES AND OUTLOOK</a:t>
            </a:r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F835CE88-951F-2969-91B7-B2619CCDBF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Delivery on our new strategy (2024–2028)</a:t>
            </a:r>
          </a:p>
        </p:txBody>
      </p:sp>
      <p:pic>
        <p:nvPicPr>
          <p:cNvPr id="10" name="Picture Placeholder 82">
            <a:extLst>
              <a:ext uri="{FF2B5EF4-FFF2-40B4-BE49-F238E27FC236}">
                <a16:creationId xmlns:a16="http://schemas.microsoft.com/office/drawing/2014/main" id="{0FCB3941-4813-99E8-4E36-B0413A10084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22" r="22"/>
          <a:stretch/>
        </p:blipFill>
        <p:spPr>
          <a:xfrm>
            <a:off x="381000" y="1572314"/>
            <a:ext cx="3468688" cy="1694346"/>
          </a:xfrm>
          <a:effectLst/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B0BAE05-6B21-3F2E-2C8B-28CBA03692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95763" y="1366839"/>
            <a:ext cx="3798888" cy="4949825"/>
          </a:xfrm>
        </p:spPr>
        <p:txBody>
          <a:bodyPr vert="horz" wrap="square" lIns="180000" tIns="2016000" rIns="0" bIns="0" rtlCol="0" anchor="t">
            <a:noAutofit/>
          </a:bodyPr>
          <a:lstStyle/>
          <a:p>
            <a:pPr lvl="0"/>
            <a:r>
              <a:rPr lang="en-GB"/>
              <a:t>Financial</a:t>
            </a:r>
          </a:p>
          <a:p>
            <a:pPr marL="118745" lvl="1" indent="-118745"/>
            <a:r>
              <a:rPr lang="en-GB"/>
              <a:t>Positive outlook for </a:t>
            </a:r>
            <a:r>
              <a:rPr lang="en-GB" err="1"/>
              <a:t>RoGEV</a:t>
            </a:r>
            <a:r>
              <a:rPr lang="en-GB"/>
              <a:t> and dividends</a:t>
            </a:r>
            <a:endParaRPr lang="en-GB">
              <a:cs typeface="Arial"/>
            </a:endParaRPr>
          </a:p>
          <a:p>
            <a:pPr marL="118745" lvl="1" indent="-118745"/>
            <a:r>
              <a:rPr lang="en-GB"/>
              <a:t>Good new business mix</a:t>
            </a:r>
            <a:endParaRPr lang="en-GB">
              <a:cs typeface="Arial"/>
            </a:endParaRPr>
          </a:p>
          <a:p>
            <a:pPr marL="118745" lvl="1" indent="-118745"/>
            <a:r>
              <a:rPr lang="en-GB"/>
              <a:t>Rebuilding retail distribution to unlock value</a:t>
            </a:r>
            <a:endParaRPr lang="en-GB">
              <a:cs typeface="Arial"/>
            </a:endParaRPr>
          </a:p>
          <a:p>
            <a:pPr marL="118745" lvl="1" indent="-118745"/>
            <a:r>
              <a:rPr lang="en-GB"/>
              <a:t>Earnings remain sensitive to global and regional market conditions  and interest rates movement</a:t>
            </a:r>
            <a:endParaRPr lang="en-GB">
              <a:cs typeface="Arial"/>
            </a:endParaRPr>
          </a:p>
        </p:txBody>
      </p:sp>
      <p:pic>
        <p:nvPicPr>
          <p:cNvPr id="26" name="Picture Placeholder 25">
            <a:extLst>
              <a:ext uri="{FF2B5EF4-FFF2-40B4-BE49-F238E27FC236}">
                <a16:creationId xmlns:a16="http://schemas.microsoft.com/office/drawing/2014/main" id="{6B39CC70-3CED-E9F8-3525-16C1F6995EF8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/>
          <a:srcRect l="22" r="22"/>
          <a:stretch/>
        </p:blipFill>
        <p:spPr>
          <a:xfrm>
            <a:off x="4360863" y="1572314"/>
            <a:ext cx="3468688" cy="1694346"/>
          </a:xfrm>
        </p:spPr>
      </p:pic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6F6F63E6-CBC9-F859-8D4A-264FD6AED6E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75626" y="1366839"/>
            <a:ext cx="3798888" cy="4949825"/>
          </a:xfrm>
        </p:spPr>
        <p:txBody>
          <a:bodyPr vert="horz" wrap="square" lIns="180000" tIns="2016000" rIns="0" bIns="0" rtlCol="0" anchor="t">
            <a:noAutofit/>
          </a:bodyPr>
          <a:lstStyle/>
          <a:p>
            <a:pPr lvl="0"/>
            <a:r>
              <a:rPr lang="en-GB"/>
              <a:t>Macro-environment</a:t>
            </a:r>
          </a:p>
          <a:p>
            <a:pPr lvl="1"/>
            <a:endParaRPr lang="en-GB"/>
          </a:p>
          <a:p>
            <a:pPr lvl="1"/>
            <a:r>
              <a:rPr lang="en-GB"/>
              <a:t>GDP growth for 2024 has been revised downwards to 1 percent, from an earlier estimate of 3.6 percent. Domestic economic growth largely dependent on the volatile diamond market. </a:t>
            </a:r>
            <a:endParaRPr lang="en-GB">
              <a:solidFill>
                <a:srgbClr val="FF0000"/>
              </a:solidFill>
            </a:endParaRPr>
          </a:p>
          <a:p>
            <a:pPr lvl="1"/>
            <a:r>
              <a:rPr lang="en-GB"/>
              <a:t>Inflation has stabilised and is expected to rise steadily in the next 6 months but </a:t>
            </a:r>
            <a:br>
              <a:rPr lang="en-GB"/>
            </a:br>
            <a:r>
              <a:rPr lang="en-GB"/>
              <a:t>remain within the 3-6% objective range</a:t>
            </a:r>
          </a:p>
          <a:p>
            <a:pPr lvl="1"/>
            <a:r>
              <a:rPr lang="en-GB"/>
              <a:t>Elevated unemployment remains a concern</a:t>
            </a:r>
          </a:p>
          <a:p>
            <a:pPr lvl="1"/>
            <a:r>
              <a:rPr lang="en-GB"/>
              <a:t>Disposable incomes remain under pressure</a:t>
            </a:r>
          </a:p>
          <a:p>
            <a:pPr lvl="1"/>
            <a:endParaRPr lang="en-GB"/>
          </a:p>
        </p:txBody>
      </p:sp>
      <p:pic>
        <p:nvPicPr>
          <p:cNvPr id="38" name="Picture Placeholder 37">
            <a:extLst>
              <a:ext uri="{FF2B5EF4-FFF2-40B4-BE49-F238E27FC236}">
                <a16:creationId xmlns:a16="http://schemas.microsoft.com/office/drawing/2014/main" id="{AFD2499E-076C-CFF6-1339-89F578D86B9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/>
          <a:srcRect l="22" r="22"/>
          <a:stretch/>
        </p:blipFill>
        <p:spPr>
          <a:xfrm>
            <a:off x="8340726" y="1572314"/>
            <a:ext cx="3468688" cy="1694346"/>
          </a:xfrm>
        </p:spPr>
      </p:pic>
    </p:spTree>
    <p:extLst>
      <p:ext uri="{BB962C8B-B14F-4D97-AF65-F5344CB8AC3E}">
        <p14:creationId xmlns:p14="http://schemas.microsoft.com/office/powerpoint/2010/main" val="12710929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IHL 2022">
  <a:themeElements>
    <a:clrScheme name="BIHL 2021">
      <a:dk1>
        <a:srgbClr val="221F20"/>
      </a:dk1>
      <a:lt1>
        <a:sysClr val="window" lastClr="FFFFFF"/>
      </a:lt1>
      <a:dk2>
        <a:srgbClr val="0C2D3A"/>
      </a:dk2>
      <a:lt2>
        <a:srgbClr val="BDAC9A"/>
      </a:lt2>
      <a:accent1>
        <a:srgbClr val="52463E"/>
      </a:accent1>
      <a:accent2>
        <a:srgbClr val="A01E21"/>
      </a:accent2>
      <a:accent3>
        <a:srgbClr val="C95427"/>
      </a:accent3>
      <a:accent4>
        <a:srgbClr val="6A7F90"/>
      </a:accent4>
      <a:accent5>
        <a:srgbClr val="3D6C89"/>
      </a:accent5>
      <a:accent6>
        <a:srgbClr val="989041"/>
      </a:accent6>
      <a:hlink>
        <a:srgbClr val="989041"/>
      </a:hlink>
      <a:folHlink>
        <a:srgbClr val="039CDC"/>
      </a:folHlink>
    </a:clrScheme>
    <a:fontScheme name="ARIAL x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2a6a8c-2c6d-48e0-8760-f28c0a3005c3">
      <Terms xmlns="http://schemas.microsoft.com/office/infopath/2007/PartnerControls"/>
    </lcf76f155ced4ddcb4097134ff3c332f>
    <TaxCatchAll xmlns="d6b71a93-e7bf-4a89-ab33-22172d779626" xsi:nil="true"/>
    <SharedWithUsers xmlns="d6b71a93-e7bf-4a89-ab33-22172d779626">
      <UserInfo>
        <DisplayName>Catherine Lesetedi</DisplayName>
        <AccountId>245</AccountId>
        <AccountType/>
      </UserInfo>
      <UserInfo>
        <DisplayName>Kudakwashe Mukushi</DisplayName>
        <AccountId>246</AccountId>
        <AccountType/>
      </UserInfo>
      <UserInfo>
        <DisplayName>Frank Dalo</DisplayName>
        <AccountId>629</AccountId>
        <AccountType/>
      </UserInfo>
      <UserInfo>
        <DisplayName>Thomas Masifhi</DisplayName>
        <AccountId>628</AccountId>
        <AccountType/>
      </UserInfo>
      <UserInfo>
        <DisplayName>Bubuya Ncube</DisplayName>
        <AccountId>235</AccountId>
        <AccountType/>
      </UserInfo>
      <UserInfo>
        <DisplayName>Tebogo A. Keepetsoe</DisplayName>
        <AccountId>14</AccountId>
        <AccountType/>
      </UserInfo>
      <UserInfo>
        <DisplayName>Mpho Luzile</DisplayName>
        <AccountId>248</AccountId>
        <AccountType/>
      </UserInfo>
      <UserInfo>
        <DisplayName>Haig Ndzinge</DisplayName>
        <AccountId>231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5AEC7CC052784F83CFABB2E876EC15" ma:contentTypeVersion="14" ma:contentTypeDescription="Create a new document." ma:contentTypeScope="" ma:versionID="044f5003467bb5a398f242548e136626">
  <xsd:schema xmlns:xsd="http://www.w3.org/2001/XMLSchema" xmlns:xs="http://www.w3.org/2001/XMLSchema" xmlns:p="http://schemas.microsoft.com/office/2006/metadata/properties" xmlns:ns2="d6b71a93-e7bf-4a89-ab33-22172d779626" xmlns:ns3="432a6a8c-2c6d-48e0-8760-f28c0a3005c3" targetNamespace="http://schemas.microsoft.com/office/2006/metadata/properties" ma:root="true" ma:fieldsID="6cd62049ce356db1bce776e761786962" ns2:_="" ns3:_="">
    <xsd:import namespace="d6b71a93-e7bf-4a89-ab33-22172d779626"/>
    <xsd:import namespace="432a6a8c-2c6d-48e0-8760-f28c0a3005c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ObjectDetectorVersions" minOccurs="0"/>
                <xsd:element ref="ns3:MediaServiceSearchProperties" minOccurs="0"/>
                <xsd:element ref="ns3:lcf76f155ced4ddcb4097134ff3c332f" minOccurs="0"/>
                <xsd:element ref="ns2:TaxCatchAll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b71a93-e7bf-4a89-ab33-22172d77962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86dcc94d-f7c0-47f5-b28e-716f6be416cf}" ma:internalName="TaxCatchAll" ma:showField="CatchAllData" ma:web="d6b71a93-e7bf-4a89-ab33-22172d77962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2a6a8c-2c6d-48e0-8760-f28c0a3005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33e2f663-9291-435e-92ec-a2e6eb54640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D7820C6-9FC9-43B8-8667-40CFCA0580BD}">
  <ds:schemaRefs>
    <ds:schemaRef ds:uri="432a6a8c-2c6d-48e0-8760-f28c0a3005c3"/>
    <ds:schemaRef ds:uri="d6b71a93-e7bf-4a89-ab33-22172d77962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F17CEA6-3801-4C45-B36F-D7AE08103AFC}">
  <ds:schemaRefs>
    <ds:schemaRef ds:uri="432a6a8c-2c6d-48e0-8760-f28c0a3005c3"/>
    <ds:schemaRef ds:uri="d6b71a93-e7bf-4a89-ab33-22172d77962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A46FE50-9F67-4224-A89E-7E2295D7606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61</Words>
  <Application>Microsoft Office PowerPoint</Application>
  <PresentationFormat>Widescreen</PresentationFormat>
  <Paragraphs>241</Paragraphs>
  <Slides>24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4" baseType="lpstr">
      <vt:lpstr>Aptos</vt:lpstr>
      <vt:lpstr>Arial</vt:lpstr>
      <vt:lpstr>Barmeno-Medium</vt:lpstr>
      <vt:lpstr>Barmeno-Regular</vt:lpstr>
      <vt:lpstr>Calibri</vt:lpstr>
      <vt:lpstr>Segoe UI</vt:lpstr>
      <vt:lpstr>Trebuchet MS</vt:lpstr>
      <vt:lpstr>Wingdings 3</vt:lpstr>
      <vt:lpstr>1_BIHL 2022</vt:lpstr>
      <vt:lpstr>think-cell Slide</vt:lpstr>
      <vt:lpstr>2024 half year results</vt:lpstr>
      <vt:lpstr> agenda</vt:lpstr>
      <vt:lpstr>Operational Overview </vt:lpstr>
      <vt:lpstr>DIVERSE PORTFOLIO OF COMPANIES </vt:lpstr>
      <vt:lpstr>Resilient Performance in the face of challenges</vt:lpstr>
      <vt:lpstr>OPERATING PERFORMANCE HIGHLIGHTS</vt:lpstr>
      <vt:lpstr>BALANCED Performance ON KEY FINANCIAL METRICS</vt:lpstr>
      <vt:lpstr>Leveraging our foundation AMID HEADWINDS</vt:lpstr>
      <vt:lpstr>PRIORITIES AND OUTLOOK</vt:lpstr>
      <vt:lpstr>FINANCIAL PERFORMANCE</vt:lpstr>
      <vt:lpstr>profitability</vt:lpstr>
      <vt:lpstr>Net result from INSURANCE operations</vt:lpstr>
      <vt:lpstr>Profit after tax</vt:lpstr>
      <vt:lpstr>Subsidiaries contribution to operating profit</vt:lpstr>
      <vt:lpstr>ASSOCIATES contribution to operating profit</vt:lpstr>
      <vt:lpstr>SOURCES OF PROFITS</vt:lpstr>
      <vt:lpstr>dividends</vt:lpstr>
      <vt:lpstr>Value of new business</vt:lpstr>
      <vt:lpstr>Group equity value</vt:lpstr>
      <vt:lpstr>Financial position</vt:lpstr>
      <vt:lpstr>Group Equity Value Earnings – GEV Movement</vt:lpstr>
      <vt:lpstr>Return on group equity value</vt:lpstr>
      <vt:lpstr>profitability</vt:lpstr>
      <vt:lpstr>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3-year results</dc:title>
  <dc:creator/>
  <cp:lastModifiedBy/>
  <cp:revision>4</cp:revision>
  <dcterms:created xsi:type="dcterms:W3CDTF">2021-03-09T16:19:32Z</dcterms:created>
  <dcterms:modified xsi:type="dcterms:W3CDTF">2024-09-13T14:1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5AEC7CC052784F83CFABB2E876EC15</vt:lpwstr>
  </property>
  <property fmtid="{D5CDD505-2E9C-101B-9397-08002B2CF9AE}" pid="3" name="MediaServiceImageTags">
    <vt:lpwstr/>
  </property>
</Properties>
</file>